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30"/>
  </p:notesMasterIdLst>
  <p:sldIdLst>
    <p:sldId id="256" r:id="rId5"/>
    <p:sldId id="264" r:id="rId6"/>
    <p:sldId id="2147471948" r:id="rId7"/>
    <p:sldId id="2281" r:id="rId8"/>
    <p:sldId id="2147471889" r:id="rId9"/>
    <p:sldId id="2147481768" r:id="rId10"/>
    <p:sldId id="2147469103" r:id="rId11"/>
    <p:sldId id="2147469102" r:id="rId12"/>
    <p:sldId id="2147469100" r:id="rId13"/>
    <p:sldId id="2147469099" r:id="rId14"/>
    <p:sldId id="2147469097" r:id="rId15"/>
    <p:sldId id="2147471955" r:id="rId16"/>
    <p:sldId id="2147471952" r:id="rId17"/>
    <p:sldId id="2147469086" r:id="rId18"/>
    <p:sldId id="2147471951" r:id="rId19"/>
    <p:sldId id="2147469090" r:id="rId20"/>
    <p:sldId id="2147481767" r:id="rId21"/>
    <p:sldId id="323" r:id="rId22"/>
    <p:sldId id="322" r:id="rId23"/>
    <p:sldId id="2147481761" r:id="rId24"/>
    <p:sldId id="2147481766" r:id="rId25"/>
    <p:sldId id="257" r:id="rId26"/>
    <p:sldId id="2147481769" r:id="rId27"/>
    <p:sldId id="2147471940" r:id="rId28"/>
    <p:sldId id="2147471936" r:id="rId2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D134F"/>
    <a:srgbClr val="3B4956"/>
    <a:srgbClr val="FFD600"/>
    <a:srgbClr val="4099DA"/>
    <a:srgbClr val="009FDF"/>
    <a:srgbClr val="B6BF00"/>
    <a:srgbClr val="467BBC"/>
    <a:srgbClr val="D57E1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7391D3B-E1A4-425F-98C8-3B566FD943FF}" v="3" dt="2024-04-11T11:29:20.861"/>
    <p1510:client id="{2749FA7E-0D20-CE8F-7DD6-27C2BCA7077F}" v="1" dt="2024-04-11T10:09:01.637"/>
    <p1510:client id="{662D4FCC-73F9-463A-AF22-18EF461678ED}" v="1" dt="2024-04-11T10:43:34.04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0" d="100"/>
          <a:sy n="80" d="100"/>
        </p:scale>
        <p:origin x="112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Relationship Id="rId35" Type="http://schemas.microsoft.com/office/2015/10/relationships/revisionInfo" Target="revisionInfo.xml"/><Relationship Id="rId8" Type="http://schemas.openxmlformats.org/officeDocument/2006/relationships/slide" Target="slides/slide4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9BB8CD5-2447-4C6B-8A6A-3F7F88C2BB14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85CDA48F-C8B4-4D79-805F-972DA06D6678}">
      <dgm:prSet phldrT="[Text]" custT="1"/>
      <dgm:spPr/>
      <dgm:t>
        <a:bodyPr/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600" kern="1200">
              <a:solidFill>
                <a:srgbClr val="FFFFFF"/>
              </a:solidFill>
              <a:latin typeface="Arial"/>
              <a:ea typeface="+mn-ea"/>
              <a:cs typeface="+mn-cs"/>
            </a:rPr>
            <a:t>May 2020</a:t>
          </a:r>
        </a:p>
      </dgm:t>
    </dgm:pt>
    <dgm:pt modelId="{3208E3CE-15C4-4A41-8A12-ED5079A5CC60}" type="parTrans" cxnId="{0FFD4F7C-00AA-40DB-BE9B-5C09A0D1939D}">
      <dgm:prSet/>
      <dgm:spPr/>
      <dgm:t>
        <a:bodyPr/>
        <a:lstStyle/>
        <a:p>
          <a:endParaRPr lang="en-GB"/>
        </a:p>
      </dgm:t>
    </dgm:pt>
    <dgm:pt modelId="{DE650BFC-9267-4789-B382-BED05B6B034C}" type="sibTrans" cxnId="{0FFD4F7C-00AA-40DB-BE9B-5C09A0D1939D}">
      <dgm:prSet/>
      <dgm:spPr/>
      <dgm:t>
        <a:bodyPr/>
        <a:lstStyle/>
        <a:p>
          <a:endParaRPr lang="en-GB"/>
        </a:p>
      </dgm:t>
    </dgm:pt>
    <dgm:pt modelId="{5A67F1DA-2F58-4C1D-9BA8-CD3BDF22F6AD}">
      <dgm:prSet phldrT="[Text]" custT="1"/>
      <dgm:spPr/>
      <dgm:t>
        <a:bodyPr/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600" kern="1200">
              <a:solidFill>
                <a:srgbClr val="FFFFFF"/>
              </a:solidFill>
              <a:latin typeface="Arial"/>
              <a:ea typeface="+mn-ea"/>
              <a:cs typeface="+mn-cs"/>
            </a:rPr>
            <a:t>Sept 2022</a:t>
          </a:r>
        </a:p>
      </dgm:t>
    </dgm:pt>
    <dgm:pt modelId="{3466329D-2E45-4AC7-8338-44ACE4B60EA3}" type="parTrans" cxnId="{A0B1B9E6-C1F1-48D2-A9F1-4AE200FD09B0}">
      <dgm:prSet/>
      <dgm:spPr/>
      <dgm:t>
        <a:bodyPr/>
        <a:lstStyle/>
        <a:p>
          <a:endParaRPr lang="en-GB"/>
        </a:p>
      </dgm:t>
    </dgm:pt>
    <dgm:pt modelId="{877ED871-7F56-4B92-8605-626AD714A061}" type="sibTrans" cxnId="{A0B1B9E6-C1F1-48D2-A9F1-4AE200FD09B0}">
      <dgm:prSet/>
      <dgm:spPr/>
      <dgm:t>
        <a:bodyPr/>
        <a:lstStyle/>
        <a:p>
          <a:endParaRPr lang="en-GB"/>
        </a:p>
      </dgm:t>
    </dgm:pt>
    <dgm:pt modelId="{04B298EA-7A04-4189-B677-0E24BC5D5F65}">
      <dgm:prSet phldrT="[Text]" custT="1"/>
      <dgm:spPr/>
      <dgm:t>
        <a:bodyPr/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600" kern="1200">
              <a:solidFill>
                <a:srgbClr val="FFFFFF"/>
              </a:solidFill>
              <a:latin typeface="Arial"/>
              <a:ea typeface="+mn-ea"/>
              <a:cs typeface="+mn-cs"/>
            </a:rPr>
            <a:t>Dec 2022</a:t>
          </a:r>
        </a:p>
      </dgm:t>
    </dgm:pt>
    <dgm:pt modelId="{3FB1AF4D-FC0D-49AD-9D6F-8E76974CEFB2}" type="parTrans" cxnId="{2D6C7FFE-B82D-44CF-BEE9-C289A4EAFAA9}">
      <dgm:prSet/>
      <dgm:spPr/>
      <dgm:t>
        <a:bodyPr/>
        <a:lstStyle/>
        <a:p>
          <a:endParaRPr lang="en-GB"/>
        </a:p>
      </dgm:t>
    </dgm:pt>
    <dgm:pt modelId="{31E60E35-294B-444C-A194-E3FDE6FFDF0B}" type="sibTrans" cxnId="{2D6C7FFE-B82D-44CF-BEE9-C289A4EAFAA9}">
      <dgm:prSet/>
      <dgm:spPr/>
      <dgm:t>
        <a:bodyPr/>
        <a:lstStyle/>
        <a:p>
          <a:endParaRPr lang="en-GB"/>
        </a:p>
      </dgm:t>
    </dgm:pt>
    <dgm:pt modelId="{D3C8D3AF-B0CD-4244-BD78-F6AC29982616}">
      <dgm:prSet custT="1"/>
      <dgm:spPr/>
      <dgm:t>
        <a:bodyPr/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600" kern="1200">
              <a:solidFill>
                <a:srgbClr val="FFFFFF"/>
              </a:solidFill>
              <a:latin typeface="Arial"/>
              <a:ea typeface="+mn-ea"/>
              <a:cs typeface="+mn-cs"/>
            </a:rPr>
            <a:t>June 2023</a:t>
          </a:r>
        </a:p>
      </dgm:t>
    </dgm:pt>
    <dgm:pt modelId="{9F89BEFF-C450-402B-AC57-6B91E90A5D8D}" type="parTrans" cxnId="{F24BEBAB-7231-40C8-AF54-3F8469EE69E1}">
      <dgm:prSet/>
      <dgm:spPr/>
      <dgm:t>
        <a:bodyPr/>
        <a:lstStyle/>
        <a:p>
          <a:endParaRPr lang="en-GB"/>
        </a:p>
      </dgm:t>
    </dgm:pt>
    <dgm:pt modelId="{17D89BCC-97DA-4C51-BF80-D0AED1F2CD5C}" type="sibTrans" cxnId="{F24BEBAB-7231-40C8-AF54-3F8469EE69E1}">
      <dgm:prSet/>
      <dgm:spPr/>
      <dgm:t>
        <a:bodyPr/>
        <a:lstStyle/>
        <a:p>
          <a:endParaRPr lang="en-GB"/>
        </a:p>
      </dgm:t>
    </dgm:pt>
    <dgm:pt modelId="{B1650327-E122-49C2-9B78-E55EDD476D41}">
      <dgm:prSet custT="1"/>
      <dgm:spPr/>
      <dgm:t>
        <a:bodyPr/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600" kern="1200">
              <a:solidFill>
                <a:srgbClr val="FFFFFF"/>
              </a:solidFill>
              <a:latin typeface="Arial"/>
              <a:ea typeface="+mn-ea"/>
              <a:cs typeface="+mn-cs"/>
            </a:rPr>
            <a:t>Dec 2021</a:t>
          </a:r>
        </a:p>
      </dgm:t>
    </dgm:pt>
    <dgm:pt modelId="{916C3448-6E73-4015-AC05-F92CB4781FA2}" type="parTrans" cxnId="{6AA38D4F-6EFB-4580-B079-74294BA06AF1}">
      <dgm:prSet/>
      <dgm:spPr/>
      <dgm:t>
        <a:bodyPr/>
        <a:lstStyle/>
        <a:p>
          <a:endParaRPr lang="en-GB"/>
        </a:p>
      </dgm:t>
    </dgm:pt>
    <dgm:pt modelId="{3DDF70A9-2E24-425E-AC78-CD40769AA6E4}" type="sibTrans" cxnId="{6AA38D4F-6EFB-4580-B079-74294BA06AF1}">
      <dgm:prSet/>
      <dgm:spPr/>
      <dgm:t>
        <a:bodyPr/>
        <a:lstStyle/>
        <a:p>
          <a:endParaRPr lang="en-GB"/>
        </a:p>
      </dgm:t>
    </dgm:pt>
    <dgm:pt modelId="{1F69F76F-8F11-4F25-8654-80E22753A00C}" type="pres">
      <dgm:prSet presAssocID="{F9BB8CD5-2447-4C6B-8A6A-3F7F88C2BB14}" presName="Name0" presStyleCnt="0">
        <dgm:presLayoutVars>
          <dgm:dir/>
          <dgm:animLvl val="lvl"/>
          <dgm:resizeHandles val="exact"/>
        </dgm:presLayoutVars>
      </dgm:prSet>
      <dgm:spPr/>
    </dgm:pt>
    <dgm:pt modelId="{7097DE9A-EA6F-4E1B-954D-79AB4B882C59}" type="pres">
      <dgm:prSet presAssocID="{85CDA48F-C8B4-4D79-805F-972DA06D6678}" presName="parTxOnly" presStyleLbl="node1" presStyleIdx="0" presStyleCnt="5">
        <dgm:presLayoutVars>
          <dgm:chMax val="0"/>
          <dgm:chPref val="0"/>
          <dgm:bulletEnabled val="1"/>
        </dgm:presLayoutVars>
      </dgm:prSet>
      <dgm:spPr/>
    </dgm:pt>
    <dgm:pt modelId="{064C7694-C0C3-47EF-AB20-EEEAD5F86BC7}" type="pres">
      <dgm:prSet presAssocID="{DE650BFC-9267-4789-B382-BED05B6B034C}" presName="parTxOnlySpace" presStyleCnt="0"/>
      <dgm:spPr/>
    </dgm:pt>
    <dgm:pt modelId="{F4BDC478-6B9C-4B18-9C23-C39285C869BB}" type="pres">
      <dgm:prSet presAssocID="{B1650327-E122-49C2-9B78-E55EDD476D41}" presName="parTxOnly" presStyleLbl="node1" presStyleIdx="1" presStyleCnt="5">
        <dgm:presLayoutVars>
          <dgm:chMax val="0"/>
          <dgm:chPref val="0"/>
          <dgm:bulletEnabled val="1"/>
        </dgm:presLayoutVars>
      </dgm:prSet>
      <dgm:spPr/>
    </dgm:pt>
    <dgm:pt modelId="{8DCBFBC9-5046-4279-89FA-0B9458C79BE4}" type="pres">
      <dgm:prSet presAssocID="{3DDF70A9-2E24-425E-AC78-CD40769AA6E4}" presName="parTxOnlySpace" presStyleCnt="0"/>
      <dgm:spPr/>
    </dgm:pt>
    <dgm:pt modelId="{160054E6-5AAC-4087-B4AE-507CF77B0B70}" type="pres">
      <dgm:prSet presAssocID="{5A67F1DA-2F58-4C1D-9BA8-CD3BDF22F6AD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</dgm:pt>
    <dgm:pt modelId="{1F701F69-1327-4758-9F9E-D371F2193C33}" type="pres">
      <dgm:prSet presAssocID="{877ED871-7F56-4B92-8605-626AD714A061}" presName="parTxOnlySpace" presStyleCnt="0"/>
      <dgm:spPr/>
    </dgm:pt>
    <dgm:pt modelId="{DE7F26E5-F312-4A62-86FD-6515137E743B}" type="pres">
      <dgm:prSet presAssocID="{04B298EA-7A04-4189-B677-0E24BC5D5F65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</dgm:pt>
    <dgm:pt modelId="{66127B87-0E6E-40EB-BC4A-CDEA895EE408}" type="pres">
      <dgm:prSet presAssocID="{31E60E35-294B-444C-A194-E3FDE6FFDF0B}" presName="parTxOnlySpace" presStyleCnt="0"/>
      <dgm:spPr/>
    </dgm:pt>
    <dgm:pt modelId="{AFD04EFF-035C-43EA-9E0A-1A7FC3C77CDF}" type="pres">
      <dgm:prSet presAssocID="{D3C8D3AF-B0CD-4244-BD78-F6AC29982616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</dgm:pt>
  </dgm:ptLst>
  <dgm:cxnLst>
    <dgm:cxn modelId="{B9F88407-E2E4-4B05-B5EB-F3BAED4A3E05}" type="presOf" srcId="{B1650327-E122-49C2-9B78-E55EDD476D41}" destId="{F4BDC478-6B9C-4B18-9C23-C39285C869BB}" srcOrd="0" destOrd="0" presId="urn:microsoft.com/office/officeart/2005/8/layout/chevron1"/>
    <dgm:cxn modelId="{E6529809-052C-4291-ACD1-E2312EDB46B0}" type="presOf" srcId="{04B298EA-7A04-4189-B677-0E24BC5D5F65}" destId="{DE7F26E5-F312-4A62-86FD-6515137E743B}" srcOrd="0" destOrd="0" presId="urn:microsoft.com/office/officeart/2005/8/layout/chevron1"/>
    <dgm:cxn modelId="{813DB30F-BB69-42D0-9CF1-8DAB964326C9}" type="presOf" srcId="{F9BB8CD5-2447-4C6B-8A6A-3F7F88C2BB14}" destId="{1F69F76F-8F11-4F25-8654-80E22753A00C}" srcOrd="0" destOrd="0" presId="urn:microsoft.com/office/officeart/2005/8/layout/chevron1"/>
    <dgm:cxn modelId="{B8A09716-28C5-4492-A6A7-7522D6442BA2}" type="presOf" srcId="{85CDA48F-C8B4-4D79-805F-972DA06D6678}" destId="{7097DE9A-EA6F-4E1B-954D-79AB4B882C59}" srcOrd="0" destOrd="0" presId="urn:microsoft.com/office/officeart/2005/8/layout/chevron1"/>
    <dgm:cxn modelId="{6AA38D4F-6EFB-4580-B079-74294BA06AF1}" srcId="{F9BB8CD5-2447-4C6B-8A6A-3F7F88C2BB14}" destId="{B1650327-E122-49C2-9B78-E55EDD476D41}" srcOrd="1" destOrd="0" parTransId="{916C3448-6E73-4015-AC05-F92CB4781FA2}" sibTransId="{3DDF70A9-2E24-425E-AC78-CD40769AA6E4}"/>
    <dgm:cxn modelId="{0FFD4F7C-00AA-40DB-BE9B-5C09A0D1939D}" srcId="{F9BB8CD5-2447-4C6B-8A6A-3F7F88C2BB14}" destId="{85CDA48F-C8B4-4D79-805F-972DA06D6678}" srcOrd="0" destOrd="0" parTransId="{3208E3CE-15C4-4A41-8A12-ED5079A5CC60}" sibTransId="{DE650BFC-9267-4789-B382-BED05B6B034C}"/>
    <dgm:cxn modelId="{72674E83-D4B5-4D6C-880E-B5E126D223E1}" type="presOf" srcId="{5A67F1DA-2F58-4C1D-9BA8-CD3BDF22F6AD}" destId="{160054E6-5AAC-4087-B4AE-507CF77B0B70}" srcOrd="0" destOrd="0" presId="urn:microsoft.com/office/officeart/2005/8/layout/chevron1"/>
    <dgm:cxn modelId="{F24BEBAB-7231-40C8-AF54-3F8469EE69E1}" srcId="{F9BB8CD5-2447-4C6B-8A6A-3F7F88C2BB14}" destId="{D3C8D3AF-B0CD-4244-BD78-F6AC29982616}" srcOrd="4" destOrd="0" parTransId="{9F89BEFF-C450-402B-AC57-6B91E90A5D8D}" sibTransId="{17D89BCC-97DA-4C51-BF80-D0AED1F2CD5C}"/>
    <dgm:cxn modelId="{EF4240DA-B1A6-493C-9D8E-5525D72948D4}" type="presOf" srcId="{D3C8D3AF-B0CD-4244-BD78-F6AC29982616}" destId="{AFD04EFF-035C-43EA-9E0A-1A7FC3C77CDF}" srcOrd="0" destOrd="0" presId="urn:microsoft.com/office/officeart/2005/8/layout/chevron1"/>
    <dgm:cxn modelId="{A0B1B9E6-C1F1-48D2-A9F1-4AE200FD09B0}" srcId="{F9BB8CD5-2447-4C6B-8A6A-3F7F88C2BB14}" destId="{5A67F1DA-2F58-4C1D-9BA8-CD3BDF22F6AD}" srcOrd="2" destOrd="0" parTransId="{3466329D-2E45-4AC7-8338-44ACE4B60EA3}" sibTransId="{877ED871-7F56-4B92-8605-626AD714A061}"/>
    <dgm:cxn modelId="{2D6C7FFE-B82D-44CF-BEE9-C289A4EAFAA9}" srcId="{F9BB8CD5-2447-4C6B-8A6A-3F7F88C2BB14}" destId="{04B298EA-7A04-4189-B677-0E24BC5D5F65}" srcOrd="3" destOrd="0" parTransId="{3FB1AF4D-FC0D-49AD-9D6F-8E76974CEFB2}" sibTransId="{31E60E35-294B-444C-A194-E3FDE6FFDF0B}"/>
    <dgm:cxn modelId="{8B0CFFAD-114C-424C-B05C-A526466B19F7}" type="presParOf" srcId="{1F69F76F-8F11-4F25-8654-80E22753A00C}" destId="{7097DE9A-EA6F-4E1B-954D-79AB4B882C59}" srcOrd="0" destOrd="0" presId="urn:microsoft.com/office/officeart/2005/8/layout/chevron1"/>
    <dgm:cxn modelId="{BF2FC72E-590B-4344-BA2E-2CB8E3A5DB13}" type="presParOf" srcId="{1F69F76F-8F11-4F25-8654-80E22753A00C}" destId="{064C7694-C0C3-47EF-AB20-EEEAD5F86BC7}" srcOrd="1" destOrd="0" presId="urn:microsoft.com/office/officeart/2005/8/layout/chevron1"/>
    <dgm:cxn modelId="{33FB94F9-A229-40AA-8525-BF1E0EA1A169}" type="presParOf" srcId="{1F69F76F-8F11-4F25-8654-80E22753A00C}" destId="{F4BDC478-6B9C-4B18-9C23-C39285C869BB}" srcOrd="2" destOrd="0" presId="urn:microsoft.com/office/officeart/2005/8/layout/chevron1"/>
    <dgm:cxn modelId="{C735C76A-DF54-4D5D-A9BD-4DA9467EA4BD}" type="presParOf" srcId="{1F69F76F-8F11-4F25-8654-80E22753A00C}" destId="{8DCBFBC9-5046-4279-89FA-0B9458C79BE4}" srcOrd="3" destOrd="0" presId="urn:microsoft.com/office/officeart/2005/8/layout/chevron1"/>
    <dgm:cxn modelId="{02267A1F-0A62-49DA-96CE-A2A5E91D9FE8}" type="presParOf" srcId="{1F69F76F-8F11-4F25-8654-80E22753A00C}" destId="{160054E6-5AAC-4087-B4AE-507CF77B0B70}" srcOrd="4" destOrd="0" presId="urn:microsoft.com/office/officeart/2005/8/layout/chevron1"/>
    <dgm:cxn modelId="{029B384E-E15C-4261-993C-8B5BE8436D53}" type="presParOf" srcId="{1F69F76F-8F11-4F25-8654-80E22753A00C}" destId="{1F701F69-1327-4758-9F9E-D371F2193C33}" srcOrd="5" destOrd="0" presId="urn:microsoft.com/office/officeart/2005/8/layout/chevron1"/>
    <dgm:cxn modelId="{829EFF39-1415-4E33-8882-220431BB6276}" type="presParOf" srcId="{1F69F76F-8F11-4F25-8654-80E22753A00C}" destId="{DE7F26E5-F312-4A62-86FD-6515137E743B}" srcOrd="6" destOrd="0" presId="urn:microsoft.com/office/officeart/2005/8/layout/chevron1"/>
    <dgm:cxn modelId="{5124B229-6416-4824-B9AE-FDE9612E97E4}" type="presParOf" srcId="{1F69F76F-8F11-4F25-8654-80E22753A00C}" destId="{66127B87-0E6E-40EB-BC4A-CDEA895EE408}" srcOrd="7" destOrd="0" presId="urn:microsoft.com/office/officeart/2005/8/layout/chevron1"/>
    <dgm:cxn modelId="{A30ADEAF-37B0-4185-AA12-FB7DEC83A1D3}" type="presParOf" srcId="{1F69F76F-8F11-4F25-8654-80E22753A00C}" destId="{AFD04EFF-035C-43EA-9E0A-1A7FC3C77CDF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097DE9A-EA6F-4E1B-954D-79AB4B882C59}">
      <dsp:nvSpPr>
        <dsp:cNvPr id="0" name=""/>
        <dsp:cNvSpPr/>
      </dsp:nvSpPr>
      <dsp:spPr>
        <a:xfrm>
          <a:off x="2725" y="1390549"/>
          <a:ext cx="2425619" cy="97024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4013" tIns="34671" rIns="34671" bIns="34671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600" kern="1200">
              <a:solidFill>
                <a:srgbClr val="FFFFFF"/>
              </a:solidFill>
              <a:latin typeface="Arial"/>
              <a:ea typeface="+mn-ea"/>
              <a:cs typeface="+mn-cs"/>
            </a:rPr>
            <a:t>May 2020</a:t>
          </a:r>
        </a:p>
      </dsp:txBody>
      <dsp:txXfrm>
        <a:off x="487849" y="1390549"/>
        <a:ext cx="1455372" cy="970247"/>
      </dsp:txXfrm>
    </dsp:sp>
    <dsp:sp modelId="{F4BDC478-6B9C-4B18-9C23-C39285C869BB}">
      <dsp:nvSpPr>
        <dsp:cNvPr id="0" name=""/>
        <dsp:cNvSpPr/>
      </dsp:nvSpPr>
      <dsp:spPr>
        <a:xfrm>
          <a:off x="2185782" y="1390549"/>
          <a:ext cx="2425619" cy="97024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4013" tIns="34671" rIns="34671" bIns="34671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600" kern="1200">
              <a:solidFill>
                <a:srgbClr val="FFFFFF"/>
              </a:solidFill>
              <a:latin typeface="Arial"/>
              <a:ea typeface="+mn-ea"/>
              <a:cs typeface="+mn-cs"/>
            </a:rPr>
            <a:t>Dec 2021</a:t>
          </a:r>
        </a:p>
      </dsp:txBody>
      <dsp:txXfrm>
        <a:off x="2670906" y="1390549"/>
        <a:ext cx="1455372" cy="970247"/>
      </dsp:txXfrm>
    </dsp:sp>
    <dsp:sp modelId="{160054E6-5AAC-4087-B4AE-507CF77B0B70}">
      <dsp:nvSpPr>
        <dsp:cNvPr id="0" name=""/>
        <dsp:cNvSpPr/>
      </dsp:nvSpPr>
      <dsp:spPr>
        <a:xfrm>
          <a:off x="4368840" y="1390549"/>
          <a:ext cx="2425619" cy="97024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4013" tIns="34671" rIns="34671" bIns="34671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600" kern="1200">
              <a:solidFill>
                <a:srgbClr val="FFFFFF"/>
              </a:solidFill>
              <a:latin typeface="Arial"/>
              <a:ea typeface="+mn-ea"/>
              <a:cs typeface="+mn-cs"/>
            </a:rPr>
            <a:t>Sept 2022</a:t>
          </a:r>
        </a:p>
      </dsp:txBody>
      <dsp:txXfrm>
        <a:off x="4853964" y="1390549"/>
        <a:ext cx="1455372" cy="970247"/>
      </dsp:txXfrm>
    </dsp:sp>
    <dsp:sp modelId="{DE7F26E5-F312-4A62-86FD-6515137E743B}">
      <dsp:nvSpPr>
        <dsp:cNvPr id="0" name=""/>
        <dsp:cNvSpPr/>
      </dsp:nvSpPr>
      <dsp:spPr>
        <a:xfrm>
          <a:off x="6551897" y="1390549"/>
          <a:ext cx="2425619" cy="97024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4013" tIns="34671" rIns="34671" bIns="34671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600" kern="1200">
              <a:solidFill>
                <a:srgbClr val="FFFFFF"/>
              </a:solidFill>
              <a:latin typeface="Arial"/>
              <a:ea typeface="+mn-ea"/>
              <a:cs typeface="+mn-cs"/>
            </a:rPr>
            <a:t>Dec 2022</a:t>
          </a:r>
        </a:p>
      </dsp:txBody>
      <dsp:txXfrm>
        <a:off x="7037021" y="1390549"/>
        <a:ext cx="1455372" cy="970247"/>
      </dsp:txXfrm>
    </dsp:sp>
    <dsp:sp modelId="{AFD04EFF-035C-43EA-9E0A-1A7FC3C77CDF}">
      <dsp:nvSpPr>
        <dsp:cNvPr id="0" name=""/>
        <dsp:cNvSpPr/>
      </dsp:nvSpPr>
      <dsp:spPr>
        <a:xfrm>
          <a:off x="8734955" y="1390549"/>
          <a:ext cx="2425619" cy="970247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4013" tIns="34671" rIns="34671" bIns="34671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600" kern="1200">
              <a:solidFill>
                <a:srgbClr val="FFFFFF"/>
              </a:solidFill>
              <a:latin typeface="Arial"/>
              <a:ea typeface="+mn-ea"/>
              <a:cs typeface="+mn-cs"/>
            </a:rPr>
            <a:t>June 2023</a:t>
          </a:r>
        </a:p>
      </dsp:txBody>
      <dsp:txXfrm>
        <a:off x="9220079" y="1390549"/>
        <a:ext cx="1455372" cy="97024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46CEB4E-B88E-1C4D-B1A5-F14D833C8F12}" type="datetimeFigureOut">
              <a:rPr lang="en-US" smtClean="0"/>
              <a:t>4/11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16E4FD-36F7-274C-9F81-9F40866444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23801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16E4FD-36F7-274C-9F81-9F408664445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25820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17513" y="1527175"/>
            <a:ext cx="6334125" cy="3562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ts val="1245"/>
              </a:spcBef>
            </a:pPr>
            <a:endParaRPr lang="en-I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8599">
              <a:defRPr/>
            </a:pPr>
            <a:fld id="{35388E42-760E-49FA-9054-35BDB887D9B5}" type="slidenum">
              <a:rPr lang="en-GB" altLang="en-US">
                <a:solidFill>
                  <a:srgbClr val="000000"/>
                </a:solidFill>
                <a:latin typeface="Calibri" panose="020F0502020204030204"/>
              </a:rPr>
              <a:pPr defTabSz="948599">
                <a:defRPr/>
              </a:pPr>
              <a:t>4</a:t>
            </a:fld>
            <a:endParaRPr lang="en-GB" altLang="en-US">
              <a:solidFill>
                <a:srgbClr val="000000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6404442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17513" y="1527175"/>
            <a:ext cx="6334125" cy="3562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>
                <a:solidFill>
                  <a:srgbClr val="000000"/>
                </a:solidFill>
                <a:latin typeface="Calibri" panose="020F0502020204030204" pitchFamily="34" charset="0"/>
              </a:rPr>
              <a:t>Closing Message:</a:t>
            </a:r>
          </a:p>
          <a:p>
            <a:endParaRPr lang="en-GB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r>
              <a:rPr lang="en-GB">
                <a:solidFill>
                  <a:srgbClr val="000000"/>
                </a:solidFill>
                <a:latin typeface="Calibri" panose="020F0502020204030204" pitchFamily="34" charset="0"/>
              </a:rPr>
              <a:t>Ireland needs an Integrated Zero Carbon Energy System approach in order to have any chance of meeting Net Zero targets. </a:t>
            </a:r>
          </a:p>
          <a:p>
            <a:endParaRPr lang="en-GB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r>
              <a:rPr lang="en-GB">
                <a:solidFill>
                  <a:srgbClr val="000000"/>
                </a:solidFill>
                <a:latin typeface="Calibri" panose="020F0502020204030204" pitchFamily="34" charset="0"/>
              </a:rPr>
              <a:t>ESB’s multi-billion investment in the Shannon Estuary region through its Green Atlantic Programme is a key partner for regional economic development, and offers a radically different future for </a:t>
            </a:r>
            <a:r>
              <a:rPr lang="en-GB" err="1">
                <a:solidFill>
                  <a:srgbClr val="000000"/>
                </a:solidFill>
                <a:latin typeface="Calibri" panose="020F0502020204030204" pitchFamily="34" charset="0"/>
              </a:rPr>
              <a:t>MidWest</a:t>
            </a:r>
            <a:r>
              <a:rPr lang="en-GB">
                <a:solidFill>
                  <a:srgbClr val="000000"/>
                </a:solidFill>
                <a:latin typeface="Calibri" panose="020F0502020204030204" pitchFamily="34" charset="0"/>
              </a:rPr>
              <a:t> powered by green energy .</a:t>
            </a:r>
          </a:p>
          <a:p>
            <a:endParaRPr lang="en-GB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r>
              <a:rPr lang="en-GB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Leave this image up for any Q&amp;A</a:t>
            </a:r>
            <a:endParaRPr lang="en-GB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8599">
              <a:defRPr/>
            </a:pPr>
            <a:fld id="{AC157E0A-F321-48DC-AF94-681D4DCF344D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48599">
                <a:defRPr/>
              </a:pPr>
              <a:t>5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681932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17513" y="1527175"/>
            <a:ext cx="6334125" cy="3562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360 installed capacity includes Lisheen 3 and </a:t>
            </a:r>
            <a:r>
              <a:rPr lang="en-GB" err="1"/>
              <a:t>Ballykeel</a:t>
            </a:r>
            <a:r>
              <a:rPr lang="en-GB"/>
              <a:t> (therefore higher than 327MW on website)</a:t>
            </a:r>
          </a:p>
          <a:p>
            <a:r>
              <a:rPr lang="en-GB"/>
              <a:t>234K uses methodology of 1MW powering 650 homes </a:t>
            </a:r>
            <a:br>
              <a:rPr lang="en-GB"/>
            </a:b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0</a:t>
            </a:fld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14801250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96437" indent="-296437">
              <a:spcBef>
                <a:spcPts val="1556"/>
              </a:spcBef>
              <a:buFont typeface="Arial,Sans-Serif"/>
              <a:buChar char="•"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76806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57E0A-F321-48DC-AF94-681D4DCF344D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17392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FEDD7B-B593-42AB-8D6F-07ED41B0AF50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64008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48599">
              <a:defRPr/>
            </a:pPr>
            <a:fld id="{287139E6-9836-4759-A35B-85033EE2835E}" type="slidenum">
              <a:rPr lang="en-US" altLang="en-US">
                <a:solidFill>
                  <a:prstClr val="black"/>
                </a:solidFill>
                <a:latin typeface="Calibri" panose="020F0502020204030204"/>
              </a:rPr>
              <a:pPr defTabSz="948599">
                <a:defRPr/>
              </a:pPr>
              <a:t>24</a:t>
            </a:fld>
            <a:endParaRPr lang="en-US" alt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8831708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6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14077F8-FC2F-CBDD-DA40-1CBCFC0AEF2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t="7828" b="782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D55D9140-84E0-A70A-2B39-FC711361B74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28539" y="6476256"/>
            <a:ext cx="1224841" cy="2598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fld id="{F0DD8006-BB9B-1B4D-8DC8-EAA10EC12D40}" type="datetime1">
              <a:rPr lang="en-IE" smtClean="0"/>
              <a:t>11/04/2024</a:t>
            </a:fld>
            <a:endParaRPr lang="en-IE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5BC2E668-46BA-D18D-BF09-CB9D7B3757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80590" y="6480487"/>
            <a:ext cx="7088456" cy="255326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IE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588FD3BC-F72D-5CD1-E332-1C958AA4E1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15938" y="6476256"/>
            <a:ext cx="509046" cy="25955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A13BAFD-C6E1-49C5-8C3D-26FF884B8F3D}" type="slidenum">
              <a:rPr lang="en-IE" smtClean="0"/>
              <a:pPr/>
              <a:t>‹#›</a:t>
            </a:fld>
            <a:endParaRPr lang="en-IE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FC6051D-AA9B-7935-E92B-80F7C538F8C3}"/>
              </a:ext>
            </a:extLst>
          </p:cNvPr>
          <p:cNvSpPr/>
          <p:nvPr userDrawn="1"/>
        </p:nvSpPr>
        <p:spPr>
          <a:xfrm>
            <a:off x="0" y="661981"/>
            <a:ext cx="7560000" cy="3420000"/>
          </a:xfrm>
          <a:prstGeom prst="rect">
            <a:avLst/>
          </a:prstGeom>
          <a:solidFill>
            <a:schemeClr val="tx2">
              <a:alpha val="8538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84BAA01-3C7A-C587-5E9B-93FC7C4187CD}"/>
              </a:ext>
            </a:extLst>
          </p:cNvPr>
          <p:cNvSpPr/>
          <p:nvPr userDrawn="1"/>
        </p:nvSpPr>
        <p:spPr>
          <a:xfrm flipV="1">
            <a:off x="0" y="3937981"/>
            <a:ext cx="7560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 descr="A blue and black logo&#10;&#10;Description automatically generated">
            <a:extLst>
              <a:ext uri="{FF2B5EF4-FFF2-40B4-BE49-F238E27FC236}">
                <a16:creationId xmlns:a16="http://schemas.microsoft.com/office/drawing/2014/main" id="{490DF0BE-4BDC-AAD1-3F97-12FF01B7887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2037" y="844365"/>
            <a:ext cx="2664916" cy="855775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1791B8A8-AA13-F163-47AE-86DC9D98FE7A}"/>
              </a:ext>
            </a:extLst>
          </p:cNvPr>
          <p:cNvSpPr/>
          <p:nvPr userDrawn="1"/>
        </p:nvSpPr>
        <p:spPr>
          <a:xfrm flipV="1">
            <a:off x="0" y="4009981"/>
            <a:ext cx="7560000" cy="72000"/>
          </a:xfrm>
          <a:prstGeom prst="rect">
            <a:avLst/>
          </a:prstGeom>
          <a:solidFill>
            <a:srgbClr val="4099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8D1B53CF-5671-DC9A-57F4-0DAEF4815DF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28539" y="1617501"/>
            <a:ext cx="5926503" cy="1486717"/>
          </a:xfrm>
        </p:spPr>
        <p:txBody>
          <a:bodyPr bIns="36000" anchor="b">
            <a:normAutofit/>
          </a:bodyPr>
          <a:lstStyle>
            <a:lvl1pPr algn="l">
              <a:lnSpc>
                <a:spcPct val="90000"/>
              </a:lnSpc>
              <a:defRPr sz="3200" b="1" i="0" baseline="0">
                <a:solidFill>
                  <a:srgbClr val="4099DA"/>
                </a:solidFill>
                <a:latin typeface="Century Gothic" panose="020B0502020202020204" pitchFamily="34" charset="0"/>
                <a:cs typeface="Poppins SemiBold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62EAFBD7-D7D0-10DB-B318-9BB482D41AC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28539" y="3285450"/>
            <a:ext cx="5376000" cy="577804"/>
          </a:xfrm>
        </p:spPr>
        <p:txBody>
          <a:bodyPr tIns="36000"/>
          <a:lstStyle>
            <a:lvl1pPr marL="0" indent="0" algn="l">
              <a:buNone/>
              <a:defRPr sz="1600" b="0" i="0">
                <a:solidFill>
                  <a:schemeClr val="accent1"/>
                </a:solidFill>
                <a:latin typeface="Century Gothic" panose="020B0502020202020204" pitchFamily="34" charset="0"/>
                <a:cs typeface="Poppins" pitchFamily="2" charset="77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5827252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:2 Title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1A7E47F-D55E-2949-8AFE-86D9396E40CD}" type="datetime1">
              <a:rPr lang="en-IE" smtClean="0"/>
              <a:t>11/04/2024</a:t>
            </a:fld>
            <a:endParaRPr lang="en-I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4A13BAFD-C6E1-49C5-8C3D-26FF884B8F3D}" type="slidenum">
              <a:rPr lang="en-IE" smtClean="0"/>
              <a:pPr algn="l"/>
              <a:t>‹#›</a:t>
            </a:fld>
            <a:endParaRPr lang="en-IE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" y="1016000"/>
            <a:ext cx="4223208" cy="5173663"/>
          </a:xfrm>
          <a:noFill/>
        </p:spPr>
        <p:txBody>
          <a:bodyPr lIns="504000" tIns="378000" rIns="313200" bIns="378000"/>
          <a:lstStyle>
            <a:lvl1pPr>
              <a:spcAft>
                <a:spcPts val="1500"/>
              </a:spcAft>
              <a:defRPr>
                <a:solidFill>
                  <a:schemeClr val="accent1"/>
                </a:solidFill>
              </a:defRPr>
            </a:lvl1pPr>
            <a:lvl2pPr>
              <a:buClr>
                <a:schemeClr val="accent5"/>
              </a:buClr>
              <a:defRPr>
                <a:solidFill>
                  <a:srgbClr val="4099DA"/>
                </a:solidFill>
              </a:defRPr>
            </a:lvl2pPr>
            <a:lvl3pPr>
              <a:defRPr>
                <a:solidFill>
                  <a:srgbClr val="4099DA"/>
                </a:solidFill>
              </a:defRPr>
            </a:lvl3pPr>
            <a:lvl4pPr>
              <a:defRPr>
                <a:solidFill>
                  <a:srgbClr val="4099DA"/>
                </a:solidFill>
              </a:defRPr>
            </a:lvl4pPr>
            <a:lvl5pPr>
              <a:defRPr>
                <a:solidFill>
                  <a:srgbClr val="4099DA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4223209" y="1016000"/>
            <a:ext cx="7968791" cy="5173663"/>
          </a:xfrm>
          <a:solidFill>
            <a:schemeClr val="bg1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966893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:2 Title Corp blue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2AC98B1-B51A-0248-A88B-FBFAC2C0BC97}" type="datetime1">
              <a:rPr lang="en-IE" smtClean="0"/>
              <a:t>11/04/2024</a:t>
            </a:fld>
            <a:endParaRPr lang="en-I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4A13BAFD-C6E1-49C5-8C3D-26FF884B8F3D}" type="slidenum">
              <a:rPr lang="en-IE" smtClean="0"/>
              <a:pPr algn="l"/>
              <a:t>‹#›</a:t>
            </a:fld>
            <a:endParaRPr lang="en-IE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" y="1016000"/>
            <a:ext cx="4223208" cy="5173663"/>
          </a:xfrm>
          <a:solidFill>
            <a:srgbClr val="4099DA"/>
          </a:solidFill>
        </p:spPr>
        <p:txBody>
          <a:bodyPr lIns="504000" tIns="378000" rIns="313200" bIns="378000"/>
          <a:lstStyle>
            <a:lvl1pPr>
              <a:spcAft>
                <a:spcPts val="1500"/>
              </a:spcAft>
              <a:defRPr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4223209" y="1016000"/>
            <a:ext cx="7968791" cy="5173663"/>
          </a:xfrm>
          <a:solidFill>
            <a:schemeClr val="bg1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5748814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:2 Title Deep blue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2C76ED1-33CA-2448-899E-2016B3EF0B3B}" type="datetime1">
              <a:rPr lang="en-IE" smtClean="0"/>
              <a:t>11/04/2024</a:t>
            </a:fld>
            <a:endParaRPr lang="en-I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4A13BAFD-C6E1-49C5-8C3D-26FF884B8F3D}" type="slidenum">
              <a:rPr lang="en-IE" smtClean="0"/>
              <a:pPr algn="l"/>
              <a:t>‹#›</a:t>
            </a:fld>
            <a:endParaRPr lang="en-IE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" y="1016000"/>
            <a:ext cx="4223208" cy="5173663"/>
          </a:xfrm>
          <a:solidFill>
            <a:schemeClr val="accent1"/>
          </a:solidFill>
        </p:spPr>
        <p:txBody>
          <a:bodyPr lIns="504000" tIns="378000" rIns="313200" bIns="378000"/>
          <a:lstStyle>
            <a:lvl1pPr>
              <a:spcAft>
                <a:spcPts val="1500"/>
              </a:spcAft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4223209" y="1016000"/>
            <a:ext cx="7968791" cy="5173663"/>
          </a:xfrm>
          <a:solidFill>
            <a:schemeClr val="bg1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2326932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:1 Title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CD79E3C-A2E2-A84C-9197-D49E3F27F11B}" type="datetime1">
              <a:rPr lang="en-IE" smtClean="0"/>
              <a:t>11/04/2024</a:t>
            </a:fld>
            <a:endParaRPr lang="en-I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4A13BAFD-C6E1-49C5-8C3D-26FF884B8F3D}" type="slidenum">
              <a:rPr lang="en-IE" smtClean="0"/>
              <a:pPr algn="l"/>
              <a:t>‹#›</a:t>
            </a:fld>
            <a:endParaRPr lang="en-IE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" y="1016000"/>
            <a:ext cx="7956222" cy="5173663"/>
          </a:xfrm>
          <a:noFill/>
        </p:spPr>
        <p:txBody>
          <a:bodyPr lIns="504000" tIns="378000" rIns="313200" bIns="378000"/>
          <a:lstStyle>
            <a:lvl1pPr>
              <a:spcAft>
                <a:spcPts val="1500"/>
              </a:spcAft>
              <a:defRPr>
                <a:solidFill>
                  <a:schemeClr val="accent1"/>
                </a:solidFill>
              </a:defRPr>
            </a:lvl1pPr>
            <a:lvl2pPr>
              <a:buClr>
                <a:schemeClr val="accent5"/>
              </a:buClr>
              <a:defRPr>
                <a:solidFill>
                  <a:srgbClr val="4099DA"/>
                </a:solidFill>
              </a:defRPr>
            </a:lvl2pPr>
            <a:lvl3pPr>
              <a:defRPr>
                <a:solidFill>
                  <a:srgbClr val="4099DA"/>
                </a:solidFill>
              </a:defRPr>
            </a:lvl3pPr>
            <a:lvl4pPr>
              <a:defRPr>
                <a:solidFill>
                  <a:srgbClr val="4099DA"/>
                </a:solidFill>
              </a:defRPr>
            </a:lvl4pPr>
            <a:lvl5pPr>
              <a:defRPr>
                <a:solidFill>
                  <a:srgbClr val="4099DA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7956223" y="1016000"/>
            <a:ext cx="4235777" cy="5173663"/>
          </a:xfrm>
          <a:solidFill>
            <a:schemeClr val="bg1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2222250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:1 Title Corp blue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5B7D78E-C5F5-9645-9162-A0E99E5FDA2B}" type="datetime1">
              <a:rPr lang="en-IE" smtClean="0"/>
              <a:t>11/04/2024</a:t>
            </a:fld>
            <a:endParaRPr lang="en-I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4A13BAFD-C6E1-49C5-8C3D-26FF884B8F3D}" type="slidenum">
              <a:rPr lang="en-IE" smtClean="0"/>
              <a:pPr algn="l"/>
              <a:t>‹#›</a:t>
            </a:fld>
            <a:endParaRPr lang="en-IE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" y="1016000"/>
            <a:ext cx="7956222" cy="5173663"/>
          </a:xfrm>
          <a:solidFill>
            <a:srgbClr val="4099DA"/>
          </a:solidFill>
        </p:spPr>
        <p:txBody>
          <a:bodyPr lIns="504000" tIns="378000" rIns="313200" bIns="378000"/>
          <a:lstStyle>
            <a:lvl1pPr>
              <a:spcAft>
                <a:spcPts val="1500"/>
              </a:spcAft>
              <a:defRPr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7956223" y="1016000"/>
            <a:ext cx="4235777" cy="5173663"/>
          </a:xfrm>
          <a:solidFill>
            <a:schemeClr val="bg1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813572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:1 Title Deep blue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CEA521A-E571-DB4F-98FE-41033D79C2C1}" type="datetime1">
              <a:rPr lang="en-IE" smtClean="0"/>
              <a:t>11/04/2024</a:t>
            </a:fld>
            <a:endParaRPr lang="en-I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4A13BAFD-C6E1-49C5-8C3D-26FF884B8F3D}" type="slidenum">
              <a:rPr lang="en-IE" smtClean="0"/>
              <a:pPr algn="l"/>
              <a:t>‹#›</a:t>
            </a:fld>
            <a:endParaRPr lang="en-IE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" y="1016000"/>
            <a:ext cx="7956222" cy="5173663"/>
          </a:xfrm>
          <a:solidFill>
            <a:schemeClr val="accent1"/>
          </a:solidFill>
        </p:spPr>
        <p:txBody>
          <a:bodyPr lIns="504000" tIns="378000" rIns="313200" bIns="378000"/>
          <a:lstStyle>
            <a:lvl1pPr>
              <a:spcAft>
                <a:spcPts val="1500"/>
              </a:spcAft>
              <a:defRPr>
                <a:solidFill>
                  <a:srgbClr val="4099DA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7956223" y="1016000"/>
            <a:ext cx="4235777" cy="5173663"/>
          </a:xfrm>
          <a:solidFill>
            <a:schemeClr val="bg1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0939906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9046" y="221194"/>
            <a:ext cx="9568800" cy="7117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9046" y="1357459"/>
            <a:ext cx="5410742" cy="4732255"/>
          </a:xfrm>
        </p:spPr>
        <p:txBody>
          <a:bodyPr t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2836" y="1357459"/>
            <a:ext cx="5472689" cy="4732255"/>
          </a:xfrm>
        </p:spPr>
        <p:txBody>
          <a:bodyPr t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035663-435F-854D-AEB6-B650BABD5FA4}" type="datetime1">
              <a:rPr lang="en-IE" smtClean="0"/>
              <a:t>11/04/2024</a:t>
            </a:fld>
            <a:endParaRPr lang="en-IE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4A13BAFD-C6E1-49C5-8C3D-26FF884B8F3D}" type="slidenum">
              <a:rPr lang="en-IE" smtClean="0"/>
              <a:pPr algn="l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994139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77" userDrawn="1">
          <p15:clr>
            <a:srgbClr val="FBAE40"/>
          </p15:clr>
        </p15:guide>
        <p15:guide id="2" pos="3729" userDrawn="1">
          <p15:clr>
            <a:srgbClr val="FBAE40"/>
          </p15:clr>
        </p15:guide>
        <p15:guide id="3" pos="3901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5938" y="1071155"/>
            <a:ext cx="5185914" cy="714103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5938" y="1785258"/>
            <a:ext cx="5185914" cy="429709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98207" y="1071155"/>
            <a:ext cx="5581031" cy="714103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98207" y="1785258"/>
            <a:ext cx="5581031" cy="429709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C065F0-F51E-0744-8837-9613B39A6AC4}" type="datetime1">
              <a:rPr lang="en-IE" smtClean="0"/>
              <a:t>11/04/2024</a:t>
            </a:fld>
            <a:endParaRPr lang="en-IE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4A13BAFD-C6E1-49C5-8C3D-26FF884B8F3D}" type="slidenum">
              <a:rPr lang="en-IE" smtClean="0"/>
              <a:pPr algn="l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40718437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BBDA9F-F6B3-154A-B833-69A19C913B3E}" type="datetime1">
              <a:rPr lang="en-IE" smtClean="0"/>
              <a:t>11/04/2024</a:t>
            </a:fld>
            <a:endParaRPr lang="en-I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13BAFD-C6E1-49C5-8C3D-26FF884B8F3D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406888240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D53251-EC59-5745-8CEC-932436AAE410}" type="datetime1">
              <a:rPr lang="en-IE" smtClean="0"/>
              <a:t>11/04/2024</a:t>
            </a:fld>
            <a:endParaRPr lang="en-I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13BAFD-C6E1-49C5-8C3D-26FF884B8F3D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0854094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515938" y="1332000"/>
            <a:ext cx="9359900" cy="46974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F48A7C2-8366-6B43-8C74-9C22D71C4144}" type="datetime1">
              <a:rPr lang="en-IE" smtClean="0"/>
              <a:t>11/04/2024</a:t>
            </a:fld>
            <a:endParaRPr lang="en-I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4A13BAFD-C6E1-49C5-8C3D-26FF884B8F3D}" type="slidenum">
              <a:rPr lang="en-IE" smtClean="0"/>
              <a:pPr algn="l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6547157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206AF1DB-5B44-40E3-894A-ED4661FC209D}"/>
              </a:ext>
            </a:extLst>
          </p:cNvPr>
          <p:cNvSpPr/>
          <p:nvPr userDrawn="1"/>
        </p:nvSpPr>
        <p:spPr bwMode="white">
          <a:xfrm>
            <a:off x="0" y="0"/>
            <a:ext cx="121932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1866EA2-3E59-4F1F-9491-F0B8D3CB6D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336000"/>
            <a:ext cx="11040000" cy="766784"/>
          </a:xfrm>
        </p:spPr>
        <p:txBody>
          <a:bodyPr/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Click to add Agenda title</a:t>
            </a:r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9F4716C-9221-4692-8911-EF8F39D2D8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001" y="1372800"/>
            <a:ext cx="11035200" cy="4560000"/>
          </a:xfrm>
        </p:spPr>
        <p:txBody>
          <a:bodyPr tIns="216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​"/>
              <a:defRPr sz="20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/>
              <a:t>Click to add agenda poin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D65CD90-C414-4A15-A278-B6A194770CF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96079E2-07E2-4425-B2D7-C877DDC194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77969EBE-D477-4048-A87C-DD29F953D95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126400" y="6419744"/>
            <a:ext cx="489600" cy="133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51486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8D7B5B42-7771-478B-B707-451694DA94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/>
              <a:t>Click to add tit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76000" y="1372800"/>
            <a:ext cx="11040000" cy="4560000"/>
          </a:xfrm>
        </p:spPr>
        <p:txBody>
          <a:bodyPr/>
          <a:lstStyle>
            <a:lvl1pPr marL="287993" indent="-28799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33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575986" indent="-28799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863978" indent="-28799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1151971" indent="-28799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439964" indent="-28799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439964">
              <a:defRPr>
                <a:latin typeface="+mn-lt"/>
              </a:defRPr>
            </a:lvl6pPr>
            <a:lvl7pPr marL="1439964">
              <a:defRPr>
                <a:latin typeface="+mn-lt"/>
              </a:defRPr>
            </a:lvl7pPr>
            <a:lvl8pPr marL="1439964">
              <a:defRPr>
                <a:latin typeface="+mn-lt"/>
              </a:defRPr>
            </a:lvl8pPr>
            <a:lvl9pPr marL="1439964">
              <a:defRPr>
                <a:latin typeface="+mn-lt"/>
              </a:defRPr>
            </a:lvl9pPr>
          </a:lstStyle>
          <a:p>
            <a:pPr lvl="0"/>
            <a:r>
              <a:rPr lang="en-GB"/>
              <a:t>Click to add text </a:t>
            </a:r>
            <a:endParaRPr lang="en-GB" noProof="0"/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998400" y="6081600"/>
            <a:ext cx="5328000" cy="4896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8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72"/>
              </a:spcBef>
              <a:defRPr sz="635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72"/>
              </a:spcBef>
              <a:defRPr sz="635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72"/>
              </a:spcBef>
              <a:defRPr sz="635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72"/>
              </a:spcBef>
              <a:defRPr sz="635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F4B9A18-3031-4F61-A600-7506A7A2C712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F465A8-0790-45AE-B5DE-DE51F4564890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16433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D556C6-991D-4FD9-9393-739D0F8A60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D556C6-991D-4FD9-9393-739D0F8A60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49757780-C244-418D-A0DD-15ED296FE33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98400" y="6081601"/>
            <a:ext cx="5328000" cy="489879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8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72"/>
              </a:spcBef>
              <a:defRPr sz="635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72"/>
              </a:spcBef>
              <a:defRPr sz="635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72"/>
              </a:spcBef>
              <a:defRPr sz="635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72"/>
              </a:spcBef>
              <a:defRPr sz="635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/>
              <a:t>Click to add source or note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4E76D947-08D5-4897-BC99-FA8B3E3B5C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/>
              <a:t>Click to add title</a:t>
            </a:r>
            <a:endParaRPr lang="en-GB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2D0878B-07BF-4B46-B6AF-DD7B9CC6B7FE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2315FD-1629-4CE7-A201-A0B8CB9838B8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5F913250-153E-4DDB-925D-E17567067676}"/>
              </a:ext>
            </a:extLst>
          </p:cNvPr>
          <p:cNvSpPr txBox="1">
            <a:spLocks/>
          </p:cNvSpPr>
          <p:nvPr userDrawn="1"/>
        </p:nvSpPr>
        <p:spPr>
          <a:xfrm>
            <a:off x="576000" y="6408279"/>
            <a:ext cx="321600" cy="163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8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933" kern="1200" noProof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04290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8D7B5B42-7771-478B-B707-451694DA94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/>
              <a:t>Click to add tit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76000" y="1372800"/>
            <a:ext cx="11040000" cy="4560000"/>
          </a:xfrm>
        </p:spPr>
        <p:txBody>
          <a:bodyPr/>
          <a:lstStyle>
            <a:lvl1pPr marL="287993" indent="-28799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33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575986" indent="-28799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863978" indent="-28799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1151971" indent="-28799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439964" indent="-28799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439964">
              <a:defRPr>
                <a:latin typeface="+mn-lt"/>
              </a:defRPr>
            </a:lvl6pPr>
            <a:lvl7pPr marL="1439964">
              <a:defRPr>
                <a:latin typeface="+mn-lt"/>
              </a:defRPr>
            </a:lvl7pPr>
            <a:lvl8pPr marL="1439964">
              <a:defRPr>
                <a:latin typeface="+mn-lt"/>
              </a:defRPr>
            </a:lvl8pPr>
            <a:lvl9pPr marL="1439964">
              <a:defRPr>
                <a:latin typeface="+mn-lt"/>
              </a:defRPr>
            </a:lvl9pPr>
          </a:lstStyle>
          <a:p>
            <a:pPr lvl="0"/>
            <a:r>
              <a:rPr lang="en-GB"/>
              <a:t>Click to add text </a:t>
            </a:r>
            <a:endParaRPr lang="en-GB" noProof="0"/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998400" y="6081600"/>
            <a:ext cx="5328000" cy="4896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8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72"/>
              </a:spcBef>
              <a:defRPr sz="635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72"/>
              </a:spcBef>
              <a:defRPr sz="635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72"/>
              </a:spcBef>
              <a:defRPr sz="635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72"/>
              </a:spcBef>
              <a:defRPr sz="635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F4B9A18-3031-4F61-A600-7506A7A2C712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F465A8-0790-45AE-B5DE-DE51F4564890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57550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8D7B5B42-7771-478B-B707-451694DA94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/>
              <a:t>Click to add tit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76000" y="1372800"/>
            <a:ext cx="11040000" cy="4560000"/>
          </a:xfrm>
        </p:spPr>
        <p:txBody>
          <a:bodyPr/>
          <a:lstStyle>
            <a:lvl1pPr marL="287993" indent="-28799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33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575986" indent="-28799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863978" indent="-28799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1151971" indent="-28799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439964" indent="-28799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33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439964">
              <a:defRPr>
                <a:latin typeface="+mn-lt"/>
              </a:defRPr>
            </a:lvl6pPr>
            <a:lvl7pPr marL="1439964">
              <a:defRPr>
                <a:latin typeface="+mn-lt"/>
              </a:defRPr>
            </a:lvl7pPr>
            <a:lvl8pPr marL="1439964">
              <a:defRPr>
                <a:latin typeface="+mn-lt"/>
              </a:defRPr>
            </a:lvl8pPr>
            <a:lvl9pPr marL="1439964">
              <a:defRPr>
                <a:latin typeface="+mn-lt"/>
              </a:defRPr>
            </a:lvl9pPr>
          </a:lstStyle>
          <a:p>
            <a:pPr lvl="0"/>
            <a:r>
              <a:rPr lang="en-GB"/>
              <a:t>Click to add text </a:t>
            </a:r>
            <a:endParaRPr lang="en-GB" noProof="0"/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998400" y="6081600"/>
            <a:ext cx="5328000" cy="4896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8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72"/>
              </a:spcBef>
              <a:defRPr sz="635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72"/>
              </a:spcBef>
              <a:defRPr sz="635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72"/>
              </a:spcBef>
              <a:defRPr sz="635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72"/>
              </a:spcBef>
              <a:defRPr sz="635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F4B9A18-3031-4F61-A600-7506A7A2C712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F465A8-0790-45AE-B5DE-DE51F4564890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6820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62400" y="1332001"/>
            <a:ext cx="9743016" cy="4697413"/>
          </a:xfrm>
        </p:spPr>
        <p:txBody>
          <a:bodyPr/>
          <a:lstStyle>
            <a:lvl2pPr>
              <a:spcAft>
                <a:spcPts val="600"/>
              </a:spcAft>
              <a:defRPr/>
            </a:lvl2pPr>
            <a:lvl3pPr>
              <a:spcBef>
                <a:spcPts val="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80F0368-ED71-4380-8A0A-C8EC1E4B6E2D}" type="datetimeFigureOut">
              <a:rPr lang="en-IE" smtClean="0"/>
              <a:pPr/>
              <a:t>11/04/2024</a:t>
            </a:fld>
            <a:endParaRPr lang="en-I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A13BAFD-C6E1-49C5-8C3D-26FF884B8F3D}" type="slidenum">
              <a:rPr lang="en-IE" smtClean="0"/>
              <a:pPr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670159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4" name="Footer Placeholder 5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A59D95"/>
              </a:buClr>
              <a:defRPr/>
            </a:pPr>
            <a:r>
              <a:rPr lang="en-IE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8327523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62400" y="1332001"/>
            <a:ext cx="9743016" cy="4697413"/>
          </a:xfrm>
        </p:spPr>
        <p:txBody>
          <a:bodyPr/>
          <a:lstStyle>
            <a:lvl2pPr>
              <a:spcAft>
                <a:spcPts val="600"/>
              </a:spcAft>
              <a:defRPr/>
            </a:lvl2pPr>
            <a:lvl3pPr>
              <a:spcBef>
                <a:spcPts val="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80F0368-ED71-4380-8A0A-C8EC1E4B6E2D}" type="datetimeFigureOut">
              <a:rPr lang="en-IE" smtClean="0"/>
              <a:pPr/>
              <a:t>11/04/2024</a:t>
            </a:fld>
            <a:endParaRPr lang="en-I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A13BAFD-C6E1-49C5-8C3D-26FF884B8F3D}" type="slidenum">
              <a:rPr lang="en-IE" smtClean="0"/>
              <a:pPr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241533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24417" y="348350"/>
            <a:ext cx="8354483" cy="510116"/>
          </a:xfrm>
          <a:prstGeom prst="rect">
            <a:avLst/>
          </a:prstGeom>
        </p:spPr>
        <p:txBody>
          <a:bodyPr wrap="none" lIns="0"/>
          <a:lstStyle>
            <a:lvl1pPr>
              <a:defRPr sz="2667" baseline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1"/>
          </p:nvPr>
        </p:nvSpPr>
        <p:spPr>
          <a:xfrm>
            <a:off x="624418" y="1365252"/>
            <a:ext cx="10943167" cy="4895849"/>
          </a:xfrm>
          <a:prstGeom prst="rect">
            <a:avLst/>
          </a:prstGeom>
        </p:spPr>
        <p:txBody>
          <a:bodyPr lIns="0"/>
          <a:lstStyle>
            <a:lvl1pPr marL="234945" indent="-234945">
              <a:buClr>
                <a:schemeClr val="accent6"/>
              </a:buClr>
              <a:buFont typeface="Arial" panose="020B0604020202020204" pitchFamily="34" charset="0"/>
              <a:buChar char="●"/>
              <a:defRPr sz="2400"/>
            </a:lvl1pPr>
            <a:lvl2pPr marL="228594" indent="-228594">
              <a:buClr>
                <a:schemeClr val="accent6"/>
              </a:buClr>
              <a:buFont typeface="Arial" panose="020B0604020202020204" pitchFamily="34" charset="0"/>
              <a:buChar char="●"/>
              <a:defRPr sz="2133"/>
            </a:lvl2pPr>
            <a:lvl3pPr marL="518387" indent="-304792">
              <a:buClr>
                <a:schemeClr val="accent6"/>
              </a:buClr>
              <a:buFont typeface="Wingdings" panose="05000000000000000000" pitchFamily="2" charset="2"/>
              <a:buChar char="§"/>
              <a:defRPr sz="1867"/>
            </a:lvl3pPr>
            <a:lvl4pPr marL="2133547" indent="-304792">
              <a:buClr>
                <a:schemeClr val="accent6"/>
              </a:buClr>
              <a:buFont typeface="Wingdings" panose="05000000000000000000" pitchFamily="2" charset="2"/>
              <a:buChar char="Ø"/>
              <a:defRPr sz="1600"/>
            </a:lvl4pPr>
            <a:lvl5pPr marL="2743131" indent="-304792">
              <a:buClr>
                <a:schemeClr val="accent6"/>
              </a:buClr>
              <a:buFont typeface="Wingdings" panose="05000000000000000000" pitchFamily="2" charset="2"/>
              <a:buChar char="Ø"/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4514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98889A4-8C76-AFC2-3935-055E36AD832C}"/>
              </a:ext>
            </a:extLst>
          </p:cNvPr>
          <p:cNvSpPr/>
          <p:nvPr userDrawn="1"/>
        </p:nvSpPr>
        <p:spPr>
          <a:xfrm>
            <a:off x="0" y="4279900"/>
            <a:ext cx="12192000" cy="2578100"/>
          </a:xfrm>
          <a:prstGeom prst="rect">
            <a:avLst/>
          </a:prstGeom>
          <a:solidFill>
            <a:srgbClr val="4099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DDA41CEB-BCEC-E894-4F44-3620363CB6DE}"/>
              </a:ext>
            </a:extLst>
          </p:cNvPr>
          <p:cNvSpPr/>
          <p:nvPr userDrawn="1"/>
        </p:nvSpPr>
        <p:spPr>
          <a:xfrm>
            <a:off x="0" y="4197569"/>
            <a:ext cx="12192000" cy="820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5306" y="81237"/>
            <a:ext cx="9217570" cy="2852737"/>
          </a:xfrm>
        </p:spPr>
        <p:txBody>
          <a:bodyPr anchor="b"/>
          <a:lstStyle>
            <a:lvl1pPr>
              <a:defRPr sz="2500" b="1" i="0">
                <a:solidFill>
                  <a:srgbClr val="4099DA"/>
                </a:solidFill>
                <a:latin typeface="Century Gothic" panose="020B0502020202020204" pitchFamily="34" charset="0"/>
                <a:cs typeface="Poppins SemiBold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85306" y="2830333"/>
            <a:ext cx="9217570" cy="1500187"/>
          </a:xfrm>
        </p:spPr>
        <p:txBody>
          <a:bodyPr/>
          <a:lstStyle>
            <a:lvl1pPr marL="0" indent="0">
              <a:buNone/>
              <a:defRPr sz="1800" b="0" i="0">
                <a:solidFill>
                  <a:schemeClr val="accent1"/>
                </a:solidFill>
                <a:latin typeface="Century Gothic" panose="020B0502020202020204" pitchFamily="34" charset="0"/>
                <a:cs typeface="Poppins" pitchFamily="2" charset="77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4089F6F-E514-F488-C66F-300D4E1D656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528945" y="6296253"/>
            <a:ext cx="1517646" cy="487357"/>
          </a:xfrm>
          <a:prstGeom prst="rect">
            <a:avLst/>
          </a:prstGeom>
        </p:spPr>
      </p:pic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93489511-56AC-3033-87B8-21ADC4B948A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602000" y="6476256"/>
            <a:ext cx="1224841" cy="259825"/>
          </a:xfrm>
          <a:prstGeom prst="rect">
            <a:avLst/>
          </a:prstGeom>
        </p:spPr>
        <p:txBody>
          <a:bodyPr vert="horz" lIns="91440" tIns="45720" rIns="91440" bIns="46800" rtlCol="0" anchor="t" anchorCtr="0"/>
          <a:lstStyle>
            <a:lvl1pPr algn="l">
              <a:defRPr sz="1100" b="0" i="0">
                <a:solidFill>
                  <a:schemeClr val="accent1"/>
                </a:solidFill>
                <a:latin typeface="Century Gothic" panose="020B0502020202020204" pitchFamily="34" charset="0"/>
                <a:cs typeface="Poppins" pitchFamily="2" charset="77"/>
              </a:defRPr>
            </a:lvl1pPr>
          </a:lstStyle>
          <a:p>
            <a:fld id="{77938243-6CE0-E94B-A53B-D05D63FB068A}" type="datetime1">
              <a:rPr lang="en-IE" smtClean="0"/>
              <a:pPr/>
              <a:t>11/04/2024</a:t>
            </a:fld>
            <a:endParaRPr lang="en-IE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51E0FBE-1A4E-FE9B-34AF-4FAFB904A6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26841" y="6480487"/>
            <a:ext cx="7619220" cy="255326"/>
          </a:xfrm>
          <a:prstGeom prst="rect">
            <a:avLst/>
          </a:prstGeom>
        </p:spPr>
        <p:txBody>
          <a:bodyPr vert="horz" lIns="91440" tIns="45720" rIns="91440" bIns="46800" rtlCol="0" anchor="t" anchorCtr="0"/>
          <a:lstStyle>
            <a:lvl1pPr algn="l">
              <a:defRPr sz="1100" b="0" i="0">
                <a:solidFill>
                  <a:schemeClr val="accent1"/>
                </a:solidFill>
                <a:latin typeface="Century Gothic" panose="020B0502020202020204" pitchFamily="34" charset="0"/>
                <a:cs typeface="Poppins" pitchFamily="2" charset="77"/>
              </a:defRPr>
            </a:lvl1pPr>
          </a:lstStyle>
          <a:p>
            <a:endParaRPr lang="en-IE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A253B72-AC04-A6A7-1B3C-C46DC88ED9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476256"/>
            <a:ext cx="509046" cy="259557"/>
          </a:xfrm>
          <a:prstGeom prst="rect">
            <a:avLst/>
          </a:prstGeom>
        </p:spPr>
        <p:txBody>
          <a:bodyPr vert="horz" lIns="0" tIns="45720" rIns="91440" bIns="46800" rtlCol="0" anchor="t" anchorCtr="0"/>
          <a:lstStyle>
            <a:lvl1pPr algn="r">
              <a:defRPr sz="1100" b="0" i="0">
                <a:solidFill>
                  <a:schemeClr val="accent1"/>
                </a:solidFill>
                <a:latin typeface="Century Gothic" panose="020B0502020202020204" pitchFamily="34" charset="0"/>
                <a:cs typeface="Poppins" pitchFamily="2" charset="77"/>
              </a:defRPr>
            </a:lvl1pPr>
          </a:lstStyle>
          <a:p>
            <a:pPr algn="l"/>
            <a:fld id="{4A13BAFD-C6E1-49C5-8C3D-26FF884B8F3D}" type="slidenum">
              <a:rPr lang="en-IE" smtClean="0"/>
              <a:pPr algn="l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9648323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Ble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30E7D5A7-3241-FC71-5ECD-5029F25C554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099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9414" y="81237"/>
            <a:ext cx="9223462" cy="2852737"/>
          </a:xfrm>
        </p:spPr>
        <p:txBody>
          <a:bodyPr anchor="b"/>
          <a:lstStyle>
            <a:lvl1pPr>
              <a:defRPr sz="2500" b="1" i="0">
                <a:solidFill>
                  <a:schemeClr val="tx2"/>
                </a:solidFill>
                <a:latin typeface="Century Gothic" panose="020B0502020202020204" pitchFamily="34" charset="0"/>
                <a:cs typeface="Poppins SemiBold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79414" y="2830333"/>
            <a:ext cx="9223462" cy="1500187"/>
          </a:xfrm>
        </p:spPr>
        <p:txBody>
          <a:bodyPr/>
          <a:lstStyle>
            <a:lvl1pPr marL="0" indent="0">
              <a:buNone/>
              <a:defRPr sz="1800" b="0" i="0">
                <a:solidFill>
                  <a:schemeClr val="tx2"/>
                </a:solidFill>
                <a:latin typeface="Century Gothic" panose="020B0502020202020204" pitchFamily="34" charset="0"/>
                <a:cs typeface="Poppins" pitchFamily="2" charset="77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5E2AD22-AB9F-3874-D13C-873D49F782D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528945" y="6296253"/>
            <a:ext cx="1517646" cy="487357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7524C93-C9DD-B64A-71D6-E5A7D9E4FEA3}"/>
              </a:ext>
            </a:extLst>
          </p:cNvPr>
          <p:cNvSpPr/>
          <p:nvPr userDrawn="1"/>
        </p:nvSpPr>
        <p:spPr>
          <a:xfrm>
            <a:off x="1" y="6191250"/>
            <a:ext cx="12191999" cy="72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 sz="1800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E2B5199A-191E-FAE1-5DF8-610B7D4A357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602000" y="6476256"/>
            <a:ext cx="1224841" cy="259825"/>
          </a:xfrm>
          <a:prstGeom prst="rect">
            <a:avLst/>
          </a:prstGeom>
        </p:spPr>
        <p:txBody>
          <a:bodyPr vert="horz" lIns="91440" tIns="45720" rIns="91440" bIns="46800" rtlCol="0" anchor="t" anchorCtr="0"/>
          <a:lstStyle>
            <a:lvl1pPr algn="l">
              <a:defRPr sz="1100" b="0" i="0">
                <a:solidFill>
                  <a:schemeClr val="accent1"/>
                </a:solidFill>
                <a:latin typeface="Century Gothic" panose="020B0502020202020204" pitchFamily="34" charset="0"/>
                <a:cs typeface="Poppins" pitchFamily="2" charset="77"/>
              </a:defRPr>
            </a:lvl1pPr>
          </a:lstStyle>
          <a:p>
            <a:fld id="{77938243-6CE0-E94B-A53B-D05D63FB068A}" type="datetime1">
              <a:rPr lang="en-IE" smtClean="0"/>
              <a:pPr/>
              <a:t>11/04/2024</a:t>
            </a:fld>
            <a:endParaRPr lang="en-IE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D32EE59F-9BB6-9686-4D7D-2C8400D813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26841" y="6480487"/>
            <a:ext cx="7619220" cy="255326"/>
          </a:xfrm>
          <a:prstGeom prst="rect">
            <a:avLst/>
          </a:prstGeom>
        </p:spPr>
        <p:txBody>
          <a:bodyPr vert="horz" lIns="91440" tIns="45720" rIns="91440" bIns="46800" rtlCol="0" anchor="t" anchorCtr="0"/>
          <a:lstStyle>
            <a:lvl1pPr algn="l">
              <a:defRPr sz="1100" b="0" i="0">
                <a:solidFill>
                  <a:schemeClr val="accent1"/>
                </a:solidFill>
                <a:latin typeface="Century Gothic" panose="020B0502020202020204" pitchFamily="34" charset="0"/>
                <a:cs typeface="Poppins" pitchFamily="2" charset="77"/>
              </a:defRPr>
            </a:lvl1pPr>
          </a:lstStyle>
          <a:p>
            <a:endParaRPr lang="en-IE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E20A64C7-09EC-FA08-3B38-BB1E5F8D92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476256"/>
            <a:ext cx="509046" cy="259557"/>
          </a:xfrm>
          <a:prstGeom prst="rect">
            <a:avLst/>
          </a:prstGeom>
        </p:spPr>
        <p:txBody>
          <a:bodyPr vert="horz" lIns="0" tIns="45720" rIns="91440" bIns="46800" rtlCol="0" anchor="t" anchorCtr="0"/>
          <a:lstStyle>
            <a:lvl1pPr algn="r">
              <a:defRPr sz="1100" b="0" i="0">
                <a:solidFill>
                  <a:schemeClr val="accent1"/>
                </a:solidFill>
                <a:latin typeface="Century Gothic" panose="020B0502020202020204" pitchFamily="34" charset="0"/>
                <a:cs typeface="Poppins" pitchFamily="2" charset="77"/>
              </a:defRPr>
            </a:lvl1pPr>
          </a:lstStyle>
          <a:p>
            <a:pPr algn="l"/>
            <a:fld id="{4A13BAFD-C6E1-49C5-8C3D-26FF884B8F3D}" type="slidenum">
              <a:rPr lang="en-IE" smtClean="0"/>
              <a:pPr algn="l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64693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72" userDrawn="1">
          <p15:clr>
            <a:srgbClr val="FBAE40"/>
          </p15:clr>
        </p15:guide>
        <p15:guide id="2" orient="horz" pos="4091" userDrawn="1">
          <p15:clr>
            <a:srgbClr val="FBAE40"/>
          </p15:clr>
        </p15:guide>
        <p15:guide id="3" pos="7256" userDrawn="1">
          <p15:clr>
            <a:srgbClr val="FBAE40"/>
          </p15:clr>
        </p15:guide>
        <p15:guide id="4" pos="635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Corp Blu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4E8368-D4B3-2445-8D4B-C5A33A531DB4}" type="datetime1">
              <a:rPr lang="en-IE" smtClean="0"/>
              <a:t>11/04/2024</a:t>
            </a:fld>
            <a:endParaRPr lang="en-I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4A13BAFD-C6E1-49C5-8C3D-26FF884B8F3D}" type="slidenum">
              <a:rPr lang="en-IE" smtClean="0"/>
              <a:pPr algn="l"/>
              <a:t>‹#›</a:t>
            </a:fld>
            <a:endParaRPr lang="en-IE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0" y="1016000"/>
            <a:ext cx="12192000" cy="5173663"/>
          </a:xfrm>
          <a:solidFill>
            <a:srgbClr val="4099DA"/>
          </a:solidFill>
        </p:spPr>
        <p:txBody>
          <a:bodyPr lIns="504000" tIns="378000" rIns="2322000" bIns="378000"/>
          <a:lstStyle>
            <a:lvl1pPr>
              <a:defRPr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41280907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Gradient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073FE9-7B34-A64C-82EC-CFF5DABAEAE6}" type="datetime1">
              <a:rPr lang="en-IE" smtClean="0"/>
              <a:t>11/04/2024</a:t>
            </a:fld>
            <a:endParaRPr lang="en-I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4A13BAFD-C6E1-49C5-8C3D-26FF884B8F3D}" type="slidenum">
              <a:rPr lang="en-IE" smtClean="0"/>
              <a:pPr algn="l"/>
              <a:t>‹#›</a:t>
            </a:fld>
            <a:endParaRPr lang="en-IE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0" y="1016000"/>
            <a:ext cx="12192000" cy="5173663"/>
          </a:xfrm>
          <a:solidFill>
            <a:schemeClr val="accent1"/>
          </a:solidFill>
        </p:spPr>
        <p:txBody>
          <a:bodyPr lIns="504000" tIns="378000" rIns="2322000" bIns="378000"/>
          <a:lstStyle>
            <a:lvl1pPr>
              <a:defRPr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7065861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9EC12DD-0EBE-C54C-8B83-67A82634CFC4}" type="datetime1">
              <a:rPr lang="en-IE" smtClean="0"/>
              <a:t>11/04/2024</a:t>
            </a:fld>
            <a:endParaRPr lang="en-I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4A13BAFD-C6E1-49C5-8C3D-26FF884B8F3D}" type="slidenum">
              <a:rPr lang="en-IE" smtClean="0"/>
              <a:pPr algn="l"/>
              <a:t>‹#›</a:t>
            </a:fld>
            <a:endParaRPr lang="en-IE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0" y="1016000"/>
            <a:ext cx="6105525" cy="5173663"/>
          </a:xfrm>
          <a:noFill/>
        </p:spPr>
        <p:txBody>
          <a:bodyPr lIns="504000" tIns="378000" rIns="313200" bIns="378000"/>
          <a:lstStyle>
            <a:lvl1pPr>
              <a:defRPr>
                <a:solidFill>
                  <a:schemeClr val="accent1"/>
                </a:solidFill>
              </a:defRPr>
            </a:lvl1pPr>
            <a:lvl2pPr>
              <a:buClr>
                <a:schemeClr val="accent5"/>
              </a:buClr>
              <a:defRPr>
                <a:solidFill>
                  <a:srgbClr val="4099DA"/>
                </a:solidFill>
              </a:defRPr>
            </a:lvl2pPr>
            <a:lvl3pPr>
              <a:defRPr>
                <a:solidFill>
                  <a:srgbClr val="4099DA"/>
                </a:solidFill>
              </a:defRPr>
            </a:lvl3pPr>
            <a:lvl4pPr>
              <a:defRPr>
                <a:solidFill>
                  <a:srgbClr val="4099DA"/>
                </a:solidFill>
              </a:defRPr>
            </a:lvl4pPr>
            <a:lvl5pPr>
              <a:defRPr>
                <a:solidFill>
                  <a:srgbClr val="4099DA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6105525" y="1016000"/>
            <a:ext cx="6086475" cy="5173663"/>
          </a:xfrm>
          <a:solidFill>
            <a:schemeClr val="bg1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3077161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rp blue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B9E39A-AFBA-5B44-A1DE-EE920B7EE971}" type="datetime1">
              <a:rPr lang="en-IE" smtClean="0"/>
              <a:t>11/04/2024</a:t>
            </a:fld>
            <a:endParaRPr lang="en-I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4A13BAFD-C6E1-49C5-8C3D-26FF884B8F3D}" type="slidenum">
              <a:rPr lang="en-IE" smtClean="0"/>
              <a:pPr algn="l"/>
              <a:t>‹#›</a:t>
            </a:fld>
            <a:endParaRPr lang="en-IE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0" y="1016000"/>
            <a:ext cx="6105525" cy="5173663"/>
          </a:xfrm>
          <a:solidFill>
            <a:srgbClr val="4099DA"/>
          </a:solidFill>
        </p:spPr>
        <p:txBody>
          <a:bodyPr lIns="504000" tIns="378000" rIns="313200" bIns="378000"/>
          <a:lstStyle>
            <a:lvl1pPr>
              <a:defRPr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6105525" y="1016000"/>
            <a:ext cx="6086475" cy="5173663"/>
          </a:xfrm>
          <a:solidFill>
            <a:schemeClr val="bg1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8133151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Deep blue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DAA8BC-26E4-7A4B-AE4C-ECF5A9EA37B7}" type="datetime1">
              <a:rPr lang="en-IE" smtClean="0"/>
              <a:t>11/04/2024</a:t>
            </a:fld>
            <a:endParaRPr lang="en-I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4A13BAFD-C6E1-49C5-8C3D-26FF884B8F3D}" type="slidenum">
              <a:rPr lang="en-IE" smtClean="0"/>
              <a:pPr algn="l"/>
              <a:t>‹#›</a:t>
            </a:fld>
            <a:endParaRPr lang="en-IE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0" y="1016000"/>
            <a:ext cx="6105525" cy="5173663"/>
          </a:xfrm>
          <a:solidFill>
            <a:schemeClr val="accent1"/>
          </a:solidFill>
        </p:spPr>
        <p:txBody>
          <a:bodyPr lIns="504000" tIns="378000" rIns="313200" bIns="378000"/>
          <a:lstStyle>
            <a:lvl1pPr>
              <a:defRPr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6105525" y="1016000"/>
            <a:ext cx="6086475" cy="5173663"/>
          </a:xfrm>
          <a:solidFill>
            <a:schemeClr val="bg1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5292417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" y="6191250"/>
            <a:ext cx="12191999" cy="72000"/>
          </a:xfrm>
          <a:prstGeom prst="rect">
            <a:avLst/>
          </a:prstGeom>
          <a:solidFill>
            <a:srgbClr val="4099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 sz="18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9046" y="221194"/>
            <a:ext cx="9360000" cy="711736"/>
          </a:xfrm>
          <a:prstGeom prst="rect">
            <a:avLst/>
          </a:prstGeom>
        </p:spPr>
        <p:txBody>
          <a:bodyPr vert="horz" lIns="0" tIns="46800" rIns="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9046" y="1332410"/>
            <a:ext cx="9360000" cy="4680000"/>
          </a:xfrm>
          <a:prstGeom prst="rect">
            <a:avLst/>
          </a:prstGeom>
        </p:spPr>
        <p:txBody>
          <a:bodyPr vert="horz" lIns="0" tIns="46800" rIns="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602000" y="6476256"/>
            <a:ext cx="1224841" cy="259825"/>
          </a:xfrm>
          <a:prstGeom prst="rect">
            <a:avLst/>
          </a:prstGeom>
        </p:spPr>
        <p:txBody>
          <a:bodyPr vert="horz" lIns="91440" tIns="45720" rIns="91440" bIns="46800" rtlCol="0" anchor="t" anchorCtr="0"/>
          <a:lstStyle>
            <a:lvl1pPr algn="l">
              <a:defRPr sz="1100" b="0" i="0">
                <a:solidFill>
                  <a:schemeClr val="accent1"/>
                </a:solidFill>
                <a:latin typeface="Century Gothic" panose="020B0502020202020204" pitchFamily="34" charset="0"/>
                <a:cs typeface="Poppins" pitchFamily="2" charset="77"/>
              </a:defRPr>
            </a:lvl1pPr>
          </a:lstStyle>
          <a:p>
            <a:fld id="{77938243-6CE0-E94B-A53B-D05D63FB068A}" type="datetime1">
              <a:rPr lang="en-IE" smtClean="0"/>
              <a:pPr/>
              <a:t>11/04/2024</a:t>
            </a:fld>
            <a:endParaRPr lang="en-I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26841" y="6480487"/>
            <a:ext cx="7619220" cy="255326"/>
          </a:xfrm>
          <a:prstGeom prst="rect">
            <a:avLst/>
          </a:prstGeom>
        </p:spPr>
        <p:txBody>
          <a:bodyPr vert="horz" lIns="91440" tIns="45720" rIns="91440" bIns="46800" rtlCol="0" anchor="t" anchorCtr="0"/>
          <a:lstStyle>
            <a:lvl1pPr algn="l">
              <a:defRPr sz="1100" b="0" i="0">
                <a:solidFill>
                  <a:schemeClr val="accent1"/>
                </a:solidFill>
                <a:latin typeface="Century Gothic" panose="020B0502020202020204" pitchFamily="34" charset="0"/>
                <a:cs typeface="Poppins" pitchFamily="2" charset="77"/>
              </a:defRPr>
            </a:lvl1pPr>
          </a:lstStyle>
          <a:p>
            <a:endParaRPr lang="en-I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15938" y="6476256"/>
            <a:ext cx="509046" cy="259557"/>
          </a:xfrm>
          <a:prstGeom prst="rect">
            <a:avLst/>
          </a:prstGeom>
        </p:spPr>
        <p:txBody>
          <a:bodyPr vert="horz" lIns="0" tIns="45720" rIns="91440" bIns="46800" rtlCol="0" anchor="t" anchorCtr="0"/>
          <a:lstStyle>
            <a:lvl1pPr algn="r">
              <a:defRPr sz="1100" b="0" i="0">
                <a:solidFill>
                  <a:schemeClr val="accent1"/>
                </a:solidFill>
                <a:latin typeface="Century Gothic" panose="020B0502020202020204" pitchFamily="34" charset="0"/>
                <a:cs typeface="Poppins" pitchFamily="2" charset="77"/>
              </a:defRPr>
            </a:lvl1pPr>
          </a:lstStyle>
          <a:p>
            <a:pPr algn="l"/>
            <a:fld id="{4A13BAFD-C6E1-49C5-8C3D-26FF884B8F3D}" type="slidenum">
              <a:rPr lang="en-IE" smtClean="0"/>
              <a:pPr algn="l"/>
              <a:t>‹#›</a:t>
            </a:fld>
            <a:endParaRPr lang="en-IE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1010381"/>
            <a:ext cx="1219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A blue and black logo&#10;&#10;Description automatically generated">
            <a:extLst>
              <a:ext uri="{FF2B5EF4-FFF2-40B4-BE49-F238E27FC236}">
                <a16:creationId xmlns:a16="http://schemas.microsoft.com/office/drawing/2014/main" id="{68D7BE84-83F6-77C4-F17A-F8B58E1837EC}"/>
              </a:ext>
            </a:extLst>
          </p:cNvPr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10528943" y="6296522"/>
            <a:ext cx="1517650" cy="487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12023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60" r:id="rId4"/>
    <p:sldLayoutId id="2147483661" r:id="rId5"/>
    <p:sldLayoutId id="2147483662" r:id="rId6"/>
    <p:sldLayoutId id="2147483663" r:id="rId7"/>
    <p:sldLayoutId id="2147483664" r:id="rId8"/>
    <p:sldLayoutId id="2147483665" r:id="rId9"/>
    <p:sldLayoutId id="2147483666" r:id="rId10"/>
    <p:sldLayoutId id="2147483667" r:id="rId11"/>
    <p:sldLayoutId id="2147483668" r:id="rId12"/>
    <p:sldLayoutId id="2147483669" r:id="rId13"/>
    <p:sldLayoutId id="2147483670" r:id="rId14"/>
    <p:sldLayoutId id="2147483671" r:id="rId15"/>
    <p:sldLayoutId id="2147483652" r:id="rId16"/>
    <p:sldLayoutId id="2147483653" r:id="rId17"/>
    <p:sldLayoutId id="2147483654" r:id="rId18"/>
    <p:sldLayoutId id="2147483655" r:id="rId19"/>
    <p:sldLayoutId id="2147483672" r:id="rId20"/>
    <p:sldLayoutId id="2147483673" r:id="rId21"/>
    <p:sldLayoutId id="2147483674" r:id="rId22"/>
    <p:sldLayoutId id="2147483675" r:id="rId23"/>
    <p:sldLayoutId id="2147483677" r:id="rId24"/>
    <p:sldLayoutId id="2147483678" r:id="rId25"/>
    <p:sldLayoutId id="2147483679" r:id="rId26"/>
    <p:sldLayoutId id="2147483680" r:id="rId27"/>
    <p:sldLayoutId id="2147483681" r:id="rId28"/>
  </p:sldLayoutIdLst>
  <p:hf hdr="0"/>
  <p:txStyles>
    <p:titleStyle>
      <a:lvl1pPr algn="l" defTabSz="685800" rtl="0" eaLnBrk="1" latinLnBrk="0" hangingPunct="1">
        <a:lnSpc>
          <a:spcPts val="4800"/>
        </a:lnSpc>
        <a:spcBef>
          <a:spcPct val="0"/>
        </a:spcBef>
        <a:buNone/>
        <a:defRPr sz="2500" b="1" i="0" kern="1200">
          <a:solidFill>
            <a:schemeClr val="accent1"/>
          </a:solidFill>
          <a:latin typeface="Century Gothic" panose="020B0502020202020204" pitchFamily="34" charset="0"/>
          <a:ea typeface="+mj-ea"/>
          <a:cs typeface="Poppins SemiBold" pitchFamily="2" charset="77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1500"/>
        </a:spcBef>
        <a:buClr>
          <a:schemeClr val="accent2"/>
        </a:buClr>
        <a:buFont typeface="Arial" panose="020B0604020202020204" pitchFamily="34" charset="0"/>
        <a:buNone/>
        <a:defRPr sz="1800" b="1" i="0" kern="1200">
          <a:solidFill>
            <a:schemeClr val="accent1"/>
          </a:solidFill>
          <a:latin typeface="Century Gothic" panose="020B0502020202020204" pitchFamily="34" charset="0"/>
          <a:ea typeface="+mn-ea"/>
          <a:cs typeface="Poppins SemiBold" pitchFamily="2" charset="77"/>
        </a:defRPr>
      </a:lvl1pPr>
      <a:lvl2pPr marL="171450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1500"/>
        </a:spcAft>
        <a:buClr>
          <a:schemeClr val="accent5"/>
        </a:buClr>
        <a:buFont typeface="Arial" panose="020B0604020202020204" pitchFamily="34" charset="0"/>
        <a:buChar char="•"/>
        <a:defRPr sz="1400" b="0" i="0" kern="1200">
          <a:solidFill>
            <a:srgbClr val="4099DA"/>
          </a:solidFill>
          <a:latin typeface="Century Gothic" panose="020B0502020202020204" pitchFamily="34" charset="0"/>
          <a:ea typeface="+mn-ea"/>
          <a:cs typeface="Poppins" pitchFamily="2" charset="77"/>
        </a:defRPr>
      </a:lvl2pPr>
      <a:lvl3pPr marL="357188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b="0" i="0" kern="1200">
          <a:solidFill>
            <a:srgbClr val="4099DA"/>
          </a:solidFill>
          <a:latin typeface="Century Gothic" panose="020B0502020202020204" pitchFamily="34" charset="0"/>
          <a:ea typeface="+mn-ea"/>
          <a:cs typeface="Poppins" pitchFamily="2" charset="77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b="0" i="0" kern="1200">
          <a:solidFill>
            <a:srgbClr val="4099DA"/>
          </a:solidFill>
          <a:latin typeface="Century Gothic" panose="020B0502020202020204" pitchFamily="34" charset="0"/>
          <a:ea typeface="+mn-ea"/>
          <a:cs typeface="Poppins" pitchFamily="2" charset="77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b="0" i="0" kern="1200">
          <a:solidFill>
            <a:srgbClr val="4099DA"/>
          </a:solidFill>
          <a:latin typeface="Century Gothic" panose="020B0502020202020204" pitchFamily="34" charset="0"/>
          <a:ea typeface="+mn-ea"/>
          <a:cs typeface="Poppins" pitchFamily="2" charset="77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25" userDrawn="1">
          <p15:clr>
            <a:srgbClr val="F26B43"/>
          </p15:clr>
        </p15:guide>
        <p15:guide id="2" orient="horz" pos="3793" userDrawn="1">
          <p15:clr>
            <a:srgbClr val="F26B43"/>
          </p15:clr>
        </p15:guide>
        <p15:guide id="3" orient="horz" pos="834" userDrawn="1">
          <p15:clr>
            <a:srgbClr val="F26B43"/>
          </p15:clr>
        </p15:guide>
        <p15:guide id="4" pos="6221" userDrawn="1">
          <p15:clr>
            <a:srgbClr val="F26B43"/>
          </p15:clr>
        </p15:guide>
        <p15:guide id="5" pos="3477" userDrawn="1">
          <p15:clr>
            <a:srgbClr val="F26B43"/>
          </p15:clr>
        </p15:guide>
        <p15:guide id="6" pos="7357" userDrawn="1">
          <p15:clr>
            <a:srgbClr val="F26B43"/>
          </p15:clr>
        </p15:guide>
        <p15:guide id="7" orient="horz" pos="640" userDrawn="1">
          <p15:clr>
            <a:srgbClr val="F26B43"/>
          </p15:clr>
        </p15:guide>
        <p15:guide id="8" orient="horz" pos="389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emf"/><Relationship Id="rId13" Type="http://schemas.openxmlformats.org/officeDocument/2006/relationships/image" Target="../media/image39.png"/><Relationship Id="rId3" Type="http://schemas.openxmlformats.org/officeDocument/2006/relationships/image" Target="../media/image29.emf"/><Relationship Id="rId7" Type="http://schemas.openxmlformats.org/officeDocument/2006/relationships/image" Target="../media/image33.emf"/><Relationship Id="rId12" Type="http://schemas.openxmlformats.org/officeDocument/2006/relationships/image" Target="../media/image38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32.emf"/><Relationship Id="rId11" Type="http://schemas.openxmlformats.org/officeDocument/2006/relationships/image" Target="../media/image37.emf"/><Relationship Id="rId5" Type="http://schemas.openxmlformats.org/officeDocument/2006/relationships/image" Target="../media/image31.emf"/><Relationship Id="rId10" Type="http://schemas.openxmlformats.org/officeDocument/2006/relationships/image" Target="../media/image36.emf"/><Relationship Id="rId4" Type="http://schemas.openxmlformats.org/officeDocument/2006/relationships/image" Target="../media/image30.emf"/><Relationship Id="rId9" Type="http://schemas.openxmlformats.org/officeDocument/2006/relationships/image" Target="../media/image35.emf"/><Relationship Id="rId14" Type="http://schemas.openxmlformats.org/officeDocument/2006/relationships/image" Target="../media/image40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7" Type="http://schemas.openxmlformats.org/officeDocument/2006/relationships/image" Target="../media/image44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43.emf"/><Relationship Id="rId5" Type="http://schemas.openxmlformats.org/officeDocument/2006/relationships/image" Target="../media/image42.emf"/><Relationship Id="rId4" Type="http://schemas.openxmlformats.org/officeDocument/2006/relationships/image" Target="../media/image41.emf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12" Type="http://schemas.openxmlformats.org/officeDocument/2006/relationships/image" Target="../media/image5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48.png"/><Relationship Id="rId11" Type="http://schemas.openxmlformats.org/officeDocument/2006/relationships/image" Target="../media/image53.png"/><Relationship Id="rId5" Type="http://schemas.openxmlformats.org/officeDocument/2006/relationships/image" Target="../media/image47.png"/><Relationship Id="rId10" Type="http://schemas.openxmlformats.org/officeDocument/2006/relationships/image" Target="../media/image52.emf"/><Relationship Id="rId4" Type="http://schemas.openxmlformats.org/officeDocument/2006/relationships/image" Target="../media/image46.png"/><Relationship Id="rId9" Type="http://schemas.openxmlformats.org/officeDocument/2006/relationships/image" Target="../media/image51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openxmlformats.org/officeDocument/2006/relationships/image" Target="../media/image5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58.png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57.jpeg"/><Relationship Id="rId4" Type="http://schemas.openxmlformats.org/officeDocument/2006/relationships/diagramLayout" Target="../diagrams/layout1.xml"/><Relationship Id="rId9" Type="http://schemas.openxmlformats.org/officeDocument/2006/relationships/image" Target="../media/image56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65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eg"/><Relationship Id="rId7" Type="http://schemas.openxmlformats.org/officeDocument/2006/relationships/image" Target="../media/image74.jpe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73.jpeg"/><Relationship Id="rId5" Type="http://schemas.openxmlformats.org/officeDocument/2006/relationships/image" Target="../media/image72.png"/><Relationship Id="rId4" Type="http://schemas.openxmlformats.org/officeDocument/2006/relationships/image" Target="../media/image71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13" Type="http://schemas.openxmlformats.org/officeDocument/2006/relationships/image" Target="../media/image86.svg"/><Relationship Id="rId3" Type="http://schemas.openxmlformats.org/officeDocument/2006/relationships/image" Target="../media/image76.svg"/><Relationship Id="rId7" Type="http://schemas.openxmlformats.org/officeDocument/2006/relationships/image" Target="../media/image80.svg"/><Relationship Id="rId12" Type="http://schemas.openxmlformats.org/officeDocument/2006/relationships/image" Target="../media/image85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79.png"/><Relationship Id="rId11" Type="http://schemas.openxmlformats.org/officeDocument/2006/relationships/image" Target="../media/image84.svg"/><Relationship Id="rId5" Type="http://schemas.openxmlformats.org/officeDocument/2006/relationships/image" Target="../media/image78.svg"/><Relationship Id="rId10" Type="http://schemas.openxmlformats.org/officeDocument/2006/relationships/image" Target="../media/image83.png"/><Relationship Id="rId4" Type="http://schemas.openxmlformats.org/officeDocument/2006/relationships/image" Target="../media/image77.png"/><Relationship Id="rId9" Type="http://schemas.openxmlformats.org/officeDocument/2006/relationships/image" Target="../media/image82.sv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89.jpeg"/><Relationship Id="rId4" Type="http://schemas.openxmlformats.org/officeDocument/2006/relationships/image" Target="../media/image88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13" Type="http://schemas.openxmlformats.org/officeDocument/2006/relationships/image" Target="../media/image18.png"/><Relationship Id="rId3" Type="http://schemas.openxmlformats.org/officeDocument/2006/relationships/image" Target="../media/image9.png"/><Relationship Id="rId7" Type="http://schemas.openxmlformats.org/officeDocument/2006/relationships/image" Target="../media/image12.jpeg"/><Relationship Id="rId12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hyperlink" Target="https://www.goodfreephotos.com/vector-images/electric-car-on-plug-vector-clipart.png.php" TargetMode="External"/><Relationship Id="rId9" Type="http://schemas.openxmlformats.org/officeDocument/2006/relationships/image" Target="../media/image14.png"/><Relationship Id="rId1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5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7" Type="http://schemas.openxmlformats.org/officeDocument/2006/relationships/image" Target="../media/image28.svg"/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7.png"/><Relationship Id="rId5" Type="http://schemas.openxmlformats.org/officeDocument/2006/relationships/image" Target="../media/image26.emf"/><Relationship Id="rId4" Type="http://schemas.openxmlformats.org/officeDocument/2006/relationships/image" Target="../media/image25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2.xml"/><Relationship Id="rId4" Type="http://schemas.openxmlformats.org/officeDocument/2006/relationships/image" Target="../media/image2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57AD13C9-0312-6F39-29AA-8AC94BD8BE0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28539" y="1617501"/>
            <a:ext cx="6070744" cy="1486717"/>
          </a:xfrm>
        </p:spPr>
        <p:txBody>
          <a:bodyPr bIns="36000" anchor="b">
            <a:normAutofit fontScale="90000"/>
          </a:bodyPr>
          <a:lstStyle>
            <a:lvl1pPr algn="l">
              <a:lnSpc>
                <a:spcPct val="90000"/>
              </a:lnSpc>
              <a:defRPr sz="3200" b="1" i="0" baseline="0">
                <a:solidFill>
                  <a:srgbClr val="4099DA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>
              <a:lnSpc>
                <a:spcPct val="150000"/>
              </a:lnSpc>
            </a:pPr>
            <a:r>
              <a:rPr lang="en-US" dirty="0">
                <a:latin typeface="Century Gothic" panose="020B0502020202020204" pitchFamily="34" charset="0"/>
              </a:rPr>
              <a:t>Presentation to Southern Regional Assembly – </a:t>
            </a:r>
            <a:r>
              <a:rPr lang="en-US" sz="2400" dirty="0">
                <a:latin typeface="Century Gothic" panose="020B0502020202020204" pitchFamily="34" charset="0"/>
              </a:rPr>
              <a:t>Elected Members</a:t>
            </a:r>
            <a:endParaRPr lang="en-IE" sz="2400" dirty="0">
              <a:latin typeface="Century Gothic" panose="020B0502020202020204" pitchFamily="34" charset="0"/>
            </a:endParaRP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E6327894-EC06-228D-AB32-BEDC2A8109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28539" y="3285450"/>
            <a:ext cx="5376000" cy="577804"/>
          </a:xfrm>
        </p:spPr>
        <p:txBody>
          <a:bodyPr tIns="36000"/>
          <a:lstStyle>
            <a:lvl1pPr marL="0" indent="0" algn="l">
              <a:buNone/>
              <a:defRPr sz="1600" b="0" i="0">
                <a:solidFill>
                  <a:schemeClr val="accent1"/>
                </a:solidFill>
                <a:latin typeface="Poppins" pitchFamily="2" charset="77"/>
                <a:cs typeface="Poppins" pitchFamily="2" charset="77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>
                <a:latin typeface="Century Gothic" panose="020B0502020202020204" pitchFamily="34" charset="0"/>
              </a:rPr>
              <a:t>12</a:t>
            </a:r>
            <a:r>
              <a:rPr lang="en-US" baseline="30000" dirty="0">
                <a:latin typeface="Century Gothic" panose="020B0502020202020204" pitchFamily="34" charset="0"/>
              </a:rPr>
              <a:t>th</a:t>
            </a:r>
            <a:r>
              <a:rPr lang="en-US" dirty="0">
                <a:latin typeface="Century Gothic" panose="020B0502020202020204" pitchFamily="34" charset="0"/>
              </a:rPr>
              <a:t> April, 2024</a:t>
            </a:r>
            <a:endParaRPr lang="en-IE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27428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DB2796E-CF36-FE4D-BAA0-150FBBB8C366}"/>
              </a:ext>
            </a:extLst>
          </p:cNvPr>
          <p:cNvCxnSpPr>
            <a:cxnSpLocks/>
          </p:cNvCxnSpPr>
          <p:nvPr/>
        </p:nvCxnSpPr>
        <p:spPr>
          <a:xfrm>
            <a:off x="590398" y="2766719"/>
            <a:ext cx="1103841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868">
            <a:extLst>
              <a:ext uri="{FF2B5EF4-FFF2-40B4-BE49-F238E27FC236}">
                <a16:creationId xmlns:a16="http://schemas.microsoft.com/office/drawing/2014/main" id="{1FF02D0D-67AF-9749-BDEB-77514D415ED4}"/>
              </a:ext>
            </a:extLst>
          </p:cNvPr>
          <p:cNvSpPr txBox="1">
            <a:spLocks/>
          </p:cNvSpPr>
          <p:nvPr/>
        </p:nvSpPr>
        <p:spPr>
          <a:xfrm>
            <a:off x="508337" y="400352"/>
            <a:ext cx="11040000" cy="76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200" b="1">
                <a:solidFill>
                  <a:schemeClr val="accent1"/>
                </a:solidFill>
              </a:rPr>
              <a:t>Republic of Ireland &amp; Northern Ireland </a:t>
            </a:r>
          </a:p>
        </p:txBody>
      </p:sp>
      <p:sp>
        <p:nvSpPr>
          <p:cNvPr id="12" name="Title 1868">
            <a:extLst>
              <a:ext uri="{FF2B5EF4-FFF2-40B4-BE49-F238E27FC236}">
                <a16:creationId xmlns:a16="http://schemas.microsoft.com/office/drawing/2014/main" id="{C6008BCF-ED0C-7E40-8251-89C025CEF135}"/>
              </a:ext>
            </a:extLst>
          </p:cNvPr>
          <p:cNvSpPr txBox="1">
            <a:spLocks/>
          </p:cNvSpPr>
          <p:nvPr/>
        </p:nvSpPr>
        <p:spPr>
          <a:xfrm>
            <a:off x="599598" y="4506482"/>
            <a:ext cx="11040000" cy="76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>
                <a:solidFill>
                  <a:srgbClr val="0D134F"/>
                </a:solidFill>
              </a:rPr>
              <a:t>Globa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86DFCE4-9D6D-E54E-A1D7-19E6758E7E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40558" y="1309338"/>
            <a:ext cx="466319" cy="24804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1F2FE72-778A-B646-B101-08694C02022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74251" y="1190277"/>
            <a:ext cx="357180" cy="48616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F85F9AB-CA2E-BC46-A181-94C3C46B9A4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09647" y="1204330"/>
            <a:ext cx="367103" cy="39686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06DCA112-2982-A04F-AF59-5782DCC48E5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52745" y="1288503"/>
            <a:ext cx="347259" cy="35718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DAA893CF-9483-DE4E-AE4D-CECF449227C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02881" y="1166348"/>
            <a:ext cx="228199" cy="486163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5F3ADCED-2299-BA45-9BE7-F24F47CDC8E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47689" y="4808576"/>
            <a:ext cx="287729" cy="337337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68BDFF0-EC1E-6142-892E-EC13D1E05EB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733776" y="4762425"/>
            <a:ext cx="238120" cy="416711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90267D92-BDD8-7A47-BB99-391072F4347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950087" y="4762425"/>
            <a:ext cx="347259" cy="426632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D13F1B8F-46DC-B94A-84D6-DBE1C1F6E6C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998049" y="4771739"/>
            <a:ext cx="386945" cy="37702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E6F8EDA1-1277-D645-BAF6-EEA4A6FDA6D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361120" y="4763773"/>
            <a:ext cx="287729" cy="436555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54DFC70B-B850-2643-9813-F897322F7E2F}"/>
              </a:ext>
            </a:extLst>
          </p:cNvPr>
          <p:cNvSpPr/>
          <p:nvPr/>
        </p:nvSpPr>
        <p:spPr>
          <a:xfrm>
            <a:off x="575734" y="1557379"/>
            <a:ext cx="2086703" cy="656591"/>
          </a:xfrm>
          <a:prstGeom prst="rect">
            <a:avLst/>
          </a:prstGeom>
        </p:spPr>
        <p:txBody>
          <a:bodyPr wrap="square" lIns="121920" tIns="60960" rIns="121920" bIns="60960" anchor="t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3467" b="1">
                <a:solidFill>
                  <a:schemeClr val="bg1"/>
                </a:solidFill>
              </a:rPr>
              <a:t>€700m</a:t>
            </a:r>
            <a:endParaRPr lang="en-GB" sz="3467">
              <a:solidFill>
                <a:schemeClr val="bg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91F0D69-12B6-904B-928D-95504E449709}"/>
              </a:ext>
            </a:extLst>
          </p:cNvPr>
          <p:cNvSpPr/>
          <p:nvPr/>
        </p:nvSpPr>
        <p:spPr>
          <a:xfrm>
            <a:off x="548205" y="2198666"/>
            <a:ext cx="2086703" cy="430887"/>
          </a:xfrm>
          <a:prstGeom prst="rect">
            <a:avLst/>
          </a:prstGeom>
        </p:spPr>
        <p:txBody>
          <a:bodyPr wrap="square" lIns="121920" tIns="60960" rIns="121920" bIns="60960" anchor="t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00">
                <a:solidFill>
                  <a:schemeClr val="bg1"/>
                </a:solidFill>
              </a:rPr>
              <a:t>Invested in the last</a:t>
            </a:r>
            <a:br>
              <a:rPr lang="en-GB" sz="1000"/>
            </a:br>
            <a:r>
              <a:rPr lang="en-GB" sz="1000">
                <a:solidFill>
                  <a:schemeClr val="bg1"/>
                </a:solidFill>
              </a:rPr>
              <a:t> 2 years</a:t>
            </a:r>
            <a:endParaRPr lang="en-GB" sz="1000">
              <a:solidFill>
                <a:schemeClr val="bg1"/>
              </a:solidFill>
              <a:highlight>
                <a:srgbClr val="FFFF00"/>
              </a:highlight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A28A49B-745D-8641-90CD-E9201D6913A3}"/>
              </a:ext>
            </a:extLst>
          </p:cNvPr>
          <p:cNvSpPr/>
          <p:nvPr/>
        </p:nvSpPr>
        <p:spPr>
          <a:xfrm>
            <a:off x="2809489" y="1603731"/>
            <a:ext cx="2086703" cy="6258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3467" b="1">
                <a:solidFill>
                  <a:schemeClr val="bg1"/>
                </a:solidFill>
              </a:rPr>
              <a:t>400+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0F08CE4-DA7A-844D-B6AD-EA4DD9F64017}"/>
              </a:ext>
            </a:extLst>
          </p:cNvPr>
          <p:cNvSpPr/>
          <p:nvPr/>
        </p:nvSpPr>
        <p:spPr>
          <a:xfrm>
            <a:off x="2781959" y="2214354"/>
            <a:ext cx="2086703" cy="24622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00">
                <a:solidFill>
                  <a:schemeClr val="bg1"/>
                </a:solidFill>
              </a:rPr>
              <a:t>turbines installed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F7FCAB7-CE50-CB44-9904-63E105C0B3F4}"/>
              </a:ext>
            </a:extLst>
          </p:cNvPr>
          <p:cNvSpPr/>
          <p:nvPr/>
        </p:nvSpPr>
        <p:spPr>
          <a:xfrm>
            <a:off x="5080366" y="1607683"/>
            <a:ext cx="2086703" cy="6258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3467" b="1">
                <a:solidFill>
                  <a:schemeClr val="bg1"/>
                </a:solidFill>
              </a:rPr>
              <a:t>360 MW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40D46E4-B32C-9449-B9C0-95688CE50362}"/>
              </a:ext>
            </a:extLst>
          </p:cNvPr>
          <p:cNvSpPr/>
          <p:nvPr/>
        </p:nvSpPr>
        <p:spPr>
          <a:xfrm>
            <a:off x="5043243" y="2230494"/>
            <a:ext cx="2086703" cy="24622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00">
                <a:solidFill>
                  <a:schemeClr val="bg1"/>
                </a:solidFill>
              </a:rPr>
              <a:t>installed capacit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4C6AE4F-BA39-FF4C-B40D-46D74B9F5A60}"/>
              </a:ext>
            </a:extLst>
          </p:cNvPr>
          <p:cNvSpPr/>
          <p:nvPr/>
        </p:nvSpPr>
        <p:spPr>
          <a:xfrm>
            <a:off x="7292533" y="1622637"/>
            <a:ext cx="2086703" cy="6258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3467" b="1">
                <a:solidFill>
                  <a:schemeClr val="bg1"/>
                </a:solidFill>
              </a:rPr>
              <a:t>234K+</a:t>
            </a:r>
            <a:endParaRPr lang="en-GB" sz="3467">
              <a:solidFill>
                <a:schemeClr val="bg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DE05206-3BC7-794D-8EF5-0BC93557E19F}"/>
              </a:ext>
            </a:extLst>
          </p:cNvPr>
          <p:cNvSpPr/>
          <p:nvPr/>
        </p:nvSpPr>
        <p:spPr>
          <a:xfrm>
            <a:off x="7276998" y="2265675"/>
            <a:ext cx="2086703" cy="40011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00">
                <a:solidFill>
                  <a:schemeClr val="bg1"/>
                </a:solidFill>
              </a:rPr>
              <a:t>homes powered</a:t>
            </a:r>
            <a:br>
              <a:rPr lang="en-GB" sz="1000">
                <a:solidFill>
                  <a:schemeClr val="bg1"/>
                </a:solidFill>
              </a:rPr>
            </a:br>
            <a:r>
              <a:rPr lang="en-GB" sz="1000">
                <a:solidFill>
                  <a:schemeClr val="bg1"/>
                </a:solidFill>
              </a:rPr>
              <a:t> (MW equivalent) 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085B4471-8AB8-4447-817E-80604F9571C7}"/>
              </a:ext>
            </a:extLst>
          </p:cNvPr>
          <p:cNvSpPr/>
          <p:nvPr/>
        </p:nvSpPr>
        <p:spPr>
          <a:xfrm>
            <a:off x="9473630" y="1624382"/>
            <a:ext cx="2086703" cy="6258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3467" b="1">
                <a:solidFill>
                  <a:schemeClr val="bg1"/>
                </a:solidFill>
              </a:rPr>
              <a:t>Diverse</a:t>
            </a:r>
            <a:endParaRPr lang="en-GB" sz="3467">
              <a:solidFill>
                <a:schemeClr val="bg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4587F3E-F213-9744-8932-6645813A1B06}"/>
              </a:ext>
            </a:extLst>
          </p:cNvPr>
          <p:cNvSpPr/>
          <p:nvPr/>
        </p:nvSpPr>
        <p:spPr>
          <a:xfrm>
            <a:off x="9461634" y="2302418"/>
            <a:ext cx="2086703" cy="24622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00">
                <a:solidFill>
                  <a:schemeClr val="bg1"/>
                </a:solidFill>
              </a:rPr>
              <a:t>wind, solar, P2X 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F98C5BD-D556-2F46-9EF6-50F2008E802B}"/>
              </a:ext>
            </a:extLst>
          </p:cNvPr>
          <p:cNvSpPr/>
          <p:nvPr/>
        </p:nvSpPr>
        <p:spPr>
          <a:xfrm>
            <a:off x="612438" y="5111328"/>
            <a:ext cx="2086703" cy="6258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3467" b="1">
                <a:solidFill>
                  <a:schemeClr val="bg1"/>
                </a:solidFill>
              </a:rPr>
              <a:t>€5b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F229038F-F51E-484C-A422-A12648E4C0E8}"/>
              </a:ext>
            </a:extLst>
          </p:cNvPr>
          <p:cNvSpPr/>
          <p:nvPr/>
        </p:nvSpPr>
        <p:spPr>
          <a:xfrm>
            <a:off x="590398" y="5695157"/>
            <a:ext cx="2086703" cy="55399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00">
                <a:solidFill>
                  <a:schemeClr val="bg1"/>
                </a:solidFill>
              </a:rPr>
              <a:t>gross investment in 2022 driven by construction </a:t>
            </a:r>
          </a:p>
          <a:p>
            <a:pPr algn="ctr"/>
            <a:r>
              <a:rPr lang="en-GB" sz="1000">
                <a:solidFill>
                  <a:schemeClr val="bg1"/>
                </a:solidFill>
              </a:rPr>
              <a:t>of both wind and solar assets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0FE983CF-5AF9-B740-8738-F136BEEECC91}"/>
              </a:ext>
            </a:extLst>
          </p:cNvPr>
          <p:cNvSpPr/>
          <p:nvPr/>
        </p:nvSpPr>
        <p:spPr>
          <a:xfrm>
            <a:off x="2829026" y="5134891"/>
            <a:ext cx="2086703" cy="6258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3467" b="1">
                <a:solidFill>
                  <a:schemeClr val="bg1"/>
                </a:solidFill>
              </a:rPr>
              <a:t>12+ GW</a:t>
            </a:r>
            <a:endParaRPr lang="en-GB" sz="3467">
              <a:solidFill>
                <a:schemeClr val="bg1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FC1EA37-C39B-2146-B006-76D64FCB8892}"/>
              </a:ext>
            </a:extLst>
          </p:cNvPr>
          <p:cNvSpPr/>
          <p:nvPr/>
        </p:nvSpPr>
        <p:spPr>
          <a:xfrm>
            <a:off x="2828722" y="5639011"/>
            <a:ext cx="2086703" cy="40011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00">
                <a:solidFill>
                  <a:schemeClr val="bg1"/>
                </a:solidFill>
              </a:rPr>
              <a:t>installed renewable </a:t>
            </a:r>
            <a:br>
              <a:rPr lang="en-GB" sz="1000">
                <a:solidFill>
                  <a:schemeClr val="bg1"/>
                </a:solidFill>
              </a:rPr>
            </a:br>
            <a:r>
              <a:rPr lang="en-GB" sz="1000">
                <a:solidFill>
                  <a:schemeClr val="bg1"/>
                </a:solidFill>
              </a:rPr>
              <a:t>capacity globally 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67AC6F35-39C5-B242-B0FA-175458F9BAF8}"/>
              </a:ext>
            </a:extLst>
          </p:cNvPr>
          <p:cNvSpPr/>
          <p:nvPr/>
        </p:nvSpPr>
        <p:spPr>
          <a:xfrm>
            <a:off x="5080366" y="5111327"/>
            <a:ext cx="2086703" cy="6258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3467" b="1">
                <a:solidFill>
                  <a:schemeClr val="bg1"/>
                </a:solidFill>
              </a:rPr>
              <a:t>8,000+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7EEB2B21-C24B-A541-975B-308D324D3D26}"/>
              </a:ext>
            </a:extLst>
          </p:cNvPr>
          <p:cNvSpPr/>
          <p:nvPr/>
        </p:nvSpPr>
        <p:spPr>
          <a:xfrm>
            <a:off x="5067047" y="5639011"/>
            <a:ext cx="2086703" cy="24622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00">
                <a:solidFill>
                  <a:schemeClr val="bg1"/>
                </a:solidFill>
              </a:rPr>
              <a:t>global employees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87456572-4CE7-3B4D-8C70-CAE02A8BDC59}"/>
              </a:ext>
            </a:extLst>
          </p:cNvPr>
          <p:cNvSpPr/>
          <p:nvPr/>
        </p:nvSpPr>
        <p:spPr>
          <a:xfrm>
            <a:off x="7279631" y="5134891"/>
            <a:ext cx="2086703" cy="6258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3467" b="1">
                <a:solidFill>
                  <a:schemeClr val="bg1"/>
                </a:solidFill>
              </a:rPr>
              <a:t>30+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EC2B86A1-A8F2-DD40-BED8-6B5AB7C7EC91}"/>
              </a:ext>
            </a:extLst>
          </p:cNvPr>
          <p:cNvSpPr/>
          <p:nvPr/>
        </p:nvSpPr>
        <p:spPr>
          <a:xfrm>
            <a:off x="7276273" y="5639009"/>
            <a:ext cx="2086703" cy="24622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00">
                <a:solidFill>
                  <a:schemeClr val="bg1"/>
                </a:solidFill>
              </a:rPr>
              <a:t>years experience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D59A405A-6786-AC45-A50F-505E50AB61DF}"/>
              </a:ext>
            </a:extLst>
          </p:cNvPr>
          <p:cNvSpPr/>
          <p:nvPr/>
        </p:nvSpPr>
        <p:spPr>
          <a:xfrm>
            <a:off x="9485498" y="5158819"/>
            <a:ext cx="2086703" cy="6258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3467" b="1">
                <a:solidFill>
                  <a:schemeClr val="bg1"/>
                </a:solidFill>
              </a:rPr>
              <a:t>#1</a:t>
            </a:r>
            <a:endParaRPr lang="en-GB" sz="3467">
              <a:solidFill>
                <a:schemeClr val="bg1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E294CE5-B56A-1343-81B6-DC72389D19AA}"/>
              </a:ext>
            </a:extLst>
          </p:cNvPr>
          <p:cNvSpPr/>
          <p:nvPr/>
        </p:nvSpPr>
        <p:spPr>
          <a:xfrm>
            <a:off x="9510359" y="5674044"/>
            <a:ext cx="2086703" cy="24622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00">
                <a:solidFill>
                  <a:schemeClr val="bg1"/>
                </a:solidFill>
              </a:rPr>
              <a:t>world leader in offshore wind</a:t>
            </a:r>
          </a:p>
        </p:txBody>
      </p:sp>
      <p:sp>
        <p:nvSpPr>
          <p:cNvPr id="2" name="Slide Number Placeholder 5 (FAST)">
            <a:extLst>
              <a:ext uri="{FF2B5EF4-FFF2-40B4-BE49-F238E27FC236}">
                <a16:creationId xmlns:a16="http://schemas.microsoft.com/office/drawing/2014/main" id="{BA13F02C-302E-C7F6-2614-BEA35DC684FC}"/>
              </a:ext>
            </a:extLst>
          </p:cNvPr>
          <p:cNvSpPr txBox="1">
            <a:spLocks/>
          </p:cNvSpPr>
          <p:nvPr/>
        </p:nvSpPr>
        <p:spPr>
          <a:xfrm>
            <a:off x="11294400" y="6406933"/>
            <a:ext cx="321600" cy="163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bg1"/>
                </a:solidFill>
              </a:rPr>
              <a:t>2</a:t>
            </a:r>
            <a:endParaRPr lang="en-GB" sz="933" kern="1200" noProof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90D0F9E-8E7D-443D-92D8-B960B520B429}"/>
              </a:ext>
            </a:extLst>
          </p:cNvPr>
          <p:cNvSpPr txBox="1">
            <a:spLocks/>
          </p:cNvSpPr>
          <p:nvPr/>
        </p:nvSpPr>
        <p:spPr>
          <a:xfrm>
            <a:off x="9405253" y="6406933"/>
            <a:ext cx="1469601" cy="163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GB" sz="2177">
              <a:solidFill>
                <a:schemeClr val="bg1"/>
              </a:solidFill>
            </a:endParaRP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E06D255F-C9D6-E1E0-C29B-DF48FDD34B1A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1116068" y="334434"/>
            <a:ext cx="489600" cy="133889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411B1AF-DD1C-90C1-4B76-FA88E3396423}"/>
              </a:ext>
            </a:extLst>
          </p:cNvPr>
          <p:cNvCxnSpPr>
            <a:cxnSpLocks/>
          </p:cNvCxnSpPr>
          <p:nvPr/>
        </p:nvCxnSpPr>
        <p:spPr>
          <a:xfrm>
            <a:off x="577583" y="4355021"/>
            <a:ext cx="1103841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1868">
            <a:extLst>
              <a:ext uri="{FF2B5EF4-FFF2-40B4-BE49-F238E27FC236}">
                <a16:creationId xmlns:a16="http://schemas.microsoft.com/office/drawing/2014/main" id="{4CA9BA93-B02E-4A20-6147-DA9D90F0038D}"/>
              </a:ext>
            </a:extLst>
          </p:cNvPr>
          <p:cNvSpPr txBox="1">
            <a:spLocks/>
          </p:cNvSpPr>
          <p:nvPr/>
        </p:nvSpPr>
        <p:spPr>
          <a:xfrm>
            <a:off x="590398" y="2816923"/>
            <a:ext cx="11040000" cy="76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>
                <a:solidFill>
                  <a:srgbClr val="0D134F"/>
                </a:solidFill>
              </a:rPr>
              <a:t>UK</a:t>
            </a:r>
          </a:p>
          <a:p>
            <a:endParaRPr lang="en-GB" sz="1600">
              <a:solidFill>
                <a:schemeClr val="accent3"/>
              </a:solidFill>
              <a:cs typeface="Arial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60EBC62-0264-E3E5-A5C6-2189BA9C00C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25650" y="3072373"/>
            <a:ext cx="287729" cy="337337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CFD9104-949A-0732-7384-C53C106F5686}"/>
              </a:ext>
            </a:extLst>
          </p:cNvPr>
          <p:cNvSpPr/>
          <p:nvPr/>
        </p:nvSpPr>
        <p:spPr>
          <a:xfrm>
            <a:off x="499876" y="3391418"/>
            <a:ext cx="2086703" cy="656591"/>
          </a:xfrm>
          <a:prstGeom prst="rect">
            <a:avLst/>
          </a:prstGeom>
        </p:spPr>
        <p:txBody>
          <a:bodyPr wrap="square" lIns="121920" tIns="60960" rIns="121920" bIns="60960" anchor="t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3467" b="1">
                <a:solidFill>
                  <a:schemeClr val="bg1"/>
                </a:solidFill>
              </a:rPr>
              <a:t>£15b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D3D90E2-299D-E866-25AB-670C20842989}"/>
              </a:ext>
            </a:extLst>
          </p:cNvPr>
          <p:cNvSpPr/>
          <p:nvPr/>
        </p:nvSpPr>
        <p:spPr>
          <a:xfrm>
            <a:off x="508326" y="3928418"/>
            <a:ext cx="2086703" cy="40011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00">
                <a:solidFill>
                  <a:schemeClr val="bg1"/>
                </a:solidFill>
              </a:rPr>
              <a:t>Invested in renewable energy infrastructure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CA908CB1-F447-2BB2-4FBC-806A3F7DEE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52208" y="2978947"/>
            <a:ext cx="357180" cy="486161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E426A4F8-131D-4D9F-6BCE-170E48820EDB}"/>
              </a:ext>
            </a:extLst>
          </p:cNvPr>
          <p:cNvSpPr/>
          <p:nvPr/>
        </p:nvSpPr>
        <p:spPr>
          <a:xfrm>
            <a:off x="2787448" y="3393937"/>
            <a:ext cx="2086703" cy="6258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3467" b="1">
                <a:solidFill>
                  <a:schemeClr val="bg1"/>
                </a:solidFill>
              </a:rPr>
              <a:t>13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5061E20-3104-1894-D96E-194224012AB6}"/>
              </a:ext>
            </a:extLst>
          </p:cNvPr>
          <p:cNvSpPr/>
          <p:nvPr/>
        </p:nvSpPr>
        <p:spPr>
          <a:xfrm>
            <a:off x="2766839" y="3927564"/>
            <a:ext cx="2086703" cy="40011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00">
                <a:solidFill>
                  <a:schemeClr val="bg1"/>
                </a:solidFill>
              </a:rPr>
              <a:t>Windfarms offshore and 1 onshore  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F441243A-338E-FB9E-5FEB-00DE8F4E70F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26847" y="3057482"/>
            <a:ext cx="367103" cy="396868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01F9827D-3C3A-5328-E7B3-2C5F3C82038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18765" y="3100224"/>
            <a:ext cx="347259" cy="357180"/>
          </a:xfrm>
          <a:prstGeom prst="rect">
            <a:avLst/>
          </a:prstGeom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DC685E9D-A23C-46BD-E9B9-07CA6D272B22}"/>
              </a:ext>
            </a:extLst>
          </p:cNvPr>
          <p:cNvSpPr/>
          <p:nvPr/>
        </p:nvSpPr>
        <p:spPr>
          <a:xfrm>
            <a:off x="7434614" y="3400786"/>
            <a:ext cx="2086703" cy="6258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3467" b="1">
                <a:solidFill>
                  <a:schemeClr val="bg1"/>
                </a:solidFill>
              </a:rPr>
              <a:t>7million</a:t>
            </a:r>
            <a:endParaRPr lang="en-GB" sz="3467">
              <a:solidFill>
                <a:schemeClr val="bg1"/>
              </a:solidFill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00E1C39-A250-0084-7B77-4A98A8A4969B}"/>
              </a:ext>
            </a:extLst>
          </p:cNvPr>
          <p:cNvSpPr/>
          <p:nvPr/>
        </p:nvSpPr>
        <p:spPr>
          <a:xfrm>
            <a:off x="7414004" y="3910662"/>
            <a:ext cx="2086703" cy="40011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00">
                <a:solidFill>
                  <a:schemeClr val="bg1"/>
                </a:solidFill>
              </a:rPr>
              <a:t>homes powered with pipeline for 5 million more 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FA0E4CEA-AD2C-AC78-A582-BA2C34E02417}"/>
              </a:ext>
            </a:extLst>
          </p:cNvPr>
          <p:cNvSpPr/>
          <p:nvPr/>
        </p:nvSpPr>
        <p:spPr>
          <a:xfrm>
            <a:off x="5080116" y="3935448"/>
            <a:ext cx="2086703" cy="24622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00">
                <a:solidFill>
                  <a:schemeClr val="bg1"/>
                </a:solidFill>
              </a:rPr>
              <a:t>installed capacity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1D8E4243-63BB-3826-1C96-F040ACF9F00B}"/>
              </a:ext>
            </a:extLst>
          </p:cNvPr>
          <p:cNvSpPr/>
          <p:nvPr/>
        </p:nvSpPr>
        <p:spPr>
          <a:xfrm>
            <a:off x="5199184" y="3411130"/>
            <a:ext cx="2086703" cy="6258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3467" b="1">
                <a:solidFill>
                  <a:schemeClr val="bg1"/>
                </a:solidFill>
              </a:rPr>
              <a:t>6.2 GW</a:t>
            </a: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850FF6E6-6D85-3BB6-5E6D-A104A8AB91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82944" y="3030597"/>
            <a:ext cx="357180" cy="486161"/>
          </a:xfrm>
          <a:prstGeom prst="rect">
            <a:avLst/>
          </a:prstGeom>
        </p:spPr>
      </p:pic>
      <p:sp>
        <p:nvSpPr>
          <p:cNvPr id="56" name="Rectangle 55">
            <a:extLst>
              <a:ext uri="{FF2B5EF4-FFF2-40B4-BE49-F238E27FC236}">
                <a16:creationId xmlns:a16="http://schemas.microsoft.com/office/drawing/2014/main" id="{51D040CA-3EAC-AF0A-7519-61530197E06B}"/>
              </a:ext>
            </a:extLst>
          </p:cNvPr>
          <p:cNvSpPr/>
          <p:nvPr/>
        </p:nvSpPr>
        <p:spPr>
          <a:xfrm>
            <a:off x="9521316" y="3410841"/>
            <a:ext cx="2086703" cy="6258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3467" b="1">
                <a:solidFill>
                  <a:schemeClr val="bg1"/>
                </a:solidFill>
              </a:rPr>
              <a:t>Hornsea </a:t>
            </a:r>
            <a:endParaRPr lang="en-GB" sz="3467">
              <a:solidFill>
                <a:schemeClr val="bg1"/>
              </a:solidFill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89CCB363-C3C2-3D8B-0FA3-E3039D111168}"/>
              </a:ext>
            </a:extLst>
          </p:cNvPr>
          <p:cNvSpPr/>
          <p:nvPr/>
        </p:nvSpPr>
        <p:spPr>
          <a:xfrm>
            <a:off x="9552895" y="3929976"/>
            <a:ext cx="2086703" cy="40011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00">
                <a:solidFill>
                  <a:schemeClr val="bg1"/>
                </a:solidFill>
              </a:rPr>
              <a:t>world’s largest windfarms</a:t>
            </a:r>
          </a:p>
          <a:p>
            <a:pPr algn="ctr"/>
            <a:r>
              <a:rPr lang="en-GB" sz="1000">
                <a:solidFill>
                  <a:schemeClr val="bg1"/>
                </a:solidFill>
              </a:rPr>
              <a:t>2.5 GW to date  </a:t>
            </a:r>
          </a:p>
        </p:txBody>
      </p:sp>
      <p:sp>
        <p:nvSpPr>
          <p:cNvPr id="7" name="Title 1868">
            <a:extLst>
              <a:ext uri="{FF2B5EF4-FFF2-40B4-BE49-F238E27FC236}">
                <a16:creationId xmlns:a16="http://schemas.microsoft.com/office/drawing/2014/main" id="{FF0FA02D-3F9E-5D73-B178-8560BA56F5D8}"/>
              </a:ext>
            </a:extLst>
          </p:cNvPr>
          <p:cNvSpPr txBox="1">
            <a:spLocks/>
          </p:cNvSpPr>
          <p:nvPr/>
        </p:nvSpPr>
        <p:spPr>
          <a:xfrm>
            <a:off x="537814" y="1087779"/>
            <a:ext cx="11040000" cy="76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>
                <a:solidFill>
                  <a:srgbClr val="0D134F"/>
                </a:solidFill>
              </a:rPr>
              <a:t>Ireland</a:t>
            </a:r>
            <a:endParaRPr lang="en-GB" sz="1600">
              <a:solidFill>
                <a:srgbClr val="0D134F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067243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A689B91A-924D-6240-8339-2425FA34C5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6984" y="256577"/>
            <a:ext cx="3176850" cy="768000"/>
          </a:xfrm>
        </p:spPr>
        <p:txBody>
          <a:bodyPr/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67">
                <a:solidFill>
                  <a:schemeClr val="accent1"/>
                </a:solidFill>
              </a:rPr>
              <a:t>We power business 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16C6209-E41B-9E4A-B14F-A5DE2AD98E70}"/>
              </a:ext>
            </a:extLst>
          </p:cNvPr>
          <p:cNvSpPr/>
          <p:nvPr/>
        </p:nvSpPr>
        <p:spPr>
          <a:xfrm>
            <a:off x="5745029" y="1334463"/>
            <a:ext cx="2937521" cy="30777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67">
                <a:solidFill>
                  <a:srgbClr val="4099DA"/>
                </a:solidFill>
                <a:latin typeface="Orsted Sans" pitchFamily="2" charset="77"/>
              </a:rPr>
              <a:t>Green energy trading</a:t>
            </a:r>
          </a:p>
          <a:p>
            <a:r>
              <a:rPr lang="en-GB" sz="1600">
                <a:solidFill>
                  <a:srgbClr val="3B4956"/>
                </a:solidFill>
                <a:latin typeface="Orsted Sans" pitchFamily="2" charset="77"/>
              </a:rPr>
              <a:t>Our power market team trades over 2 </a:t>
            </a:r>
            <a:r>
              <a:rPr lang="en-GB" sz="1600" err="1">
                <a:solidFill>
                  <a:srgbClr val="3B4956"/>
                </a:solidFill>
                <a:latin typeface="Orsted Sans" pitchFamily="2" charset="77"/>
              </a:rPr>
              <a:t>TWh</a:t>
            </a:r>
            <a:r>
              <a:rPr lang="en-GB" sz="1600">
                <a:solidFill>
                  <a:srgbClr val="3B4956"/>
                </a:solidFill>
                <a:latin typeface="Orsted Sans" pitchFamily="2" charset="77"/>
              </a:rPr>
              <a:t> of power in the Irish market.</a:t>
            </a:r>
          </a:p>
          <a:p>
            <a:endParaRPr lang="en-GB" sz="1600">
              <a:solidFill>
                <a:srgbClr val="3B4956"/>
              </a:solidFill>
              <a:latin typeface="Orsted Sans" pitchFamily="2" charset="77"/>
            </a:endParaRPr>
          </a:p>
          <a:p>
            <a:r>
              <a:rPr lang="en-GB" sz="1867">
                <a:solidFill>
                  <a:srgbClr val="4099DA"/>
                </a:solidFill>
                <a:latin typeface="Orsted Sans" pitchFamily="2" charset="77"/>
              </a:rPr>
              <a:t>Corporate Power Purchase Agreements </a:t>
            </a:r>
          </a:p>
          <a:p>
            <a:endParaRPr lang="en-GB" sz="1600">
              <a:solidFill>
                <a:srgbClr val="3B4956"/>
              </a:solidFill>
              <a:latin typeface="Orsted Sans" pitchFamily="2" charset="77"/>
            </a:endParaRPr>
          </a:p>
          <a:p>
            <a:endParaRPr lang="en-GB" sz="1867">
              <a:solidFill>
                <a:srgbClr val="3B4956"/>
              </a:solidFill>
              <a:latin typeface="Orsted Sans" pitchFamily="2" charset="77"/>
            </a:endParaRPr>
          </a:p>
          <a:p>
            <a:endParaRPr lang="en-GB" sz="1867">
              <a:solidFill>
                <a:srgbClr val="3B4956"/>
              </a:solidFill>
              <a:latin typeface="Orsted Sans" pitchFamily="2" charset="77"/>
            </a:endParaRPr>
          </a:p>
          <a:p>
            <a:endParaRPr lang="en-GB" sz="1867">
              <a:solidFill>
                <a:srgbClr val="3B4956"/>
              </a:solidFill>
              <a:latin typeface="Orsted Sans" pitchFamily="2" charset="77"/>
            </a:endParaRP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8786871E-2F51-9547-934E-4089C024A1F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16068" y="334434"/>
            <a:ext cx="489600" cy="133889"/>
          </a:xfrm>
          <a:prstGeom prst="rect">
            <a:avLst/>
          </a:prstGeom>
        </p:spPr>
      </p:pic>
      <p:sp>
        <p:nvSpPr>
          <p:cNvPr id="5" name="Title 6">
            <a:extLst>
              <a:ext uri="{FF2B5EF4-FFF2-40B4-BE49-F238E27FC236}">
                <a16:creationId xmlns:a16="http://schemas.microsoft.com/office/drawing/2014/main" id="{2E4893A0-31E2-3475-C98C-60426469177A}"/>
              </a:ext>
            </a:extLst>
          </p:cNvPr>
          <p:cNvSpPr txBox="1">
            <a:spLocks/>
          </p:cNvSpPr>
          <p:nvPr/>
        </p:nvSpPr>
        <p:spPr>
          <a:xfrm>
            <a:off x="588573" y="958096"/>
            <a:ext cx="11040000" cy="768000"/>
          </a:xfrm>
          <a:prstGeom prst="rect">
            <a:avLst/>
          </a:prstGeom>
        </p:spPr>
        <p:txBody>
          <a:bodyPr vert="horz" lIns="0" tIns="46800" rIns="0" bIns="45720" rtlCol="0" anchor="t" anchorCtr="0">
            <a:noAutofit/>
          </a:bodyPr>
          <a:lstStyle>
            <a:defPPr>
              <a:defRPr lang="en-US"/>
            </a:defPPr>
            <a:lvl1pPr marL="0" algn="l" defTabSz="829377" rtl="0" eaLnBrk="1" latinLnBrk="0" hangingPunct="1">
              <a:lnSpc>
                <a:spcPts val="4800"/>
              </a:lnSpc>
              <a:spcBef>
                <a:spcPct val="0"/>
              </a:spcBef>
              <a:buNone/>
              <a:defRPr sz="1633" b="1" i="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Orsted Sans Office" panose="00000500000000000000" pitchFamily="2" charset="0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200">
                <a:solidFill>
                  <a:schemeClr val="accent1"/>
                </a:solidFill>
              </a:rPr>
              <a:t>Our team</a:t>
            </a:r>
            <a:endParaRPr lang="en-DK" sz="2200">
              <a:solidFill>
                <a:schemeClr val="accent1"/>
              </a:solidFill>
            </a:endParaRPr>
          </a:p>
        </p:txBody>
      </p:sp>
      <p:sp>
        <p:nvSpPr>
          <p:cNvPr id="8" name="Title 6">
            <a:extLst>
              <a:ext uri="{FF2B5EF4-FFF2-40B4-BE49-F238E27FC236}">
                <a16:creationId xmlns:a16="http://schemas.microsoft.com/office/drawing/2014/main" id="{EA5D27A5-3A89-B5E7-8FE1-77C65ADFB0A4}"/>
              </a:ext>
            </a:extLst>
          </p:cNvPr>
          <p:cNvSpPr txBox="1">
            <a:spLocks/>
          </p:cNvSpPr>
          <p:nvPr/>
        </p:nvSpPr>
        <p:spPr>
          <a:xfrm>
            <a:off x="586332" y="468323"/>
            <a:ext cx="3128418" cy="27560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200" b="1">
                <a:solidFill>
                  <a:schemeClr val="accent1"/>
                </a:solidFill>
              </a:rPr>
              <a:t>What we do at Ørsted</a:t>
            </a:r>
          </a:p>
        </p:txBody>
      </p:sp>
      <p:sp>
        <p:nvSpPr>
          <p:cNvPr id="12" name="Rectangle 10">
            <a:extLst>
              <a:ext uri="{FF2B5EF4-FFF2-40B4-BE49-F238E27FC236}">
                <a16:creationId xmlns:a16="http://schemas.microsoft.com/office/drawing/2014/main" id="{FC03EB6E-D950-2E48-3901-54EA53C435DE}"/>
              </a:ext>
            </a:extLst>
          </p:cNvPr>
          <p:cNvSpPr/>
          <p:nvPr/>
        </p:nvSpPr>
        <p:spPr>
          <a:xfrm>
            <a:off x="510923" y="1644751"/>
            <a:ext cx="2584701" cy="3568497"/>
          </a:xfrm>
          <a:prstGeom prst="rect">
            <a:avLst/>
          </a:prstGeom>
        </p:spPr>
        <p:txBody>
          <a:bodyPr wrap="square" numCol="1" spcCol="180000">
            <a:no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100">
                <a:solidFill>
                  <a:srgbClr val="3B4956"/>
                </a:solidFill>
                <a:latin typeface="Orsted Sans" pitchFamily="2" charset="77"/>
              </a:rPr>
              <a:t>Headquartered in Denmark, Ørsted employs over 8,000 people globally. </a:t>
            </a:r>
          </a:p>
          <a:p>
            <a:endParaRPr lang="en-GB" sz="1100">
              <a:solidFill>
                <a:srgbClr val="3B4956"/>
              </a:solidFill>
              <a:latin typeface="Orsted Sans" pitchFamily="2" charset="77"/>
            </a:endParaRPr>
          </a:p>
          <a:p>
            <a:r>
              <a:rPr lang="en-GB" sz="1100">
                <a:solidFill>
                  <a:srgbClr val="3B4956"/>
                </a:solidFill>
                <a:latin typeface="Orsted Sans" pitchFamily="2" charset="77"/>
              </a:rPr>
              <a:t>The Ireland team’s home is in Cork. From here we will drive growth through organic and commercial opportunities.</a:t>
            </a:r>
          </a:p>
          <a:p>
            <a:br>
              <a:rPr lang="en-GB" sz="1100">
                <a:solidFill>
                  <a:srgbClr val="3B4956"/>
                </a:solidFill>
                <a:latin typeface="Orsted Sans" pitchFamily="2" charset="77"/>
              </a:rPr>
            </a:br>
            <a:r>
              <a:rPr lang="en-GB" sz="1100">
                <a:solidFill>
                  <a:srgbClr val="3B4956"/>
                </a:solidFill>
                <a:latin typeface="Orsted Sans" pitchFamily="2" charset="77"/>
              </a:rPr>
              <a:t>From Cork, our team spans </a:t>
            </a:r>
          </a:p>
          <a:p>
            <a:r>
              <a:rPr lang="en-GB" sz="1100">
                <a:solidFill>
                  <a:srgbClr val="3B4956"/>
                </a:solidFill>
                <a:latin typeface="Orsted Sans" pitchFamily="2" charset="77"/>
              </a:rPr>
              <a:t>the functions of: </a:t>
            </a:r>
            <a:br>
              <a:rPr lang="en-GB" sz="1100">
                <a:solidFill>
                  <a:srgbClr val="3B4956"/>
                </a:solidFill>
                <a:latin typeface="Orsted Sans" pitchFamily="2" charset="77"/>
              </a:rPr>
            </a:br>
            <a:endParaRPr lang="en-GB" sz="1100">
              <a:solidFill>
                <a:srgbClr val="3B4956"/>
              </a:solidFill>
              <a:latin typeface="Orsted Sans" pitchFamily="2" charset="77"/>
            </a:endParaRP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en-GB" sz="1100">
                <a:solidFill>
                  <a:srgbClr val="3B4956"/>
                </a:solidFill>
                <a:latin typeface="Orsted Sans" pitchFamily="2" charset="77"/>
              </a:rPr>
              <a:t>Development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en-GB" sz="1100">
                <a:solidFill>
                  <a:srgbClr val="3B4956"/>
                </a:solidFill>
                <a:latin typeface="Orsted Sans" pitchFamily="2" charset="77"/>
              </a:rPr>
              <a:t>Operation &amp; Maintenance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en-GB" sz="1100">
                <a:solidFill>
                  <a:srgbClr val="3B4956"/>
                </a:solidFill>
                <a:latin typeface="Orsted Sans" pitchFamily="2" charset="77"/>
              </a:rPr>
              <a:t>Commercial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en-GB" sz="1100">
                <a:solidFill>
                  <a:srgbClr val="3B4956"/>
                </a:solidFill>
                <a:latin typeface="Orsted Sans" pitchFamily="2" charset="77"/>
              </a:rPr>
              <a:t>Market Trading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en-GB" sz="1100">
                <a:solidFill>
                  <a:srgbClr val="3B4956"/>
                </a:solidFill>
                <a:latin typeface="Orsted Sans" pitchFamily="2" charset="77"/>
              </a:rPr>
              <a:t>QHSE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en-GB" sz="1100">
                <a:solidFill>
                  <a:srgbClr val="3B4956"/>
                </a:solidFill>
                <a:latin typeface="Orsted Sans" pitchFamily="2" charset="77"/>
              </a:rPr>
              <a:t>Legal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en-GB" sz="1100">
                <a:solidFill>
                  <a:srgbClr val="3B4956"/>
                </a:solidFill>
                <a:latin typeface="Orsted Sans" pitchFamily="2" charset="77"/>
              </a:rPr>
              <a:t>Finance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en-GB" sz="1100">
                <a:solidFill>
                  <a:srgbClr val="3B4956"/>
                </a:solidFill>
                <a:latin typeface="Orsted Sans" pitchFamily="2" charset="77"/>
              </a:rPr>
              <a:t>People &amp; Development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en-GB" sz="1100">
                <a:solidFill>
                  <a:srgbClr val="3B4956"/>
                </a:solidFill>
                <a:latin typeface="Orsted Sans" pitchFamily="2" charset="77"/>
              </a:rPr>
              <a:t>Public Affairs &amp; Communication</a:t>
            </a:r>
          </a:p>
          <a:p>
            <a:pPr marL="228594" indent="-228594">
              <a:buFont typeface="Arial" panose="020B0604020202020204" pitchFamily="34" charset="0"/>
              <a:buChar char="•"/>
            </a:pPr>
            <a:r>
              <a:rPr lang="en-GB" sz="1100">
                <a:solidFill>
                  <a:srgbClr val="3B4956"/>
                </a:solidFill>
                <a:latin typeface="Orsted Sans" pitchFamily="2" charset="77"/>
              </a:rPr>
              <a:t>Project Delivery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FB807B7-4E37-1B8E-3EB6-F9A0393949A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78670" y="3468213"/>
            <a:ext cx="2149628" cy="42257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5075969-F71F-8756-96AD-5C4321FF266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41166" y="3913572"/>
            <a:ext cx="2282767" cy="402841"/>
          </a:xfrm>
          <a:prstGeom prst="rect">
            <a:avLst/>
          </a:prstGeom>
        </p:spPr>
      </p:pic>
      <p:pic>
        <p:nvPicPr>
          <p:cNvPr id="15" name="Billede 3">
            <a:extLst>
              <a:ext uri="{FF2B5EF4-FFF2-40B4-BE49-F238E27FC236}">
                <a16:creationId xmlns:a16="http://schemas.microsoft.com/office/drawing/2014/main" id="{080CA913-C74F-1867-E7A3-998E9E41866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13789" y="5350045"/>
            <a:ext cx="2149628" cy="434323"/>
          </a:xfrm>
          <a:prstGeom prst="rect">
            <a:avLst/>
          </a:prstGeom>
        </p:spPr>
      </p:pic>
      <p:pic>
        <p:nvPicPr>
          <p:cNvPr id="16" name="Picture 7">
            <a:extLst>
              <a:ext uri="{FF2B5EF4-FFF2-40B4-BE49-F238E27FC236}">
                <a16:creationId xmlns:a16="http://schemas.microsoft.com/office/drawing/2014/main" id="{7DA83D1D-D826-9619-F2CA-E12D8CF4177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20922" y="4583671"/>
            <a:ext cx="2203669" cy="594931"/>
          </a:xfrm>
          <a:prstGeom prst="rect">
            <a:avLst/>
          </a:prstGeom>
        </p:spPr>
      </p:pic>
      <p:sp>
        <p:nvSpPr>
          <p:cNvPr id="17" name="Oval 4">
            <a:extLst>
              <a:ext uri="{FF2B5EF4-FFF2-40B4-BE49-F238E27FC236}">
                <a16:creationId xmlns:a16="http://schemas.microsoft.com/office/drawing/2014/main" id="{981DAAAD-49F4-5CEA-A923-2D238CB45465}"/>
              </a:ext>
            </a:extLst>
          </p:cNvPr>
          <p:cNvSpPr/>
          <p:nvPr/>
        </p:nvSpPr>
        <p:spPr>
          <a:xfrm>
            <a:off x="3033876" y="4412228"/>
            <a:ext cx="1264880" cy="126488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6000"/>
              </a:lnSpc>
            </a:pPr>
            <a:endParaRPr lang="en-GB" sz="933" b="1">
              <a:solidFill>
                <a:schemeClr val="accent1"/>
              </a:solidFill>
            </a:endParaRPr>
          </a:p>
        </p:txBody>
      </p:sp>
      <p:sp>
        <p:nvSpPr>
          <p:cNvPr id="18" name="Tekstfelt 18">
            <a:extLst>
              <a:ext uri="{FF2B5EF4-FFF2-40B4-BE49-F238E27FC236}">
                <a16:creationId xmlns:a16="http://schemas.microsoft.com/office/drawing/2014/main" id="{3E994BDE-541B-FAC2-6915-05395820B889}"/>
              </a:ext>
            </a:extLst>
          </p:cNvPr>
          <p:cNvSpPr txBox="1"/>
          <p:nvPr/>
        </p:nvSpPr>
        <p:spPr>
          <a:xfrm>
            <a:off x="3110677" y="4651599"/>
            <a:ext cx="1130748" cy="70262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6000"/>
              </a:lnSpc>
            </a:pPr>
            <a:r>
              <a:rPr lang="en-GB" sz="1333" b="1">
                <a:solidFill>
                  <a:schemeClr val="accent1"/>
                </a:solidFill>
              </a:rPr>
              <a:t>100+ </a:t>
            </a:r>
          </a:p>
          <a:p>
            <a:pPr algn="ctr">
              <a:lnSpc>
                <a:spcPct val="96000"/>
              </a:lnSpc>
            </a:pPr>
            <a:r>
              <a:rPr lang="en-GB" sz="933" b="1">
                <a:solidFill>
                  <a:schemeClr val="accent1"/>
                </a:solidFill>
              </a:rPr>
              <a:t>people work in our growing Cork office</a:t>
            </a:r>
          </a:p>
        </p:txBody>
      </p:sp>
      <p:sp>
        <p:nvSpPr>
          <p:cNvPr id="19" name="Oval 4">
            <a:extLst>
              <a:ext uri="{FF2B5EF4-FFF2-40B4-BE49-F238E27FC236}">
                <a16:creationId xmlns:a16="http://schemas.microsoft.com/office/drawing/2014/main" id="{095BA4FF-0FB6-170D-B142-17F3AF4FC168}"/>
              </a:ext>
            </a:extLst>
          </p:cNvPr>
          <p:cNvSpPr/>
          <p:nvPr/>
        </p:nvSpPr>
        <p:spPr>
          <a:xfrm>
            <a:off x="3242878" y="1263650"/>
            <a:ext cx="1977260" cy="186870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6000"/>
              </a:lnSpc>
            </a:pPr>
            <a:r>
              <a:rPr lang="en-GB" sz="1100" b="1">
                <a:solidFill>
                  <a:schemeClr val="accent1"/>
                </a:solidFill>
              </a:rPr>
              <a:t>Europe Heads of:</a:t>
            </a:r>
            <a:br>
              <a:rPr lang="en-GB" sz="1100" b="1">
                <a:solidFill>
                  <a:schemeClr val="accent1"/>
                </a:solidFill>
              </a:rPr>
            </a:br>
            <a:r>
              <a:rPr lang="en-GB" sz="1100" b="1">
                <a:solidFill>
                  <a:schemeClr val="accent1"/>
                </a:solidFill>
              </a:rPr>
              <a:t>- Onshore</a:t>
            </a:r>
          </a:p>
          <a:p>
            <a:pPr>
              <a:lnSpc>
                <a:spcPct val="96000"/>
              </a:lnSpc>
            </a:pPr>
            <a:r>
              <a:rPr lang="en-GB" sz="1100" b="1">
                <a:solidFill>
                  <a:schemeClr val="accent1"/>
                </a:solidFill>
              </a:rPr>
              <a:t>- Legal </a:t>
            </a:r>
          </a:p>
          <a:p>
            <a:pPr>
              <a:lnSpc>
                <a:spcPct val="96000"/>
              </a:lnSpc>
            </a:pPr>
            <a:r>
              <a:rPr lang="en-GB" sz="1100" b="1">
                <a:solidFill>
                  <a:schemeClr val="accent1"/>
                </a:solidFill>
              </a:rPr>
              <a:t>- Finance</a:t>
            </a:r>
            <a:br>
              <a:rPr lang="en-GB" sz="1100" b="1">
                <a:solidFill>
                  <a:schemeClr val="accent1"/>
                </a:solidFill>
              </a:rPr>
            </a:br>
            <a:r>
              <a:rPr lang="en-GB" sz="1100" b="1">
                <a:solidFill>
                  <a:schemeClr val="accent1"/>
                </a:solidFill>
              </a:rPr>
              <a:t>- Commercial</a:t>
            </a:r>
            <a:br>
              <a:rPr lang="en-GB" sz="1100" b="1">
                <a:solidFill>
                  <a:schemeClr val="accent1"/>
                </a:solidFill>
              </a:rPr>
            </a:br>
            <a:r>
              <a:rPr lang="en-GB" sz="1100" b="1">
                <a:solidFill>
                  <a:schemeClr val="accent1"/>
                </a:solidFill>
              </a:rPr>
              <a:t>- New Markets </a:t>
            </a:r>
          </a:p>
          <a:p>
            <a:pPr marL="171450" indent="-171450" algn="ctr">
              <a:lnSpc>
                <a:spcPct val="96000"/>
              </a:lnSpc>
              <a:buFontTx/>
              <a:buChar char="-"/>
            </a:pPr>
            <a:endParaRPr lang="en-GB" sz="933" b="1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36588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7DF298-9EED-08A2-6E65-F295D4199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327" y="3073132"/>
            <a:ext cx="11159837" cy="711736"/>
          </a:xfrm>
        </p:spPr>
        <p:txBody>
          <a:bodyPr/>
          <a:lstStyle/>
          <a:p>
            <a:r>
              <a:rPr lang="en-GB" sz="3600" dirty="0"/>
              <a:t>Offshore Wind in Ireland – Policy Developments</a:t>
            </a:r>
          </a:p>
        </p:txBody>
      </p:sp>
    </p:spTree>
    <p:extLst>
      <p:ext uri="{BB962C8B-B14F-4D97-AF65-F5344CB8AC3E}">
        <p14:creationId xmlns:p14="http://schemas.microsoft.com/office/powerpoint/2010/main" val="4079158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A5F501-95CA-FA0A-D7B1-6FC36500F4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b="1">
                <a:latin typeface="Calibri" panose="020F0502020204030204" pitchFamily="34" charset="0"/>
                <a:cs typeface="Calibri" panose="020F0502020204030204" pitchFamily="34" charset="0"/>
              </a:rPr>
              <a:t>Recent Policy Developments….</a:t>
            </a: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71F9DDD0-A60C-ED75-82A6-CF85621D8ADB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/>
          <a:stretch>
            <a:fillRect/>
          </a:stretch>
        </p:blipFill>
        <p:spPr>
          <a:xfrm>
            <a:off x="301386" y="924993"/>
            <a:ext cx="1999138" cy="2800084"/>
          </a:xfrm>
        </p:spPr>
      </p:pic>
      <p:pic>
        <p:nvPicPr>
          <p:cNvPr id="5" name="Picture 5">
            <a:extLst>
              <a:ext uri="{FF2B5EF4-FFF2-40B4-BE49-F238E27FC236}">
                <a16:creationId xmlns:a16="http://schemas.microsoft.com/office/drawing/2014/main" id="{48DD81E6-F0E0-A20D-47AC-D28BEFBB8DC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06165" y="932931"/>
            <a:ext cx="1946564" cy="2800084"/>
          </a:xfrm>
          <a:prstGeom prst="rect">
            <a:avLst/>
          </a:prstGeom>
        </p:spPr>
      </p:pic>
      <p:pic>
        <p:nvPicPr>
          <p:cNvPr id="6" name="Picture 6">
            <a:extLst>
              <a:ext uri="{FF2B5EF4-FFF2-40B4-BE49-F238E27FC236}">
                <a16:creationId xmlns:a16="http://schemas.microsoft.com/office/drawing/2014/main" id="{7E13848B-ED26-CCCE-FD69-E4FB5C16B1F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89580" y="1031029"/>
            <a:ext cx="1924589" cy="270198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4A97FC1-53D7-84F9-2A9A-6076F842B1E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81109" y="177410"/>
            <a:ext cx="2300579" cy="325159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2A3E9B6F-3863-0111-E73D-7A269295ADD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11937" y="177410"/>
            <a:ext cx="2256847" cy="325159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03E0FBF8-7B4D-E943-5742-667E876F113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219058" y="3527099"/>
            <a:ext cx="2262630" cy="315349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9C0DD0E5-7F57-9B4F-27F9-EAC667DDF61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627313" y="3429000"/>
            <a:ext cx="2306407" cy="325159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CD4575A0-F85F-E4D9-06C8-786BE6A9741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45104" y="4000151"/>
            <a:ext cx="1911702" cy="272098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CB670711-7D7F-6709-F5F7-07872218B67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401191" y="3999340"/>
            <a:ext cx="2104512" cy="2720985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8B229E5E-D080-6795-DFE5-EE28CCC740F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651328" y="4679471"/>
            <a:ext cx="2465393" cy="1360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43149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A5C981-D527-D8A8-0776-DBBFE13BC4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Phase 1 Projects – The Story So Far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6328530C-5E6B-B320-8E37-B97D621459A9}"/>
              </a:ext>
            </a:extLst>
          </p:cNvPr>
          <p:cNvGraphicFramePr>
            <a:graphicFrameLocks noGrp="1"/>
          </p:cNvGraphicFramePr>
          <p:nvPr>
            <p:ph sz="quarter" idx="13"/>
          </p:nvPr>
        </p:nvGraphicFramePr>
        <p:xfrm>
          <a:off x="515938" y="2277979"/>
          <a:ext cx="11163300" cy="37513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297811CB-BACC-1979-1D6C-13E8525EEFFE}"/>
              </a:ext>
            </a:extLst>
          </p:cNvPr>
          <p:cNvSpPr txBox="1"/>
          <p:nvPr/>
        </p:nvSpPr>
        <p:spPr>
          <a:xfrm>
            <a:off x="509046" y="4787423"/>
            <a:ext cx="1967013" cy="1200329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en-GB"/>
              <a:t>DECC Minister identifies 7 no. Relevant Project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F0897E5-CEA9-DBA7-0E52-45D8B06D7162}"/>
              </a:ext>
            </a:extLst>
          </p:cNvPr>
          <p:cNvSpPr txBox="1"/>
          <p:nvPr/>
        </p:nvSpPr>
        <p:spPr>
          <a:xfrm>
            <a:off x="7112907" y="4787423"/>
            <a:ext cx="2016157" cy="1200329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</a:lstStyle>
          <a:p>
            <a:r>
              <a:rPr lang="en-GB"/>
              <a:t>Minister awards Maritime Area Consents to Relevant Projec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B6FBEA-791C-BB8F-93CA-0E77D36863E1}"/>
              </a:ext>
            </a:extLst>
          </p:cNvPr>
          <p:cNvSpPr txBox="1"/>
          <p:nvPr/>
        </p:nvSpPr>
        <p:spPr>
          <a:xfrm>
            <a:off x="4877037" y="4791056"/>
            <a:ext cx="2016157" cy="1200329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</a:lstStyle>
          <a:p>
            <a:r>
              <a:rPr lang="en-GB"/>
              <a:t>Eirgrid awards Grid Connection Assessments to Relevant Projec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4C49CF6-A2FA-6FD4-ADDB-BAE75A27C3CD}"/>
              </a:ext>
            </a:extLst>
          </p:cNvPr>
          <p:cNvSpPr txBox="1"/>
          <p:nvPr/>
        </p:nvSpPr>
        <p:spPr>
          <a:xfrm>
            <a:off x="9299633" y="4787423"/>
            <a:ext cx="1905516" cy="1200329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</a:lstStyle>
          <a:p>
            <a:r>
              <a:rPr lang="en-GB"/>
              <a:t>Contracts are awarded to 4 no. projects in ORESS 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B4F4041-C53C-9269-4ADD-D5FE9423B2D4}"/>
              </a:ext>
            </a:extLst>
          </p:cNvPr>
          <p:cNvSpPr txBox="1"/>
          <p:nvPr/>
        </p:nvSpPr>
        <p:spPr>
          <a:xfrm>
            <a:off x="2690311" y="4787423"/>
            <a:ext cx="1967013" cy="1200329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</a:lstStyle>
          <a:p>
            <a:r>
              <a:rPr lang="en-GB"/>
              <a:t>Maritime Area Planning Act enacted by Government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048E7E59-376D-5F16-3F6A-8D20AEE61F5B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62044" t="26394" r="14580" b="34410"/>
          <a:stretch/>
        </p:blipFill>
        <p:spPr bwMode="auto">
          <a:xfrm>
            <a:off x="545467" y="1317235"/>
            <a:ext cx="2176038" cy="2051934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7" name="Picture 26" descr="A green logo with a grid and a white background&#10;&#10;Description automatically generated">
            <a:extLst>
              <a:ext uri="{FF2B5EF4-FFF2-40B4-BE49-F238E27FC236}">
                <a16:creationId xmlns:a16="http://schemas.microsoft.com/office/drawing/2014/main" id="{3E02AAA8-C82C-AE53-88E6-BC83A68FDEA6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38240" y="1764960"/>
            <a:ext cx="2540570" cy="1156484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353BD12E-3A00-1282-53C3-3C2BD2561A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9623" y="1743770"/>
            <a:ext cx="2093642" cy="11776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C7212E10-8E67-A4F2-01F9-4CDBE9C798B2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31575" t="17924" r="37403" b="6047"/>
          <a:stretch/>
        </p:blipFill>
        <p:spPr bwMode="auto">
          <a:xfrm>
            <a:off x="7207413" y="1132401"/>
            <a:ext cx="1778000" cy="24511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D539AE71-B82D-1EB0-DB58-9565E6D36351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32241" t="19303" r="37957" b="6244"/>
          <a:stretch/>
        </p:blipFill>
        <p:spPr bwMode="auto">
          <a:xfrm>
            <a:off x="9398316" y="1132401"/>
            <a:ext cx="1708150" cy="24003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4286095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DC34D1-3DC7-99CE-726F-29C3786E88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From this…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BF1480-8357-6773-C431-A48F18AA534A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A0A61935-AF2D-3013-A808-BEA13796E9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6" y="1135228"/>
            <a:ext cx="5597793" cy="5588268"/>
          </a:xfrm>
          <a:prstGeom prst="rect">
            <a:avLst/>
          </a:prstGeom>
          <a:noFill/>
          <a:ln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>
            <a:extLst>
              <a:ext uri="{FF2B5EF4-FFF2-40B4-BE49-F238E27FC236}">
                <a16:creationId xmlns:a16="http://schemas.microsoft.com/office/drawing/2014/main" id="{1A51DF9D-CD1C-0CE3-F390-E9794B2B93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8070" y="1135228"/>
            <a:ext cx="6779539" cy="5588268"/>
          </a:xfrm>
          <a:prstGeom prst="rect">
            <a:avLst/>
          </a:prstGeom>
          <a:noFill/>
          <a:ln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6522398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A5F5D4-86FA-EDA8-D3BD-23B74747FA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213" y="284671"/>
            <a:ext cx="9745337" cy="711736"/>
          </a:xfrm>
        </p:spPr>
        <p:txBody>
          <a:bodyPr/>
          <a:lstStyle/>
          <a:p>
            <a:r>
              <a:rPr lang="en-GB" sz="2200" b="1">
                <a:latin typeface="Calibri"/>
                <a:ea typeface="Calibri"/>
                <a:cs typeface="Calibri"/>
              </a:rPr>
              <a:t>….to South Coast Offshore Renewable Energy Designated Marine Area Pla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46221A-88F3-351A-A12D-0AAD7594F5D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09044" y="1314030"/>
            <a:ext cx="10838327" cy="4732255"/>
          </a:xfrm>
        </p:spPr>
        <p:txBody>
          <a:bodyPr vert="horz" lIns="0" tIns="0" rIns="0" bIns="45720" rtlCol="0" anchor="t">
            <a:noAutofit/>
          </a:bodyPr>
          <a:lstStyle/>
          <a:p>
            <a:endParaRPr lang="en-GB" sz="1400">
              <a:highlight>
                <a:srgbClr val="FFFF00"/>
              </a:highlight>
              <a:cs typeface="Arial"/>
            </a:endParaRPr>
          </a:p>
          <a:p>
            <a:endParaRPr lang="en-GB" sz="140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8164F46-4C44-0D7C-1393-FF0D72E22797}"/>
              </a:ext>
            </a:extLst>
          </p:cNvPr>
          <p:cNvSpPr txBox="1"/>
          <p:nvPr/>
        </p:nvSpPr>
        <p:spPr>
          <a:xfrm>
            <a:off x="5316882" y="1583525"/>
            <a:ext cx="6580843" cy="446276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lvl="1" indent="-285750" defTabSz="685800">
              <a:spcBef>
                <a:spcPts val="600"/>
              </a:spcBef>
              <a:spcAft>
                <a:spcPts val="600"/>
              </a:spcAft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en-GB" sz="1600" b="1">
                <a:ea typeface="Calibri"/>
                <a:cs typeface="Calibri"/>
              </a:rPr>
              <a:t>DMAP</a:t>
            </a:r>
            <a:r>
              <a:rPr lang="en-GB" sz="1600">
                <a:ea typeface="Calibri"/>
                <a:cs typeface="Calibri"/>
              </a:rPr>
              <a:t> proposal area identified based on:</a:t>
            </a:r>
          </a:p>
          <a:p>
            <a:pPr marL="1085850" lvl="2" indent="-171450" defTabSz="685800">
              <a:spcBef>
                <a:spcPts val="600"/>
              </a:spcBef>
              <a:spcAft>
                <a:spcPts val="600"/>
              </a:spcAft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en-GB" sz="1600">
                <a:ea typeface="Calibri"/>
                <a:cs typeface="Calibri"/>
              </a:rPr>
              <a:t>High Water Mark to 80m depth contour and/or the edge of the EEZ</a:t>
            </a:r>
          </a:p>
          <a:p>
            <a:pPr marL="1085850" lvl="2" indent="-171450" defTabSz="685800">
              <a:spcBef>
                <a:spcPts val="600"/>
              </a:spcBef>
              <a:spcAft>
                <a:spcPts val="600"/>
              </a:spcAft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en-GB" sz="1600">
                <a:ea typeface="Calibri"/>
                <a:cs typeface="Calibri"/>
              </a:rPr>
              <a:t>Western boundary – military danger/restricted area defined by IAA</a:t>
            </a:r>
          </a:p>
          <a:p>
            <a:pPr marL="1085850" lvl="2" indent="-171450" defTabSz="685800">
              <a:spcBef>
                <a:spcPts val="600"/>
              </a:spcBef>
              <a:spcAft>
                <a:spcPts val="600"/>
              </a:spcAft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en-GB" sz="1600">
                <a:ea typeface="Calibri"/>
                <a:cs typeface="Calibri"/>
              </a:rPr>
              <a:t>Eastern boundary demarcation between Irish Celtic Sea and Irish Sea, classified by International Hydrographic Office. </a:t>
            </a:r>
          </a:p>
          <a:p>
            <a:pPr lvl="1" indent="-285750" defTabSz="685800">
              <a:spcBef>
                <a:spcPts val="600"/>
              </a:spcBef>
              <a:spcAft>
                <a:spcPts val="600"/>
              </a:spcAft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en-GB" sz="1600">
                <a:ea typeface="Calibri"/>
                <a:cs typeface="Calibri"/>
              </a:rPr>
              <a:t>Subsets of this </a:t>
            </a:r>
            <a:r>
              <a:rPr lang="en-GB" sz="1600" b="1">
                <a:ea typeface="Calibri"/>
                <a:cs typeface="Calibri"/>
              </a:rPr>
              <a:t>DMAP</a:t>
            </a:r>
            <a:r>
              <a:rPr lang="en-GB" sz="1600">
                <a:ea typeface="Calibri"/>
                <a:cs typeface="Calibri"/>
              </a:rPr>
              <a:t> area will be identified for upcoming auction</a:t>
            </a:r>
          </a:p>
          <a:p>
            <a:pPr lvl="1" indent="-285750" defTabSz="685800">
              <a:spcBef>
                <a:spcPts val="600"/>
              </a:spcBef>
              <a:spcAft>
                <a:spcPts val="600"/>
              </a:spcAft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en-GB" sz="1600">
                <a:ea typeface="Calibri"/>
                <a:cs typeface="Calibri"/>
              </a:rPr>
              <a:t>Details of this area(s) will be included in final ORESS 2.1 T&amp;C’s, to be </a:t>
            </a:r>
            <a:r>
              <a:rPr lang="en-GB" sz="1600">
                <a:cs typeface="Calibri"/>
              </a:rPr>
              <a:t>published in Q2 2024, </a:t>
            </a:r>
            <a:r>
              <a:rPr lang="en-GB" sz="1600">
                <a:ea typeface="Calibri"/>
                <a:cs typeface="Calibri"/>
              </a:rPr>
              <a:t>contingent on completion of the DMAP establishment process, including Oireachtas approval</a:t>
            </a:r>
          </a:p>
          <a:p>
            <a:pPr lvl="1" indent="-285750" defTabSz="685800">
              <a:spcBef>
                <a:spcPts val="600"/>
              </a:spcBef>
              <a:spcAft>
                <a:spcPts val="600"/>
              </a:spcAft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en-GB" sz="1600">
                <a:ea typeface="Calibri"/>
                <a:cs typeface="Calibri"/>
              </a:rPr>
              <a:t>Further deployment will take place within this</a:t>
            </a:r>
            <a:r>
              <a:rPr lang="en-GB" sz="1600" b="1">
                <a:ea typeface="Calibri"/>
                <a:cs typeface="Calibri"/>
              </a:rPr>
              <a:t> DMAP </a:t>
            </a:r>
            <a:r>
              <a:rPr lang="en-GB" sz="1600">
                <a:ea typeface="Calibri"/>
                <a:cs typeface="Calibri"/>
              </a:rPr>
              <a:t>area over the next decade, along with potential further </a:t>
            </a:r>
            <a:r>
              <a:rPr lang="en-GB" sz="1600" b="1">
                <a:ea typeface="Calibri"/>
                <a:cs typeface="Calibri"/>
              </a:rPr>
              <a:t>DMAP</a:t>
            </a:r>
            <a:r>
              <a:rPr lang="en-GB" sz="1600">
                <a:ea typeface="Calibri"/>
                <a:cs typeface="Calibri"/>
              </a:rPr>
              <a:t>s for other uses</a:t>
            </a:r>
          </a:p>
        </p:txBody>
      </p:sp>
      <p:pic>
        <p:nvPicPr>
          <p:cNvPr id="3075" name="Picture 1">
            <a:extLst>
              <a:ext uri="{FF2B5EF4-FFF2-40B4-BE49-F238E27FC236}">
                <a16:creationId xmlns:a16="http://schemas.microsoft.com/office/drawing/2014/main" id="{C9658377-BF55-7C7F-23C9-CB776ABB1F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677" y="2095264"/>
            <a:ext cx="5248894" cy="3288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82813A5-FE42-985B-ADA3-87E206719A8A}"/>
              </a:ext>
            </a:extLst>
          </p:cNvPr>
          <p:cNvSpPr txBox="1"/>
          <p:nvPr/>
        </p:nvSpPr>
        <p:spPr>
          <a:xfrm>
            <a:off x="2306279" y="5495458"/>
            <a:ext cx="93654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/>
              <a:t>Draft DMAP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2AB6037-9237-ECDB-FF95-BBF53957F414}"/>
              </a:ext>
            </a:extLst>
          </p:cNvPr>
          <p:cNvSpPr txBox="1"/>
          <p:nvPr/>
        </p:nvSpPr>
        <p:spPr>
          <a:xfrm>
            <a:off x="1636492" y="1366474"/>
            <a:ext cx="24132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err="1"/>
              <a:t>EirGrid</a:t>
            </a:r>
            <a:r>
              <a:rPr lang="en-GB" sz="1600"/>
              <a:t> Areas of Search for offshore nod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814CF97-B406-1B42-EE61-0172FADAFD7F}"/>
              </a:ext>
            </a:extLst>
          </p:cNvPr>
          <p:cNvSpPr txBox="1"/>
          <p:nvPr/>
        </p:nvSpPr>
        <p:spPr>
          <a:xfrm rot="20052535">
            <a:off x="2059186" y="3804385"/>
            <a:ext cx="82020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>
                <a:solidFill>
                  <a:schemeClr val="tx2"/>
                </a:solidFill>
              </a:rPr>
              <a:t>Celtic O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4C6A8CF-39A9-7C26-2D91-76FBAA36AB8A}"/>
              </a:ext>
            </a:extLst>
          </p:cNvPr>
          <p:cNvSpPr txBox="1"/>
          <p:nvPr/>
        </p:nvSpPr>
        <p:spPr>
          <a:xfrm rot="20052535">
            <a:off x="2908123" y="3214932"/>
            <a:ext cx="7748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err="1">
                <a:solidFill>
                  <a:schemeClr val="tx2"/>
                </a:solidFill>
              </a:rPr>
              <a:t>Helvick</a:t>
            </a:r>
            <a:r>
              <a:rPr lang="en-GB" sz="900">
                <a:solidFill>
                  <a:schemeClr val="tx2"/>
                </a:solidFill>
              </a:rPr>
              <a:t> Hea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2C7C002-5F78-E01F-F7E0-B96197C85CD8}"/>
              </a:ext>
            </a:extLst>
          </p:cNvPr>
          <p:cNvSpPr txBox="1"/>
          <p:nvPr/>
        </p:nvSpPr>
        <p:spPr>
          <a:xfrm rot="20052535">
            <a:off x="2707487" y="4140706"/>
            <a:ext cx="6512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>
                <a:solidFill>
                  <a:schemeClr val="tx2"/>
                </a:solidFill>
              </a:rPr>
              <a:t>Celtic Two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494AAA66-D3DE-C430-EF36-6425B67D9FF2}"/>
              </a:ext>
            </a:extLst>
          </p:cNvPr>
          <p:cNvCxnSpPr>
            <a:cxnSpLocks/>
          </p:cNvCxnSpPr>
          <p:nvPr/>
        </p:nvCxnSpPr>
        <p:spPr>
          <a:xfrm flipH="1">
            <a:off x="2306279" y="1965223"/>
            <a:ext cx="163010" cy="1775820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F8DF7CFF-A847-D256-69AC-51A56A709342}"/>
              </a:ext>
            </a:extLst>
          </p:cNvPr>
          <p:cNvCxnSpPr>
            <a:cxnSpLocks/>
          </p:cNvCxnSpPr>
          <p:nvPr/>
        </p:nvCxnSpPr>
        <p:spPr>
          <a:xfrm>
            <a:off x="2469289" y="1979648"/>
            <a:ext cx="697059" cy="1104040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C90332A1-84F9-5226-6355-E0DE2E7334C8}"/>
              </a:ext>
            </a:extLst>
          </p:cNvPr>
          <p:cNvCxnSpPr>
            <a:cxnSpLocks/>
          </p:cNvCxnSpPr>
          <p:nvPr/>
        </p:nvCxnSpPr>
        <p:spPr>
          <a:xfrm flipV="1">
            <a:off x="2894291" y="4633324"/>
            <a:ext cx="272057" cy="896332"/>
          </a:xfrm>
          <a:prstGeom prst="straightConnector1">
            <a:avLst/>
          </a:prstGeom>
          <a:ln w="76200">
            <a:solidFill>
              <a:schemeClr val="accent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96812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7DF298-9EED-08A2-6E65-F295D4199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327" y="3073132"/>
            <a:ext cx="11159837" cy="711736"/>
          </a:xfrm>
        </p:spPr>
        <p:txBody>
          <a:bodyPr/>
          <a:lstStyle/>
          <a:p>
            <a:r>
              <a:rPr lang="en-GB" sz="4000">
                <a:latin typeface="Century Gothic"/>
                <a:cs typeface="Poppins SemiBold"/>
              </a:rPr>
              <a:t>Energy Clusters</a:t>
            </a:r>
            <a:endParaRPr lang="en-GB" sz="4000"/>
          </a:p>
        </p:txBody>
      </p:sp>
    </p:spTree>
    <p:extLst>
      <p:ext uri="{BB962C8B-B14F-4D97-AF65-F5344CB8AC3E}">
        <p14:creationId xmlns:p14="http://schemas.microsoft.com/office/powerpoint/2010/main" val="147090614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2962353F-EB1C-4D95-A1C3-B654C3F676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91932" y="1063632"/>
            <a:ext cx="2676284" cy="372035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92BDB9A-FA61-284E-6614-2E75BDA0962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1563"/>
          <a:stretch/>
        </p:blipFill>
        <p:spPr>
          <a:xfrm>
            <a:off x="-275834" y="1344706"/>
            <a:ext cx="8327140" cy="416858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AB1A396-5C20-367E-F846-BD4937F5955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93435" y="3302995"/>
            <a:ext cx="2149343" cy="269764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7A5BFEC-11B5-B445-2C37-B88C96BE0A9E}"/>
              </a:ext>
            </a:extLst>
          </p:cNvPr>
          <p:cNvSpPr txBox="1"/>
          <p:nvPr/>
        </p:nvSpPr>
        <p:spPr>
          <a:xfrm>
            <a:off x="605883" y="289933"/>
            <a:ext cx="9056648" cy="39151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6000"/>
              </a:lnSpc>
              <a:spcBef>
                <a:spcPts val="2400"/>
              </a:spcBef>
            </a:pPr>
            <a:r>
              <a:rPr lang="en-GB" sz="2650" b="1">
                <a:solidFill>
                  <a:schemeClr val="accent1"/>
                </a:solidFill>
              </a:rPr>
              <a:t>UK Cluster Case Study </a:t>
            </a:r>
            <a:endParaRPr lang="en-US" sz="2150">
              <a:solidFill>
                <a:schemeClr val="accent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5818472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D859C4A9-CD36-D0D0-25B0-E00E66B6DAE2}"/>
              </a:ext>
            </a:extLst>
          </p:cNvPr>
          <p:cNvSpPr txBox="1"/>
          <p:nvPr/>
        </p:nvSpPr>
        <p:spPr>
          <a:xfrm>
            <a:off x="605883" y="289933"/>
            <a:ext cx="9056648" cy="39151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6000"/>
              </a:lnSpc>
              <a:spcBef>
                <a:spcPts val="2400"/>
              </a:spcBef>
            </a:pPr>
            <a:r>
              <a:rPr lang="en-GB" sz="2650" b="1">
                <a:solidFill>
                  <a:schemeClr val="accent1"/>
                </a:solidFill>
              </a:rPr>
              <a:t>Humber Region Cluster Case Study </a:t>
            </a:r>
            <a:endParaRPr lang="en-US" sz="2150">
              <a:solidFill>
                <a:schemeClr val="accent1"/>
              </a:solidFill>
              <a:cs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FC76453-780A-806D-A3D0-A641931EC09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8" b="1575"/>
          <a:stretch/>
        </p:blipFill>
        <p:spPr>
          <a:xfrm>
            <a:off x="606611" y="1146711"/>
            <a:ext cx="8940681" cy="493512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867A966-5964-3D99-E53B-6B149A9F0F32}"/>
              </a:ext>
            </a:extLst>
          </p:cNvPr>
          <p:cNvSpPr txBox="1"/>
          <p:nvPr/>
        </p:nvSpPr>
        <p:spPr>
          <a:xfrm>
            <a:off x="9557080" y="1444400"/>
            <a:ext cx="2632225" cy="38164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6000"/>
              </a:lnSpc>
              <a:spcBef>
                <a:spcPts val="2400"/>
              </a:spcBef>
            </a:pPr>
            <a:r>
              <a:rPr lang="en-GB" sz="1333">
                <a:solidFill>
                  <a:srgbClr val="003C71"/>
                </a:solidFill>
              </a:rPr>
              <a:t>Enablers</a:t>
            </a:r>
          </a:p>
          <a:p>
            <a:pPr marL="457189" indent="-457189">
              <a:lnSpc>
                <a:spcPct val="96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GB" sz="1333">
                <a:solidFill>
                  <a:srgbClr val="003C71"/>
                </a:solidFill>
              </a:rPr>
              <a:t>Anchor offshore renewable energy investment </a:t>
            </a:r>
          </a:p>
          <a:p>
            <a:pPr marL="457189" indent="-457189">
              <a:lnSpc>
                <a:spcPct val="96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GB" sz="1333">
                <a:solidFill>
                  <a:srgbClr val="003C71"/>
                </a:solidFill>
              </a:rPr>
              <a:t>Regionally led strategy supporting growth</a:t>
            </a:r>
          </a:p>
          <a:p>
            <a:pPr marL="457189" indent="-457189">
              <a:lnSpc>
                <a:spcPct val="96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GB" sz="1333">
                <a:solidFill>
                  <a:srgbClr val="003C71"/>
                </a:solidFill>
              </a:rPr>
              <a:t>Funding and incentives for development</a:t>
            </a:r>
          </a:p>
          <a:p>
            <a:pPr marL="457189" indent="-457189">
              <a:lnSpc>
                <a:spcPct val="96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GB" sz="1333">
                <a:solidFill>
                  <a:srgbClr val="003C71"/>
                </a:solidFill>
              </a:rPr>
              <a:t>Industry led collaboration</a:t>
            </a:r>
          </a:p>
          <a:p>
            <a:pPr marL="457189" indent="-457189">
              <a:lnSpc>
                <a:spcPct val="96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GB" sz="1333">
                <a:solidFill>
                  <a:srgbClr val="003C71"/>
                </a:solidFill>
              </a:rPr>
              <a:t>Education &amp; training </a:t>
            </a:r>
          </a:p>
          <a:p>
            <a:pPr marL="457189" indent="-457189">
              <a:lnSpc>
                <a:spcPct val="96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GB" sz="1333">
                <a:solidFill>
                  <a:srgbClr val="003C71"/>
                </a:solidFill>
              </a:rPr>
              <a:t>Sustained pipeline</a:t>
            </a:r>
          </a:p>
        </p:txBody>
      </p:sp>
    </p:spTree>
    <p:extLst>
      <p:ext uri="{BB962C8B-B14F-4D97-AF65-F5344CB8AC3E}">
        <p14:creationId xmlns:p14="http://schemas.microsoft.com/office/powerpoint/2010/main" val="40285652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15F805-C616-8766-164C-6B41E2BDF3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/>
              <a:t>Introductions</a:t>
            </a:r>
            <a:br>
              <a:rPr lang="en-IE"/>
            </a:b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72204E-9134-CD72-D827-AAC8789677E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lIns="504000" tIns="378000" rIns="313200" bIns="378000" rtlCol="0" anchor="t">
            <a:noAutofit/>
          </a:bodyPr>
          <a:lstStyle/>
          <a:p>
            <a:pPr marL="342900" indent="-342900">
              <a:lnSpc>
                <a:spcPct val="200000"/>
              </a:lnSpc>
              <a:buAutoNum type="arabicPeriod"/>
            </a:pPr>
            <a:r>
              <a:rPr lang="en-GB" sz="1800" dirty="0">
                <a:solidFill>
                  <a:srgbClr val="003C71"/>
                </a:solidFill>
                <a:latin typeface="Century Gothic"/>
                <a:cs typeface="Arial"/>
              </a:rPr>
              <a:t>Sean Moroney, ESB – </a:t>
            </a:r>
            <a:r>
              <a:rPr lang="en-GB" sz="1800" dirty="0">
                <a:latin typeface="Century Gothic"/>
                <a:cs typeface="Poppins SemiBold"/>
              </a:rPr>
              <a:t>Offshore Community Liaison Officer</a:t>
            </a:r>
            <a:endParaRPr lang="en-GB" sz="1800" dirty="0">
              <a:solidFill>
                <a:srgbClr val="003C71"/>
              </a:solidFill>
              <a:latin typeface="Century Gothic"/>
              <a:cs typeface="Poppins SemiBold"/>
            </a:endParaRPr>
          </a:p>
          <a:p>
            <a:pPr marL="342900" indent="-342900">
              <a:lnSpc>
                <a:spcPct val="200000"/>
              </a:lnSpc>
              <a:buAutoNum type="arabicPeriod"/>
            </a:pPr>
            <a:r>
              <a:rPr lang="en-GB" sz="1800" dirty="0">
                <a:solidFill>
                  <a:srgbClr val="003C71"/>
                </a:solidFill>
                <a:latin typeface="Century Gothic"/>
                <a:cs typeface="Arial"/>
              </a:rPr>
              <a:t>Thomas McHugh, Ørsted – Stakeholder Communications Manager</a:t>
            </a:r>
          </a:p>
          <a:p>
            <a:pPr marL="342900" indent="-342900">
              <a:lnSpc>
                <a:spcPct val="200000"/>
              </a:lnSpc>
              <a:buAutoNum type="arabicPeriod"/>
            </a:pPr>
            <a:r>
              <a:rPr lang="en-GB" sz="1800" dirty="0">
                <a:solidFill>
                  <a:srgbClr val="003C71"/>
                </a:solidFill>
                <a:latin typeface="Century Gothic"/>
                <a:cs typeface="Arial"/>
              </a:rPr>
              <a:t>Keith O’Sullivan, ESB – </a:t>
            </a:r>
            <a:r>
              <a:rPr lang="en-GB" sz="1800" dirty="0">
                <a:latin typeface="Century Gothic"/>
                <a:cs typeface="Poppins SemiBold"/>
              </a:rPr>
              <a:t>Green Energy @ Cork Project </a:t>
            </a:r>
            <a:r>
              <a:rPr lang="en-GB" dirty="0">
                <a:latin typeface="Century Gothic"/>
                <a:cs typeface="Poppins SemiBold"/>
              </a:rPr>
              <a:t>Director</a:t>
            </a:r>
            <a:endParaRPr lang="en-GB" sz="1800" dirty="0">
              <a:cs typeface="Arial"/>
            </a:endParaRP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76E57E3-332A-98F3-A37A-BA30E349C69F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3"/>
          <a:srcRect l="10771" r="10771"/>
          <a:stretch/>
        </p:blipFill>
        <p:spPr>
          <a:xfrm>
            <a:off x="6105525" y="1016000"/>
            <a:ext cx="6086475" cy="5173663"/>
          </a:xfr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9AD488-69B8-F97A-27C6-877FB98D764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2B2877E-69F8-384D-81DD-3406A7BE02DB}" type="datetime1">
              <a:rPr lang="en-IE" smtClean="0"/>
              <a:t>11/04/2024</a:t>
            </a:fld>
            <a:endParaRPr lang="en-I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9F0DED-87E7-7277-63CD-D71E40E05EB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50CC4C1-30AB-9322-75D5-31728FA22D7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4A13BAFD-C6E1-49C5-8C3D-26FF884B8F3D}" type="slidenum">
              <a:rPr lang="en-IE" smtClean="0"/>
              <a:pPr algn="l"/>
              <a:t>2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48192650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99E268-6EE5-AB7E-C92E-892276494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909" y="221194"/>
            <a:ext cx="10673792" cy="711736"/>
          </a:xfrm>
        </p:spPr>
        <p:txBody>
          <a:bodyPr/>
          <a:lstStyle/>
          <a:p>
            <a:r>
              <a:rPr lang="en-GB" b="1" dirty="0"/>
              <a:t>ESB Green Energy @ Cork,  </a:t>
            </a:r>
            <a:r>
              <a:rPr lang="en-GB" b="0" dirty="0"/>
              <a:t> </a:t>
            </a:r>
            <a:r>
              <a:rPr lang="en-GB" b="1" dirty="0"/>
              <a:t>ESB Green Atlantic @ Moneypoint  </a:t>
            </a:r>
            <a:endParaRPr lang="en-GB" b="1" dirty="0">
              <a:highlight>
                <a:srgbClr val="FFFF00"/>
              </a:highlight>
            </a:endParaRPr>
          </a:p>
        </p:txBody>
      </p:sp>
      <p:pic>
        <p:nvPicPr>
          <p:cNvPr id="5" name="Picture 4" descr="An aerial view of a city and water&#10;&#10;Description automatically generated">
            <a:extLst>
              <a:ext uri="{FF2B5EF4-FFF2-40B4-BE49-F238E27FC236}">
                <a16:creationId xmlns:a16="http://schemas.microsoft.com/office/drawing/2014/main" id="{F73E2075-EDBE-9EF1-AFAD-550A5E467C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5487" y="1126153"/>
            <a:ext cx="6711321" cy="5033491"/>
          </a:xfrm>
          <a:prstGeom prst="rect">
            <a:avLst/>
          </a:prstGeom>
          <a:effectLst/>
        </p:spPr>
      </p:pic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9F5721C3-9BF4-768A-D528-33E126F61A9D}"/>
              </a:ext>
            </a:extLst>
          </p:cNvPr>
          <p:cNvSpPr/>
          <p:nvPr/>
        </p:nvSpPr>
        <p:spPr>
          <a:xfrm>
            <a:off x="485192" y="1835533"/>
            <a:ext cx="5610808" cy="3348718"/>
          </a:xfrm>
          <a:prstGeom prst="roundRect">
            <a:avLst>
              <a:gd name="adj" fmla="val 2656"/>
            </a:avLst>
          </a:prstGeom>
          <a:solidFill>
            <a:schemeClr val="tx2"/>
          </a:solidFill>
          <a:ln>
            <a:noFill/>
          </a:ln>
          <a:effectLst>
            <a:outerShdw blurRad="190500" sx="102000" sy="102000" algn="ctr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03210556-C8E4-73BE-AD10-F9D6C54F5139}"/>
              </a:ext>
            </a:extLst>
          </p:cNvPr>
          <p:cNvSpPr txBox="1"/>
          <p:nvPr/>
        </p:nvSpPr>
        <p:spPr>
          <a:xfrm>
            <a:off x="686120" y="2107232"/>
            <a:ext cx="5208952" cy="280532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ct val="150000"/>
              </a:lnSpc>
            </a:pPr>
            <a:r>
              <a:rPr lang="en-GB" sz="2000" kern="100" dirty="0">
                <a:solidFill>
                  <a:schemeClr val="bg1">
                    <a:lumMod val="50000"/>
                  </a:schemeClr>
                </a:solidFill>
                <a:effectLst/>
                <a:latin typeface="Arial"/>
                <a:ea typeface="Calibri"/>
                <a:cs typeface="Arial"/>
              </a:rPr>
              <a:t>ESB Green Energy @ Cork is a </a:t>
            </a:r>
            <a:r>
              <a:rPr lang="en-GB" sz="2000" b="1" kern="100" dirty="0">
                <a:solidFill>
                  <a:schemeClr val="bg1">
                    <a:lumMod val="50000"/>
                  </a:schemeClr>
                </a:solidFill>
                <a:effectLst/>
                <a:latin typeface="Arial"/>
                <a:ea typeface="Calibri"/>
                <a:cs typeface="Arial"/>
              </a:rPr>
              <a:t>regional clean energy cluster</a:t>
            </a:r>
            <a:r>
              <a:rPr lang="en-GB" sz="2000" kern="100" dirty="0">
                <a:solidFill>
                  <a:schemeClr val="bg1">
                    <a:lumMod val="50000"/>
                  </a:schemeClr>
                </a:solidFill>
                <a:effectLst/>
                <a:latin typeface="Arial"/>
                <a:ea typeface="Calibri"/>
                <a:cs typeface="Arial"/>
              </a:rPr>
              <a:t> that uses offshore wind energy to produce green hydrogen and zero-carbon electricity. </a:t>
            </a:r>
          </a:p>
          <a:p>
            <a:pPr>
              <a:lnSpc>
                <a:spcPct val="150000"/>
              </a:lnSpc>
            </a:pPr>
            <a:r>
              <a:rPr lang="en-GB" sz="2000" b="1" kern="100" dirty="0">
                <a:solidFill>
                  <a:schemeClr val="bg1">
                    <a:lumMod val="50000"/>
                  </a:schemeClr>
                </a:solidFill>
                <a:latin typeface="Arial"/>
                <a:ea typeface="Calibri"/>
                <a:cs typeface="Arial"/>
              </a:rPr>
              <a:t>ESB Green Atlantic @ Moneypoint </a:t>
            </a:r>
            <a:r>
              <a:rPr lang="en-GB" sz="2000" kern="100" dirty="0">
                <a:solidFill>
                  <a:schemeClr val="bg1">
                    <a:lumMod val="50000"/>
                  </a:schemeClr>
                </a:solidFill>
                <a:latin typeface="Arial"/>
                <a:ea typeface="Calibri"/>
                <a:cs typeface="Arial"/>
              </a:rPr>
              <a:t>is a proposal for similar at Moneypoint, Co. Clare</a:t>
            </a:r>
            <a:endParaRPr lang="en-GB" sz="2000" kern="100" dirty="0">
              <a:solidFill>
                <a:schemeClr val="bg1">
                  <a:lumMod val="50000"/>
                </a:schemeClr>
              </a:solidFill>
              <a:effectLst/>
              <a:latin typeface="Arial"/>
              <a:ea typeface="Calibri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3507783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463258E-1B46-07EA-C875-0F8BD52140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1071155"/>
            <a:ext cx="5446712" cy="714103"/>
          </a:xfrm>
        </p:spPr>
        <p:txBody>
          <a:bodyPr/>
          <a:lstStyle/>
          <a:p>
            <a:pPr marL="285750" indent="-285750">
              <a:buChar char="•"/>
            </a:pPr>
            <a:r>
              <a:rPr lang="en-GB"/>
              <a:t>Whitegate and Aghada – “Ireland’s Energy Park”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AE10B4-763F-A9F9-D51B-506C1FF7FF2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5938" y="1785258"/>
            <a:ext cx="5974212" cy="4001587"/>
          </a:xfrm>
        </p:spPr>
        <p:txBody>
          <a:bodyPr vert="horz" lIns="0" tIns="46800" rIns="0" bIns="45720" rtlCol="0" anchor="t">
            <a:noAutofit/>
          </a:bodyPr>
          <a:lstStyle/>
          <a:p>
            <a:pPr marL="285750" indent="-285750">
              <a:buChar char="•"/>
            </a:pPr>
            <a:r>
              <a:rPr lang="en-GB"/>
              <a:t>Strategic Employment Location</a:t>
            </a:r>
            <a:endParaRPr lang="en-US"/>
          </a:p>
          <a:p>
            <a:pPr marL="285750" indent="-285750">
              <a:buChar char="•"/>
            </a:pPr>
            <a:r>
              <a:rPr lang="en-GB"/>
              <a:t>Designated Green Energy Park and Nationally Important Role</a:t>
            </a:r>
          </a:p>
          <a:p>
            <a:pPr marL="285750" indent="-285750">
              <a:buChar char="•"/>
            </a:pPr>
            <a:r>
              <a:rPr lang="en-GB"/>
              <a:t>Designated Cork “Harbour Area” of the County, specifically East Cork Growth Corridor</a:t>
            </a:r>
          </a:p>
          <a:p>
            <a:pPr marL="285750" indent="-285750">
              <a:buChar char="•"/>
            </a:pPr>
            <a:r>
              <a:rPr lang="en-GB"/>
              <a:t>Location in the County Metropolitan Cork Strategic Planning Area</a:t>
            </a:r>
          </a:p>
          <a:p>
            <a:pPr marL="285750" indent="-285750">
              <a:buChar char="•"/>
            </a:pPr>
            <a:r>
              <a:rPr lang="en-GB">
                <a:latin typeface="Century Gothic"/>
                <a:cs typeface="Poppins SemiBold"/>
              </a:rPr>
              <a:t>Proximity to Key Growth Areas and Urban Expansion Areas (Midleton)</a:t>
            </a:r>
          </a:p>
          <a:p>
            <a:endParaRPr lang="en-GB"/>
          </a:p>
        </p:txBody>
      </p:sp>
      <p:pic>
        <p:nvPicPr>
          <p:cNvPr id="1026" name="Picture 2" descr="A map of land with different colored areas&#10;&#10;Description automatically generated">
            <a:extLst>
              <a:ext uri="{FF2B5EF4-FFF2-40B4-BE49-F238E27FC236}">
                <a16:creationId xmlns:a16="http://schemas.microsoft.com/office/drawing/2014/main" id="{075262CC-F8BF-60DA-BF60-EFB8454497A3}"/>
              </a:ext>
            </a:extLst>
          </p:cNvPr>
          <p:cNvPicPr>
            <a:picLocks noGrp="1" noChangeAspect="1" noChangeArrowheads="1"/>
          </p:cNvPicPr>
          <p:nvPr>
            <p:ph sz="quarter" idx="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0396" y="1071156"/>
            <a:ext cx="3648417" cy="52058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B5673FFF-93DE-82A5-CB00-3D818892E3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/>
              <a:t>Cork County Development Plan 2022 - 2028</a:t>
            </a:r>
          </a:p>
        </p:txBody>
      </p:sp>
    </p:spTree>
    <p:extLst>
      <p:ext uri="{BB962C8B-B14F-4D97-AF65-F5344CB8AC3E}">
        <p14:creationId xmlns:p14="http://schemas.microsoft.com/office/powerpoint/2010/main" val="35352357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 descr="A logo with text on it&#10;&#10;Description automatically generated">
            <a:extLst>
              <a:ext uri="{FF2B5EF4-FFF2-40B4-BE49-F238E27FC236}">
                <a16:creationId xmlns:a16="http://schemas.microsoft.com/office/drawing/2014/main" id="{7774F26F-D074-6FF5-D185-23E548CED6D3}"/>
              </a:ext>
            </a:extLst>
          </p:cNvPr>
          <p:cNvPicPr>
            <a:picLocks noGrp="1" noChangeAspect="1"/>
          </p:cNvPicPr>
          <p:nvPr>
            <p:ph sz="quarter" idx="1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5548" y="3848618"/>
            <a:ext cx="4849208" cy="2412481"/>
          </a:xfr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BBB1743-6020-F221-1F2A-A01172F9EDF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049" y="-2550"/>
            <a:ext cx="12163064" cy="6870990"/>
          </a:xfrm>
          <a:prstGeom prst="rect">
            <a:avLst/>
          </a:prstGeom>
          <a:ln w="50800">
            <a:solidFill>
              <a:schemeClr val="tx2"/>
            </a:solidFill>
          </a:ln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0533A577-C5FA-B3C2-0804-EAAA1F511610}"/>
              </a:ext>
            </a:extLst>
          </p:cNvPr>
          <p:cNvSpPr txBox="1"/>
          <p:nvPr/>
        </p:nvSpPr>
        <p:spPr>
          <a:xfrm>
            <a:off x="449817" y="6099475"/>
            <a:ext cx="2772540" cy="430887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r>
              <a:rPr lang="en-US" sz="1100" b="1">
                <a:solidFill>
                  <a:schemeClr val="accent1"/>
                </a:solidFill>
              </a:rPr>
              <a:t>H</a:t>
            </a:r>
            <a:r>
              <a:rPr lang="en-US" sz="1100" b="1" baseline="-25000">
                <a:solidFill>
                  <a:schemeClr val="accent1"/>
                </a:solidFill>
              </a:rPr>
              <a:t>2</a:t>
            </a:r>
            <a:r>
              <a:rPr lang="en-US" sz="1100" b="1">
                <a:solidFill>
                  <a:schemeClr val="accent1"/>
                </a:solidFill>
              </a:rPr>
              <a:t> Supply to Cork Renewable Transport Hub &amp; Industrial Off-takers</a:t>
            </a:r>
            <a:endParaRPr lang="en-IE" sz="1100" b="1">
              <a:solidFill>
                <a:schemeClr val="accent1"/>
              </a:solidFill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952DE80-26C6-1B9A-5B26-959A87527E39}"/>
              </a:ext>
            </a:extLst>
          </p:cNvPr>
          <p:cNvCxnSpPr/>
          <p:nvPr/>
        </p:nvCxnSpPr>
        <p:spPr>
          <a:xfrm flipV="1">
            <a:off x="11611411" y="3686818"/>
            <a:ext cx="0" cy="784019"/>
          </a:xfrm>
          <a:prstGeom prst="line">
            <a:avLst/>
          </a:prstGeom>
          <a:ln w="349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3E597FD2-16A1-BF05-5EB3-6D262516C351}"/>
              </a:ext>
            </a:extLst>
          </p:cNvPr>
          <p:cNvSpPr txBox="1"/>
          <p:nvPr/>
        </p:nvSpPr>
        <p:spPr>
          <a:xfrm>
            <a:off x="9116107" y="4216363"/>
            <a:ext cx="2518936" cy="430887"/>
          </a:xfrm>
          <a:prstGeom prst="rect">
            <a:avLst/>
          </a:prstGeom>
          <a:solidFill>
            <a:schemeClr val="tx2"/>
          </a:solidFill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100" b="1">
                <a:solidFill>
                  <a:schemeClr val="accent1"/>
                </a:solidFill>
              </a:rPr>
              <a:t>Green H</a:t>
            </a:r>
            <a:r>
              <a:rPr lang="en-US" sz="1100" b="1" baseline="-25000">
                <a:solidFill>
                  <a:schemeClr val="accent1"/>
                </a:solidFill>
              </a:rPr>
              <a:t>2</a:t>
            </a:r>
            <a:r>
              <a:rPr lang="en-US" sz="1100" b="1">
                <a:solidFill>
                  <a:schemeClr val="accent1"/>
                </a:solidFill>
              </a:rPr>
              <a:t> Production and  E-fuels Pilot Production @Aghada</a:t>
            </a:r>
            <a:endParaRPr lang="en-IE" sz="1100" b="1">
              <a:solidFill>
                <a:schemeClr val="accent1"/>
              </a:solidFill>
              <a:cs typeface="Arial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1FDE777F-716B-A321-5FE9-531251F80FA4}"/>
              </a:ext>
            </a:extLst>
          </p:cNvPr>
          <p:cNvGrpSpPr/>
          <p:nvPr/>
        </p:nvGrpSpPr>
        <p:grpSpPr>
          <a:xfrm>
            <a:off x="4894243" y="1381206"/>
            <a:ext cx="2067363" cy="2192680"/>
            <a:chOff x="4800298" y="953233"/>
            <a:chExt cx="2067363" cy="2192680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05CDFA25-EA42-801C-7563-7D20F39BD126}"/>
                </a:ext>
              </a:extLst>
            </p:cNvPr>
            <p:cNvSpPr txBox="1"/>
            <p:nvPr/>
          </p:nvSpPr>
          <p:spPr>
            <a:xfrm>
              <a:off x="4800298" y="953233"/>
              <a:ext cx="2067363" cy="769441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en-US" sz="1100" b="1">
                  <a:solidFill>
                    <a:schemeClr val="accent1"/>
                  </a:solidFill>
                </a:rPr>
                <a:t>E-fuels, biofuel and Ammonia production from Green H</a:t>
              </a:r>
              <a:r>
                <a:rPr lang="en-US" sz="700" b="1" baseline="-25000">
                  <a:solidFill>
                    <a:schemeClr val="accent1"/>
                  </a:solidFill>
                </a:rPr>
                <a:t>2</a:t>
              </a:r>
              <a:r>
                <a:rPr lang="en-US" sz="1100" b="1">
                  <a:solidFill>
                    <a:schemeClr val="accent1"/>
                  </a:solidFill>
                </a:rPr>
                <a:t> @Irving Oil Refinery Whitegate</a:t>
              </a:r>
              <a:endParaRPr lang="en-US">
                <a:solidFill>
                  <a:schemeClr val="accent1"/>
                </a:solidFill>
              </a:endParaRPr>
            </a:p>
          </p:txBody>
        </p: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449213CC-7441-A587-4258-0BE9EDF5CEA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834426" y="1293338"/>
              <a:ext cx="0" cy="1852575"/>
            </a:xfrm>
            <a:prstGeom prst="line">
              <a:avLst/>
            </a:prstGeom>
            <a:ln w="349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928FC45B-B2CB-687E-88B4-E792AF94223A}"/>
              </a:ext>
            </a:extLst>
          </p:cNvPr>
          <p:cNvGrpSpPr/>
          <p:nvPr/>
        </p:nvGrpSpPr>
        <p:grpSpPr>
          <a:xfrm>
            <a:off x="1469480" y="1893777"/>
            <a:ext cx="1912561" cy="1965159"/>
            <a:chOff x="1469480" y="1893777"/>
            <a:chExt cx="1912561" cy="1965159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1F7B28DC-A124-345C-0F83-C4D2E10B9EC0}"/>
                </a:ext>
              </a:extLst>
            </p:cNvPr>
            <p:cNvSpPr txBox="1"/>
            <p:nvPr/>
          </p:nvSpPr>
          <p:spPr>
            <a:xfrm>
              <a:off x="1469480" y="1893777"/>
              <a:ext cx="1912561" cy="600164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en-US" sz="1100" b="1">
                  <a:solidFill>
                    <a:schemeClr val="accent1"/>
                  </a:solidFill>
                </a:rPr>
                <a:t>Ammonia and/or H</a:t>
              </a:r>
              <a:r>
                <a:rPr lang="en-US" sz="1100" b="1" baseline="-25000">
                  <a:solidFill>
                    <a:schemeClr val="accent1"/>
                  </a:solidFill>
                </a:rPr>
                <a:t>2</a:t>
              </a:r>
              <a:r>
                <a:rPr lang="en-US" sz="1100" b="1">
                  <a:solidFill>
                    <a:schemeClr val="accent1"/>
                  </a:solidFill>
                </a:rPr>
                <a:t> fueled generation @Whitegate Power</a:t>
              </a:r>
              <a:endParaRPr lang="en-IE" sz="1100" b="1">
                <a:solidFill>
                  <a:schemeClr val="accent1"/>
                </a:solidFill>
              </a:endParaRPr>
            </a:p>
          </p:txBody>
        </p: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B84C4A91-65C9-99CF-97CF-1F871191BCA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369638" y="1904920"/>
              <a:ext cx="0" cy="1954016"/>
            </a:xfrm>
            <a:prstGeom prst="line">
              <a:avLst/>
            </a:prstGeom>
            <a:ln w="349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F40D9509-48C8-F5E0-4855-57282AA14F71}"/>
              </a:ext>
            </a:extLst>
          </p:cNvPr>
          <p:cNvSpPr txBox="1"/>
          <p:nvPr/>
        </p:nvSpPr>
        <p:spPr>
          <a:xfrm>
            <a:off x="2706496" y="5146816"/>
            <a:ext cx="2961885" cy="600164"/>
          </a:xfrm>
          <a:prstGeom prst="rect">
            <a:avLst/>
          </a:prstGeom>
          <a:solidFill>
            <a:schemeClr val="tx2"/>
          </a:solidFill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>
              <a:defRPr sz="11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Ireland's First Gas transmission line repurposed for H</a:t>
            </a:r>
            <a:r>
              <a:rPr lang="en-US" sz="700" baseline="-25000"/>
              <a:t>2</a:t>
            </a:r>
            <a:r>
              <a:rPr lang="en-US"/>
              <a:t>  Pipeline - connecting producers and consumers</a:t>
            </a:r>
            <a:endParaRPr lang="en-IE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128426E-68D5-E1F7-7B84-5BA5E49BF292}"/>
              </a:ext>
            </a:extLst>
          </p:cNvPr>
          <p:cNvSpPr txBox="1"/>
          <p:nvPr/>
        </p:nvSpPr>
        <p:spPr>
          <a:xfrm>
            <a:off x="7989799" y="2077096"/>
            <a:ext cx="2330589" cy="600164"/>
          </a:xfrm>
          <a:prstGeom prst="rect">
            <a:avLst/>
          </a:prstGeom>
          <a:solidFill>
            <a:schemeClr val="tx2"/>
          </a:solidFill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100" b="1">
                <a:solidFill>
                  <a:schemeClr val="accent1"/>
                </a:solidFill>
              </a:rPr>
              <a:t>Battery Energy Storage </a:t>
            </a:r>
            <a:endParaRPr lang="en-US">
              <a:solidFill>
                <a:schemeClr val="accent1"/>
              </a:solidFill>
            </a:endParaRPr>
          </a:p>
          <a:p>
            <a:r>
              <a:rPr lang="en-US" sz="1100" b="1">
                <a:solidFill>
                  <a:schemeClr val="accent1"/>
                </a:solidFill>
              </a:rPr>
              <a:t>H</a:t>
            </a:r>
            <a:r>
              <a:rPr lang="en-US" sz="1100" b="1" baseline="-25000">
                <a:solidFill>
                  <a:schemeClr val="accent1"/>
                </a:solidFill>
              </a:rPr>
              <a:t>2</a:t>
            </a:r>
            <a:r>
              <a:rPr lang="en-US" sz="1100" b="1">
                <a:solidFill>
                  <a:schemeClr val="accent1"/>
                </a:solidFill>
              </a:rPr>
              <a:t> fueled generation @Aghada</a:t>
            </a:r>
            <a:endParaRPr lang="en-US">
              <a:solidFill>
                <a:schemeClr val="accent1"/>
              </a:solidFill>
              <a:cs typeface="Arial"/>
            </a:endParaRPr>
          </a:p>
          <a:p>
            <a:endParaRPr lang="en-US" sz="1100" b="1">
              <a:solidFill>
                <a:schemeClr val="accent1"/>
              </a:solidFill>
              <a:cs typeface="Arial"/>
            </a:endParaRP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4985996F-FC7A-EF28-74E2-F8ABFFECC62D}"/>
              </a:ext>
            </a:extLst>
          </p:cNvPr>
          <p:cNvCxnSpPr/>
          <p:nvPr/>
        </p:nvCxnSpPr>
        <p:spPr>
          <a:xfrm flipV="1">
            <a:off x="10307234" y="2092508"/>
            <a:ext cx="0" cy="784019"/>
          </a:xfrm>
          <a:prstGeom prst="line">
            <a:avLst/>
          </a:prstGeom>
          <a:ln w="349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733E8A2-E993-EAD5-95BC-BC9C8074645E}"/>
              </a:ext>
            </a:extLst>
          </p:cNvPr>
          <p:cNvCxnSpPr/>
          <p:nvPr/>
        </p:nvCxnSpPr>
        <p:spPr>
          <a:xfrm flipV="1">
            <a:off x="3200568" y="5736542"/>
            <a:ext cx="0" cy="784019"/>
          </a:xfrm>
          <a:prstGeom prst="line">
            <a:avLst/>
          </a:prstGeom>
          <a:ln w="349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252F79FA-3E2E-1444-9308-2ADE76831CCC}"/>
              </a:ext>
            </a:extLst>
          </p:cNvPr>
          <p:cNvSpPr txBox="1"/>
          <p:nvPr/>
        </p:nvSpPr>
        <p:spPr>
          <a:xfrm>
            <a:off x="4707907" y="6177926"/>
            <a:ext cx="2386322" cy="261610"/>
          </a:xfrm>
          <a:prstGeom prst="rect">
            <a:avLst/>
          </a:prstGeom>
          <a:solidFill>
            <a:schemeClr val="tx2"/>
          </a:solidFill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100" b="1">
                <a:solidFill>
                  <a:schemeClr val="accent1"/>
                </a:solidFill>
              </a:rPr>
              <a:t>H</a:t>
            </a:r>
            <a:r>
              <a:rPr lang="en-US" sz="1100" b="1" baseline="-25000">
                <a:solidFill>
                  <a:schemeClr val="accent1"/>
                </a:solidFill>
              </a:rPr>
              <a:t>2</a:t>
            </a:r>
            <a:r>
              <a:rPr lang="en-US" sz="1100" b="1">
                <a:solidFill>
                  <a:schemeClr val="accent1"/>
                </a:solidFill>
              </a:rPr>
              <a:t> Stored @Project KESTREL</a:t>
            </a:r>
            <a:endParaRPr lang="en-US" sz="1100" b="1">
              <a:solidFill>
                <a:schemeClr val="accent1"/>
              </a:solidFill>
              <a:cs typeface="Arial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43DBBD0-BE50-2049-2AFB-205761C2718F}"/>
              </a:ext>
            </a:extLst>
          </p:cNvPr>
          <p:cNvCxnSpPr/>
          <p:nvPr/>
        </p:nvCxnSpPr>
        <p:spPr>
          <a:xfrm flipH="1" flipV="1">
            <a:off x="5232290" y="5634788"/>
            <a:ext cx="10438" cy="585691"/>
          </a:xfrm>
          <a:prstGeom prst="line">
            <a:avLst/>
          </a:prstGeom>
          <a:ln w="349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2">
            <a:extLst>
              <a:ext uri="{FF2B5EF4-FFF2-40B4-BE49-F238E27FC236}">
                <a16:creationId xmlns:a16="http://schemas.microsoft.com/office/drawing/2014/main" id="{22F38053-8B53-B632-F0D7-1C533A090C0F}"/>
              </a:ext>
            </a:extLst>
          </p:cNvPr>
          <p:cNvSpPr txBox="1"/>
          <p:nvPr/>
        </p:nvSpPr>
        <p:spPr>
          <a:xfrm>
            <a:off x="35378" y="4093520"/>
            <a:ext cx="3012409" cy="461665"/>
          </a:xfrm>
          <a:prstGeom prst="rect">
            <a:avLst/>
          </a:prstGeom>
          <a:solidFill>
            <a:schemeClr val="tx1">
              <a:lumMod val="75000"/>
            </a:schemeClr>
          </a:solidFill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>
                <a:solidFill>
                  <a:schemeClr val="tx2"/>
                </a:solidFill>
              </a:rPr>
              <a:t>Subsea Electricity Cables bringing </a:t>
            </a:r>
            <a:endParaRPr lang="en-US" sz="1200" b="1">
              <a:solidFill>
                <a:schemeClr val="tx2"/>
              </a:solidFill>
              <a:cs typeface="Arial"/>
            </a:endParaRPr>
          </a:p>
          <a:p>
            <a:r>
              <a:rPr lang="en-US" sz="1200" b="1">
                <a:solidFill>
                  <a:schemeClr val="tx2"/>
                </a:solidFill>
              </a:rPr>
              <a:t>Offshore Wind to Energy Park</a:t>
            </a:r>
            <a:endParaRPr lang="en-IE" sz="1200" b="1">
              <a:solidFill>
                <a:schemeClr val="tx2"/>
              </a:solidFill>
              <a:cs typeface="Arial"/>
            </a:endParaRPr>
          </a:p>
        </p:txBody>
      </p:sp>
      <p:sp>
        <p:nvSpPr>
          <p:cNvPr id="15" name="TextBox 3">
            <a:extLst>
              <a:ext uri="{FF2B5EF4-FFF2-40B4-BE49-F238E27FC236}">
                <a16:creationId xmlns:a16="http://schemas.microsoft.com/office/drawing/2014/main" id="{4938230C-7941-7ED2-8BB2-E4BEAA9A08D9}"/>
              </a:ext>
            </a:extLst>
          </p:cNvPr>
          <p:cNvSpPr txBox="1"/>
          <p:nvPr/>
        </p:nvSpPr>
        <p:spPr>
          <a:xfrm>
            <a:off x="33369" y="4611176"/>
            <a:ext cx="2993127" cy="461665"/>
          </a:xfrm>
          <a:prstGeom prst="rect">
            <a:avLst/>
          </a:prstGeom>
          <a:solidFill>
            <a:srgbClr val="FFC000"/>
          </a:solidFill>
        </p:spPr>
        <p:txBody>
          <a:bodyPr wrap="non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>
                <a:solidFill>
                  <a:schemeClr val="tx2"/>
                </a:solidFill>
              </a:rPr>
              <a:t>Hydrogen Pipeline connecting Kinsale</a:t>
            </a:r>
            <a:endParaRPr lang="en-US" sz="1200" b="1">
              <a:solidFill>
                <a:schemeClr val="tx2"/>
              </a:solidFill>
              <a:cs typeface="Arial"/>
            </a:endParaRPr>
          </a:p>
          <a:p>
            <a:r>
              <a:rPr lang="en-US" sz="1200" b="1">
                <a:solidFill>
                  <a:schemeClr val="tx2"/>
                </a:solidFill>
              </a:rPr>
              <a:t>Gas Field storage and Whitegate</a:t>
            </a:r>
            <a:endParaRPr lang="en-IE" sz="1200" b="1">
              <a:solidFill>
                <a:schemeClr val="tx2"/>
              </a:solidFill>
              <a:cs typeface="Arial"/>
            </a:endParaRPr>
          </a:p>
        </p:txBody>
      </p:sp>
      <p:pic>
        <p:nvPicPr>
          <p:cNvPr id="27" name="Picture 26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DCE4F1F8-7DE4-5DE0-0FF4-3D9765C8749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81595" y="5465132"/>
            <a:ext cx="914400" cy="666750"/>
          </a:xfrm>
          <a:prstGeom prst="rect">
            <a:avLst/>
          </a:prstGeom>
        </p:spPr>
      </p:pic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162A9A56-491E-94CD-2271-C1FB11C7EB29}"/>
              </a:ext>
            </a:extLst>
          </p:cNvPr>
          <p:cNvSpPr/>
          <p:nvPr/>
        </p:nvSpPr>
        <p:spPr>
          <a:xfrm>
            <a:off x="9456973" y="5525870"/>
            <a:ext cx="1273479" cy="657616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 descr="A logo with text on it&#10;&#10;Description automatically generated">
            <a:extLst>
              <a:ext uri="{FF2B5EF4-FFF2-40B4-BE49-F238E27FC236}">
                <a16:creationId xmlns:a16="http://schemas.microsoft.com/office/drawing/2014/main" id="{EC77F98F-7798-2084-BFE7-7F68FAF23D05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38426" y="5558998"/>
            <a:ext cx="1113109" cy="549055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847431E3-C5CA-62BB-2A46-EB39BB30AF3B}"/>
              </a:ext>
            </a:extLst>
          </p:cNvPr>
          <p:cNvSpPr txBox="1"/>
          <p:nvPr/>
        </p:nvSpPr>
        <p:spPr>
          <a:xfrm>
            <a:off x="2242692" y="121094"/>
            <a:ext cx="7816240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>
                <a:solidFill>
                  <a:srgbClr val="002060"/>
                </a:solidFill>
                <a:latin typeface="Calibri"/>
                <a:ea typeface="Calibri"/>
                <a:cs typeface="Calibri"/>
              </a:rPr>
              <a:t>Green Energy @ Cork integrating with a regional vision</a:t>
            </a:r>
            <a:endParaRPr lang="en-US" sz="2400">
              <a:solidFill>
                <a:srgbClr val="002060"/>
              </a:solidFill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A62D4E26-8298-4831-B278-BCBAB72728CB}"/>
              </a:ext>
            </a:extLst>
          </p:cNvPr>
          <p:cNvSpPr/>
          <p:nvPr/>
        </p:nvSpPr>
        <p:spPr>
          <a:xfrm>
            <a:off x="7951894" y="6263196"/>
            <a:ext cx="3827720" cy="540488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66B98D0E-FBEE-8C56-E43E-6C6F701C7BBD}"/>
              </a:ext>
            </a:extLst>
          </p:cNvPr>
          <p:cNvGrpSpPr/>
          <p:nvPr/>
        </p:nvGrpSpPr>
        <p:grpSpPr>
          <a:xfrm>
            <a:off x="7992377" y="6263452"/>
            <a:ext cx="3756215" cy="564229"/>
            <a:chOff x="7992377" y="6263452"/>
            <a:chExt cx="3756215" cy="564229"/>
          </a:xfrm>
        </p:grpSpPr>
        <p:pic>
          <p:nvPicPr>
            <p:cNvPr id="42" name="Picture 41" descr="A logo of a company&#10;&#10;Description automatically generated">
              <a:extLst>
                <a:ext uri="{FF2B5EF4-FFF2-40B4-BE49-F238E27FC236}">
                  <a16:creationId xmlns:a16="http://schemas.microsoft.com/office/drawing/2014/main" id="{D4CF6A31-30E6-DE56-6F1A-ABA6E94434A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11017"/>
            <a:stretch/>
          </p:blipFill>
          <p:spPr>
            <a:xfrm>
              <a:off x="11172734" y="6263849"/>
              <a:ext cx="575858" cy="563832"/>
            </a:xfrm>
            <a:prstGeom prst="rect">
              <a:avLst/>
            </a:prstGeom>
          </p:spPr>
        </p:pic>
        <p:pic>
          <p:nvPicPr>
            <p:cNvPr id="5" name="Picture 4" descr="A logo of a company&#10;&#10;Description automatically generated">
              <a:extLst>
                <a:ext uri="{FF2B5EF4-FFF2-40B4-BE49-F238E27FC236}">
                  <a16:creationId xmlns:a16="http://schemas.microsoft.com/office/drawing/2014/main" id="{2B4DDEEA-3506-70F3-85DA-86BA116E73B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7241"/>
            <a:stretch/>
          </p:blipFill>
          <p:spPr>
            <a:xfrm>
              <a:off x="7992377" y="6263452"/>
              <a:ext cx="3177102" cy="55916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4988744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CF255E-8303-8F16-F128-3ECBE6DC6B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Green Energy @ Cork</a:t>
            </a:r>
            <a:endParaRPr lang="en-I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CDEC117-D8F0-33AF-6E59-D3909B1D19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BBDA9F-F6B3-154A-B833-69A19C913B3E}" type="datetime1">
              <a:rPr lang="en-IE" smtClean="0"/>
              <a:t>11/04/2024</a:t>
            </a:fld>
            <a:endParaRPr lang="en-I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4D36184-4FFB-4F90-9CEC-65A3524B5F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6B05835-1C23-7EFD-E8CA-766BC20A5F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13BAFD-C6E1-49C5-8C3D-26FF884B8F3D}" type="slidenum">
              <a:rPr lang="en-IE" smtClean="0"/>
              <a:t>23</a:t>
            </a:fld>
            <a:endParaRPr lang="en-IE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FDB02FC-5676-3457-82F3-9C1D9836B241}"/>
              </a:ext>
            </a:extLst>
          </p:cNvPr>
          <p:cNvGrpSpPr>
            <a:grpSpLocks/>
          </p:cNvGrpSpPr>
          <p:nvPr/>
        </p:nvGrpSpPr>
        <p:grpSpPr>
          <a:xfrm>
            <a:off x="4105696" y="1582597"/>
            <a:ext cx="3824262" cy="3813996"/>
            <a:chOff x="6238241" y="920222"/>
            <a:chExt cx="11907520" cy="11875556"/>
          </a:xfrm>
        </p:grpSpPr>
        <p:sp>
          <p:nvSpPr>
            <p:cNvPr id="7" name="Freeform 68">
              <a:extLst>
                <a:ext uri="{FF2B5EF4-FFF2-40B4-BE49-F238E27FC236}">
                  <a16:creationId xmlns:a16="http://schemas.microsoft.com/office/drawing/2014/main" id="{F1BF889F-66C7-9D07-F5E2-1F0EBF081F98}"/>
                </a:ext>
              </a:extLst>
            </p:cNvPr>
            <p:cNvSpPr>
              <a:spLocks/>
            </p:cNvSpPr>
            <p:nvPr/>
          </p:nvSpPr>
          <p:spPr bwMode="auto">
            <a:xfrm>
              <a:off x="7522951" y="1188668"/>
              <a:ext cx="4333493" cy="3611244"/>
            </a:xfrm>
            <a:custGeom>
              <a:avLst/>
              <a:gdLst>
                <a:gd name="T0" fmla="*/ 10 w 287"/>
                <a:gd name="T1" fmla="*/ 178 h 239"/>
                <a:gd name="T2" fmla="*/ 110 w 287"/>
                <a:gd name="T3" fmla="*/ 236 h 239"/>
                <a:gd name="T4" fmla="*/ 121 w 287"/>
                <a:gd name="T5" fmla="*/ 239 h 239"/>
                <a:gd name="T6" fmla="*/ 121 w 287"/>
                <a:gd name="T7" fmla="*/ 239 h 239"/>
                <a:gd name="T8" fmla="*/ 142 w 287"/>
                <a:gd name="T9" fmla="*/ 229 h 239"/>
                <a:gd name="T10" fmla="*/ 265 w 287"/>
                <a:gd name="T11" fmla="*/ 158 h 239"/>
                <a:gd name="T12" fmla="*/ 287 w 287"/>
                <a:gd name="T13" fmla="*/ 134 h 239"/>
                <a:gd name="T14" fmla="*/ 287 w 287"/>
                <a:gd name="T15" fmla="*/ 18 h 239"/>
                <a:gd name="T16" fmla="*/ 269 w 287"/>
                <a:gd name="T17" fmla="*/ 0 h 239"/>
                <a:gd name="T18" fmla="*/ 268 w 287"/>
                <a:gd name="T19" fmla="*/ 0 h 239"/>
                <a:gd name="T20" fmla="*/ 4 w 287"/>
                <a:gd name="T21" fmla="*/ 152 h 239"/>
                <a:gd name="T22" fmla="*/ 1 w 287"/>
                <a:gd name="T23" fmla="*/ 166 h 239"/>
                <a:gd name="T24" fmla="*/ 10 w 287"/>
                <a:gd name="T25" fmla="*/ 178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7" h="239">
                  <a:moveTo>
                    <a:pt x="10" y="178"/>
                  </a:moveTo>
                  <a:cubicBezTo>
                    <a:pt x="110" y="236"/>
                    <a:pt x="110" y="236"/>
                    <a:pt x="110" y="236"/>
                  </a:cubicBezTo>
                  <a:cubicBezTo>
                    <a:pt x="114" y="238"/>
                    <a:pt x="117" y="239"/>
                    <a:pt x="121" y="239"/>
                  </a:cubicBezTo>
                  <a:cubicBezTo>
                    <a:pt x="121" y="239"/>
                    <a:pt x="121" y="239"/>
                    <a:pt x="121" y="239"/>
                  </a:cubicBezTo>
                  <a:cubicBezTo>
                    <a:pt x="129" y="239"/>
                    <a:pt x="137" y="235"/>
                    <a:pt x="142" y="229"/>
                  </a:cubicBezTo>
                  <a:cubicBezTo>
                    <a:pt x="174" y="193"/>
                    <a:pt x="218" y="168"/>
                    <a:pt x="265" y="158"/>
                  </a:cubicBezTo>
                  <a:cubicBezTo>
                    <a:pt x="277" y="156"/>
                    <a:pt x="287" y="145"/>
                    <a:pt x="287" y="134"/>
                  </a:cubicBezTo>
                  <a:cubicBezTo>
                    <a:pt x="287" y="18"/>
                    <a:pt x="287" y="18"/>
                    <a:pt x="287" y="18"/>
                  </a:cubicBezTo>
                  <a:cubicBezTo>
                    <a:pt x="287" y="8"/>
                    <a:pt x="279" y="0"/>
                    <a:pt x="269" y="0"/>
                  </a:cubicBezTo>
                  <a:cubicBezTo>
                    <a:pt x="269" y="0"/>
                    <a:pt x="268" y="0"/>
                    <a:pt x="268" y="0"/>
                  </a:cubicBezTo>
                  <a:cubicBezTo>
                    <a:pt x="163" y="11"/>
                    <a:pt x="67" y="67"/>
                    <a:pt x="4" y="152"/>
                  </a:cubicBezTo>
                  <a:cubicBezTo>
                    <a:pt x="1" y="156"/>
                    <a:pt x="0" y="161"/>
                    <a:pt x="1" y="166"/>
                  </a:cubicBezTo>
                  <a:cubicBezTo>
                    <a:pt x="2" y="171"/>
                    <a:pt x="5" y="175"/>
                    <a:pt x="10" y="178"/>
                  </a:cubicBezTo>
                  <a:close/>
                </a:path>
              </a:pathLst>
            </a:custGeom>
            <a:solidFill>
              <a:srgbClr val="00A1E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endParaRPr lang="en-US" sz="4800"/>
            </a:p>
          </p:txBody>
        </p:sp>
        <p:sp>
          <p:nvSpPr>
            <p:cNvPr id="8" name="Freeform 63">
              <a:extLst>
                <a:ext uri="{FF2B5EF4-FFF2-40B4-BE49-F238E27FC236}">
                  <a16:creationId xmlns:a16="http://schemas.microsoft.com/office/drawing/2014/main" id="{F92ACFAC-2ABC-8756-9A37-BB0F52219E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01505" y="4410024"/>
              <a:ext cx="2601376" cy="4908732"/>
            </a:xfrm>
            <a:custGeom>
              <a:avLst/>
              <a:gdLst>
                <a:gd name="T0" fmla="*/ 124 w 172"/>
                <a:gd name="T1" fmla="*/ 0 h 325"/>
                <a:gd name="T2" fmla="*/ 114 w 172"/>
                <a:gd name="T3" fmla="*/ 3 h 325"/>
                <a:gd name="T4" fmla="*/ 14 w 172"/>
                <a:gd name="T5" fmla="*/ 61 h 325"/>
                <a:gd name="T6" fmla="*/ 4 w 172"/>
                <a:gd name="T7" fmla="*/ 91 h 325"/>
                <a:gd name="T8" fmla="*/ 16 w 172"/>
                <a:gd name="T9" fmla="*/ 163 h 325"/>
                <a:gd name="T10" fmla="*/ 4 w 172"/>
                <a:gd name="T11" fmla="*/ 234 h 325"/>
                <a:gd name="T12" fmla="*/ 14 w 172"/>
                <a:gd name="T13" fmla="*/ 264 h 325"/>
                <a:gd name="T14" fmla="*/ 114 w 172"/>
                <a:gd name="T15" fmla="*/ 323 h 325"/>
                <a:gd name="T16" fmla="*/ 124 w 172"/>
                <a:gd name="T17" fmla="*/ 325 h 325"/>
                <a:gd name="T18" fmla="*/ 140 w 172"/>
                <a:gd name="T19" fmla="*/ 315 h 325"/>
                <a:gd name="T20" fmla="*/ 172 w 172"/>
                <a:gd name="T21" fmla="*/ 163 h 325"/>
                <a:gd name="T22" fmla="*/ 140 w 172"/>
                <a:gd name="T23" fmla="*/ 11 h 325"/>
                <a:gd name="T24" fmla="*/ 124 w 172"/>
                <a:gd name="T25" fmla="*/ 0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2" h="325">
                  <a:moveTo>
                    <a:pt x="124" y="0"/>
                  </a:moveTo>
                  <a:cubicBezTo>
                    <a:pt x="121" y="0"/>
                    <a:pt x="117" y="1"/>
                    <a:pt x="114" y="3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4" y="67"/>
                    <a:pt x="0" y="80"/>
                    <a:pt x="4" y="91"/>
                  </a:cubicBezTo>
                  <a:cubicBezTo>
                    <a:pt x="12" y="114"/>
                    <a:pt x="16" y="138"/>
                    <a:pt x="16" y="163"/>
                  </a:cubicBezTo>
                  <a:cubicBezTo>
                    <a:pt x="16" y="187"/>
                    <a:pt x="12" y="211"/>
                    <a:pt x="4" y="234"/>
                  </a:cubicBezTo>
                  <a:cubicBezTo>
                    <a:pt x="0" y="246"/>
                    <a:pt x="4" y="259"/>
                    <a:pt x="14" y="264"/>
                  </a:cubicBezTo>
                  <a:cubicBezTo>
                    <a:pt x="114" y="323"/>
                    <a:pt x="114" y="323"/>
                    <a:pt x="114" y="323"/>
                  </a:cubicBezTo>
                  <a:cubicBezTo>
                    <a:pt x="117" y="324"/>
                    <a:pt x="121" y="325"/>
                    <a:pt x="124" y="325"/>
                  </a:cubicBezTo>
                  <a:cubicBezTo>
                    <a:pt x="131" y="325"/>
                    <a:pt x="137" y="321"/>
                    <a:pt x="140" y="315"/>
                  </a:cubicBezTo>
                  <a:cubicBezTo>
                    <a:pt x="161" y="267"/>
                    <a:pt x="172" y="216"/>
                    <a:pt x="172" y="163"/>
                  </a:cubicBezTo>
                  <a:cubicBezTo>
                    <a:pt x="172" y="110"/>
                    <a:pt x="161" y="59"/>
                    <a:pt x="140" y="11"/>
                  </a:cubicBezTo>
                  <a:cubicBezTo>
                    <a:pt x="137" y="4"/>
                    <a:pt x="131" y="0"/>
                    <a:pt x="124" y="0"/>
                  </a:cubicBezTo>
                  <a:close/>
                </a:path>
              </a:pathLst>
            </a:custGeom>
            <a:solidFill>
              <a:srgbClr val="003C7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endParaRPr lang="en-US" sz="4800"/>
            </a:p>
          </p:txBody>
        </p:sp>
        <p:sp>
          <p:nvSpPr>
            <p:cNvPr id="9" name="Freeform 64">
              <a:extLst>
                <a:ext uri="{FF2B5EF4-FFF2-40B4-BE49-F238E27FC236}">
                  <a16:creationId xmlns:a16="http://schemas.microsoft.com/office/drawing/2014/main" id="{8EA4ED65-3D47-9903-0B12-DC69C57E8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7522951" y="8941654"/>
              <a:ext cx="4333493" cy="3611244"/>
            </a:xfrm>
            <a:custGeom>
              <a:avLst/>
              <a:gdLst>
                <a:gd name="T0" fmla="*/ 269 w 287"/>
                <a:gd name="T1" fmla="*/ 239 h 239"/>
                <a:gd name="T2" fmla="*/ 282 w 287"/>
                <a:gd name="T3" fmla="*/ 233 h 239"/>
                <a:gd name="T4" fmla="*/ 287 w 287"/>
                <a:gd name="T5" fmla="*/ 221 h 239"/>
                <a:gd name="T6" fmla="*/ 287 w 287"/>
                <a:gd name="T7" fmla="*/ 104 h 239"/>
                <a:gd name="T8" fmla="*/ 265 w 287"/>
                <a:gd name="T9" fmla="*/ 80 h 239"/>
                <a:gd name="T10" fmla="*/ 142 w 287"/>
                <a:gd name="T11" fmla="*/ 9 h 239"/>
                <a:gd name="T12" fmla="*/ 121 w 287"/>
                <a:gd name="T13" fmla="*/ 0 h 239"/>
                <a:gd name="T14" fmla="*/ 110 w 287"/>
                <a:gd name="T15" fmla="*/ 3 h 239"/>
                <a:gd name="T16" fmla="*/ 10 w 287"/>
                <a:gd name="T17" fmla="*/ 61 h 239"/>
                <a:gd name="T18" fmla="*/ 1 w 287"/>
                <a:gd name="T19" fmla="*/ 73 h 239"/>
                <a:gd name="T20" fmla="*/ 4 w 287"/>
                <a:gd name="T21" fmla="*/ 86 h 239"/>
                <a:gd name="T22" fmla="*/ 268 w 287"/>
                <a:gd name="T23" fmla="*/ 239 h 239"/>
                <a:gd name="T24" fmla="*/ 269 w 287"/>
                <a:gd name="T25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7" h="239">
                  <a:moveTo>
                    <a:pt x="269" y="239"/>
                  </a:moveTo>
                  <a:cubicBezTo>
                    <a:pt x="274" y="239"/>
                    <a:pt x="278" y="237"/>
                    <a:pt x="282" y="233"/>
                  </a:cubicBezTo>
                  <a:cubicBezTo>
                    <a:pt x="285" y="230"/>
                    <a:pt x="287" y="225"/>
                    <a:pt x="287" y="221"/>
                  </a:cubicBezTo>
                  <a:cubicBezTo>
                    <a:pt x="287" y="104"/>
                    <a:pt x="287" y="104"/>
                    <a:pt x="287" y="104"/>
                  </a:cubicBezTo>
                  <a:cubicBezTo>
                    <a:pt x="287" y="93"/>
                    <a:pt x="277" y="83"/>
                    <a:pt x="265" y="80"/>
                  </a:cubicBezTo>
                  <a:cubicBezTo>
                    <a:pt x="218" y="71"/>
                    <a:pt x="174" y="46"/>
                    <a:pt x="142" y="9"/>
                  </a:cubicBezTo>
                  <a:cubicBezTo>
                    <a:pt x="137" y="3"/>
                    <a:pt x="129" y="0"/>
                    <a:pt x="121" y="0"/>
                  </a:cubicBezTo>
                  <a:cubicBezTo>
                    <a:pt x="117" y="0"/>
                    <a:pt x="114" y="1"/>
                    <a:pt x="110" y="3"/>
                  </a:cubicBezTo>
                  <a:cubicBezTo>
                    <a:pt x="10" y="61"/>
                    <a:pt x="10" y="61"/>
                    <a:pt x="10" y="61"/>
                  </a:cubicBezTo>
                  <a:cubicBezTo>
                    <a:pt x="5" y="63"/>
                    <a:pt x="2" y="68"/>
                    <a:pt x="1" y="73"/>
                  </a:cubicBezTo>
                  <a:cubicBezTo>
                    <a:pt x="0" y="77"/>
                    <a:pt x="1" y="82"/>
                    <a:pt x="4" y="86"/>
                  </a:cubicBezTo>
                  <a:cubicBezTo>
                    <a:pt x="67" y="172"/>
                    <a:pt x="163" y="227"/>
                    <a:pt x="268" y="239"/>
                  </a:cubicBezTo>
                  <a:cubicBezTo>
                    <a:pt x="268" y="239"/>
                    <a:pt x="269" y="239"/>
                    <a:pt x="269" y="23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endParaRPr lang="en-US" sz="4800"/>
            </a:p>
          </p:txBody>
        </p:sp>
        <p:sp>
          <p:nvSpPr>
            <p:cNvPr id="10" name="Freeform 65">
              <a:extLst>
                <a:ext uri="{FF2B5EF4-FFF2-40B4-BE49-F238E27FC236}">
                  <a16:creationId xmlns:a16="http://schemas.microsoft.com/office/drawing/2014/main" id="{9AABC0DE-25CC-17E3-B6D6-9766749095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21168" y="1188668"/>
              <a:ext cx="4320710" cy="3611244"/>
            </a:xfrm>
            <a:custGeom>
              <a:avLst/>
              <a:gdLst>
                <a:gd name="T0" fmla="*/ 21 w 286"/>
                <a:gd name="T1" fmla="*/ 158 h 239"/>
                <a:gd name="T2" fmla="*/ 144 w 286"/>
                <a:gd name="T3" fmla="*/ 229 h 239"/>
                <a:gd name="T4" fmla="*/ 165 w 286"/>
                <a:gd name="T5" fmla="*/ 239 h 239"/>
                <a:gd name="T6" fmla="*/ 165 w 286"/>
                <a:gd name="T7" fmla="*/ 239 h 239"/>
                <a:gd name="T8" fmla="*/ 176 w 286"/>
                <a:gd name="T9" fmla="*/ 236 h 239"/>
                <a:gd name="T10" fmla="*/ 276 w 286"/>
                <a:gd name="T11" fmla="*/ 178 h 239"/>
                <a:gd name="T12" fmla="*/ 285 w 286"/>
                <a:gd name="T13" fmla="*/ 166 h 239"/>
                <a:gd name="T14" fmla="*/ 282 w 286"/>
                <a:gd name="T15" fmla="*/ 152 h 239"/>
                <a:gd name="T16" fmla="*/ 19 w 286"/>
                <a:gd name="T17" fmla="*/ 0 h 239"/>
                <a:gd name="T18" fmla="*/ 17 w 286"/>
                <a:gd name="T19" fmla="*/ 0 h 239"/>
                <a:gd name="T20" fmla="*/ 0 w 286"/>
                <a:gd name="T21" fmla="*/ 18 h 239"/>
                <a:gd name="T22" fmla="*/ 0 w 286"/>
                <a:gd name="T23" fmla="*/ 134 h 239"/>
                <a:gd name="T24" fmla="*/ 21 w 286"/>
                <a:gd name="T25" fmla="*/ 158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6" h="239">
                  <a:moveTo>
                    <a:pt x="21" y="158"/>
                  </a:moveTo>
                  <a:cubicBezTo>
                    <a:pt x="68" y="168"/>
                    <a:pt x="112" y="193"/>
                    <a:pt x="144" y="229"/>
                  </a:cubicBezTo>
                  <a:cubicBezTo>
                    <a:pt x="150" y="235"/>
                    <a:pt x="157" y="239"/>
                    <a:pt x="165" y="239"/>
                  </a:cubicBezTo>
                  <a:cubicBezTo>
                    <a:pt x="165" y="239"/>
                    <a:pt x="165" y="239"/>
                    <a:pt x="165" y="239"/>
                  </a:cubicBezTo>
                  <a:cubicBezTo>
                    <a:pt x="169" y="239"/>
                    <a:pt x="172" y="238"/>
                    <a:pt x="176" y="236"/>
                  </a:cubicBezTo>
                  <a:cubicBezTo>
                    <a:pt x="276" y="178"/>
                    <a:pt x="276" y="178"/>
                    <a:pt x="276" y="178"/>
                  </a:cubicBezTo>
                  <a:cubicBezTo>
                    <a:pt x="281" y="175"/>
                    <a:pt x="284" y="171"/>
                    <a:pt x="285" y="166"/>
                  </a:cubicBezTo>
                  <a:cubicBezTo>
                    <a:pt x="286" y="161"/>
                    <a:pt x="285" y="156"/>
                    <a:pt x="282" y="152"/>
                  </a:cubicBezTo>
                  <a:cubicBezTo>
                    <a:pt x="220" y="67"/>
                    <a:pt x="123" y="11"/>
                    <a:pt x="19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7" y="0"/>
                    <a:pt x="0" y="8"/>
                    <a:pt x="0" y="18"/>
                  </a:cubicBezTo>
                  <a:cubicBezTo>
                    <a:pt x="0" y="134"/>
                    <a:pt x="0" y="134"/>
                    <a:pt x="0" y="134"/>
                  </a:cubicBezTo>
                  <a:cubicBezTo>
                    <a:pt x="0" y="145"/>
                    <a:pt x="9" y="156"/>
                    <a:pt x="21" y="158"/>
                  </a:cubicBezTo>
                  <a:close/>
                </a:path>
              </a:pathLst>
            </a:custGeom>
            <a:solidFill>
              <a:srgbClr val="58A61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endParaRPr lang="en-US" sz="4800"/>
            </a:p>
          </p:txBody>
        </p:sp>
        <p:sp>
          <p:nvSpPr>
            <p:cNvPr id="11" name="Freeform 66">
              <a:extLst>
                <a:ext uri="{FF2B5EF4-FFF2-40B4-BE49-F238E27FC236}">
                  <a16:creationId xmlns:a16="http://schemas.microsoft.com/office/drawing/2014/main" id="{B2C21065-493B-2E93-3A78-EAE0F2DC116A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1121" y="4410024"/>
              <a:ext cx="2582199" cy="4908732"/>
            </a:xfrm>
            <a:custGeom>
              <a:avLst/>
              <a:gdLst>
                <a:gd name="T0" fmla="*/ 47 w 171"/>
                <a:gd name="T1" fmla="*/ 325 h 325"/>
                <a:gd name="T2" fmla="*/ 57 w 171"/>
                <a:gd name="T3" fmla="*/ 323 h 325"/>
                <a:gd name="T4" fmla="*/ 157 w 171"/>
                <a:gd name="T5" fmla="*/ 264 h 325"/>
                <a:gd name="T6" fmla="*/ 167 w 171"/>
                <a:gd name="T7" fmla="*/ 234 h 325"/>
                <a:gd name="T8" fmla="*/ 156 w 171"/>
                <a:gd name="T9" fmla="*/ 163 h 325"/>
                <a:gd name="T10" fmla="*/ 167 w 171"/>
                <a:gd name="T11" fmla="*/ 91 h 325"/>
                <a:gd name="T12" fmla="*/ 157 w 171"/>
                <a:gd name="T13" fmla="*/ 61 h 325"/>
                <a:gd name="T14" fmla="*/ 57 w 171"/>
                <a:gd name="T15" fmla="*/ 3 h 325"/>
                <a:gd name="T16" fmla="*/ 47 w 171"/>
                <a:gd name="T17" fmla="*/ 0 h 325"/>
                <a:gd name="T18" fmla="*/ 32 w 171"/>
                <a:gd name="T19" fmla="*/ 11 h 325"/>
                <a:gd name="T20" fmla="*/ 0 w 171"/>
                <a:gd name="T21" fmla="*/ 163 h 325"/>
                <a:gd name="T22" fmla="*/ 32 w 171"/>
                <a:gd name="T23" fmla="*/ 315 h 325"/>
                <a:gd name="T24" fmla="*/ 47 w 171"/>
                <a:gd name="T25" fmla="*/ 325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1" h="325">
                  <a:moveTo>
                    <a:pt x="47" y="325"/>
                  </a:moveTo>
                  <a:cubicBezTo>
                    <a:pt x="51" y="325"/>
                    <a:pt x="54" y="324"/>
                    <a:pt x="57" y="323"/>
                  </a:cubicBezTo>
                  <a:cubicBezTo>
                    <a:pt x="157" y="264"/>
                    <a:pt x="157" y="264"/>
                    <a:pt x="157" y="264"/>
                  </a:cubicBezTo>
                  <a:cubicBezTo>
                    <a:pt x="167" y="259"/>
                    <a:pt x="171" y="246"/>
                    <a:pt x="167" y="234"/>
                  </a:cubicBezTo>
                  <a:cubicBezTo>
                    <a:pt x="160" y="211"/>
                    <a:pt x="156" y="187"/>
                    <a:pt x="156" y="163"/>
                  </a:cubicBezTo>
                  <a:cubicBezTo>
                    <a:pt x="156" y="138"/>
                    <a:pt x="160" y="114"/>
                    <a:pt x="167" y="91"/>
                  </a:cubicBezTo>
                  <a:cubicBezTo>
                    <a:pt x="171" y="80"/>
                    <a:pt x="167" y="67"/>
                    <a:pt x="157" y="61"/>
                  </a:cubicBezTo>
                  <a:cubicBezTo>
                    <a:pt x="57" y="3"/>
                    <a:pt x="57" y="3"/>
                    <a:pt x="57" y="3"/>
                  </a:cubicBezTo>
                  <a:cubicBezTo>
                    <a:pt x="54" y="1"/>
                    <a:pt x="51" y="0"/>
                    <a:pt x="47" y="0"/>
                  </a:cubicBezTo>
                  <a:cubicBezTo>
                    <a:pt x="40" y="0"/>
                    <a:pt x="34" y="4"/>
                    <a:pt x="32" y="11"/>
                  </a:cubicBezTo>
                  <a:cubicBezTo>
                    <a:pt x="10" y="59"/>
                    <a:pt x="0" y="110"/>
                    <a:pt x="0" y="163"/>
                  </a:cubicBezTo>
                  <a:cubicBezTo>
                    <a:pt x="0" y="216"/>
                    <a:pt x="10" y="267"/>
                    <a:pt x="32" y="315"/>
                  </a:cubicBezTo>
                  <a:cubicBezTo>
                    <a:pt x="34" y="321"/>
                    <a:pt x="40" y="325"/>
                    <a:pt x="47" y="325"/>
                  </a:cubicBezTo>
                  <a:close/>
                </a:path>
              </a:pathLst>
            </a:custGeom>
            <a:solidFill>
              <a:srgbClr val="00A5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endParaRPr lang="en-US" sz="4800"/>
            </a:p>
          </p:txBody>
        </p:sp>
        <p:sp>
          <p:nvSpPr>
            <p:cNvPr id="12" name="Freeform 67">
              <a:extLst>
                <a:ext uri="{FF2B5EF4-FFF2-40B4-BE49-F238E27FC236}">
                  <a16:creationId xmlns:a16="http://schemas.microsoft.com/office/drawing/2014/main" id="{9C3C26AE-20BC-5B81-BC92-43C6730F91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21168" y="8941654"/>
              <a:ext cx="4320710" cy="3611244"/>
            </a:xfrm>
            <a:custGeom>
              <a:avLst/>
              <a:gdLst>
                <a:gd name="T0" fmla="*/ 17 w 286"/>
                <a:gd name="T1" fmla="*/ 239 h 239"/>
                <a:gd name="T2" fmla="*/ 17 w 286"/>
                <a:gd name="T3" fmla="*/ 239 h 239"/>
                <a:gd name="T4" fmla="*/ 19 w 286"/>
                <a:gd name="T5" fmla="*/ 239 h 239"/>
                <a:gd name="T6" fmla="*/ 282 w 286"/>
                <a:gd name="T7" fmla="*/ 86 h 239"/>
                <a:gd name="T8" fmla="*/ 285 w 286"/>
                <a:gd name="T9" fmla="*/ 73 h 239"/>
                <a:gd name="T10" fmla="*/ 276 w 286"/>
                <a:gd name="T11" fmla="*/ 61 h 239"/>
                <a:gd name="T12" fmla="*/ 176 w 286"/>
                <a:gd name="T13" fmla="*/ 3 h 239"/>
                <a:gd name="T14" fmla="*/ 165 w 286"/>
                <a:gd name="T15" fmla="*/ 0 h 239"/>
                <a:gd name="T16" fmla="*/ 144 w 286"/>
                <a:gd name="T17" fmla="*/ 9 h 239"/>
                <a:gd name="T18" fmla="*/ 21 w 286"/>
                <a:gd name="T19" fmla="*/ 80 h 239"/>
                <a:gd name="T20" fmla="*/ 0 w 286"/>
                <a:gd name="T21" fmla="*/ 104 h 239"/>
                <a:gd name="T22" fmla="*/ 0 w 286"/>
                <a:gd name="T23" fmla="*/ 221 h 239"/>
                <a:gd name="T24" fmla="*/ 17 w 286"/>
                <a:gd name="T25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6" h="239">
                  <a:moveTo>
                    <a:pt x="17" y="239"/>
                  </a:moveTo>
                  <a:cubicBezTo>
                    <a:pt x="17" y="239"/>
                    <a:pt x="17" y="239"/>
                    <a:pt x="17" y="239"/>
                  </a:cubicBezTo>
                  <a:cubicBezTo>
                    <a:pt x="17" y="239"/>
                    <a:pt x="18" y="239"/>
                    <a:pt x="19" y="239"/>
                  </a:cubicBezTo>
                  <a:cubicBezTo>
                    <a:pt x="123" y="227"/>
                    <a:pt x="220" y="172"/>
                    <a:pt x="282" y="86"/>
                  </a:cubicBezTo>
                  <a:cubicBezTo>
                    <a:pt x="285" y="82"/>
                    <a:pt x="286" y="77"/>
                    <a:pt x="285" y="73"/>
                  </a:cubicBezTo>
                  <a:cubicBezTo>
                    <a:pt x="284" y="68"/>
                    <a:pt x="281" y="63"/>
                    <a:pt x="276" y="61"/>
                  </a:cubicBezTo>
                  <a:cubicBezTo>
                    <a:pt x="176" y="3"/>
                    <a:pt x="176" y="3"/>
                    <a:pt x="176" y="3"/>
                  </a:cubicBezTo>
                  <a:cubicBezTo>
                    <a:pt x="172" y="1"/>
                    <a:pt x="169" y="0"/>
                    <a:pt x="165" y="0"/>
                  </a:cubicBezTo>
                  <a:cubicBezTo>
                    <a:pt x="157" y="0"/>
                    <a:pt x="150" y="3"/>
                    <a:pt x="144" y="9"/>
                  </a:cubicBezTo>
                  <a:cubicBezTo>
                    <a:pt x="112" y="46"/>
                    <a:pt x="68" y="71"/>
                    <a:pt x="21" y="80"/>
                  </a:cubicBezTo>
                  <a:cubicBezTo>
                    <a:pt x="9" y="83"/>
                    <a:pt x="0" y="93"/>
                    <a:pt x="0" y="104"/>
                  </a:cubicBezTo>
                  <a:cubicBezTo>
                    <a:pt x="0" y="221"/>
                    <a:pt x="0" y="221"/>
                    <a:pt x="0" y="221"/>
                  </a:cubicBezTo>
                  <a:cubicBezTo>
                    <a:pt x="0" y="231"/>
                    <a:pt x="7" y="239"/>
                    <a:pt x="17" y="239"/>
                  </a:cubicBezTo>
                  <a:close/>
                </a:path>
              </a:pathLst>
            </a:custGeom>
            <a:solidFill>
              <a:srgbClr val="E98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endParaRPr lang="en-US" sz="4800"/>
            </a:p>
          </p:txBody>
        </p:sp>
        <p:sp>
          <p:nvSpPr>
            <p:cNvPr id="13" name="Freeform 14">
              <a:extLst>
                <a:ext uri="{FF2B5EF4-FFF2-40B4-BE49-F238E27FC236}">
                  <a16:creationId xmlns:a16="http://schemas.microsoft.com/office/drawing/2014/main" id="{490D254C-186A-ABE6-6088-0FF67AB5CF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33058" y="4167144"/>
              <a:ext cx="3112703" cy="5394492"/>
            </a:xfrm>
            <a:custGeom>
              <a:avLst/>
              <a:gdLst>
                <a:gd name="T0" fmla="*/ 172 w 206"/>
                <a:gd name="T1" fmla="*/ 20 h 357"/>
                <a:gd name="T2" fmla="*/ 142 w 206"/>
                <a:gd name="T3" fmla="*/ 0 h 357"/>
                <a:gd name="T4" fmla="*/ 124 w 206"/>
                <a:gd name="T5" fmla="*/ 5 h 357"/>
                <a:gd name="T6" fmla="*/ 24 w 206"/>
                <a:gd name="T7" fmla="*/ 63 h 357"/>
                <a:gd name="T8" fmla="*/ 7 w 206"/>
                <a:gd name="T9" fmla="*/ 113 h 357"/>
                <a:gd name="T10" fmla="*/ 18 w 206"/>
                <a:gd name="T11" fmla="*/ 179 h 357"/>
                <a:gd name="T12" fmla="*/ 7 w 206"/>
                <a:gd name="T13" fmla="*/ 245 h 357"/>
                <a:gd name="T14" fmla="*/ 24 w 206"/>
                <a:gd name="T15" fmla="*/ 294 h 357"/>
                <a:gd name="T16" fmla="*/ 124 w 206"/>
                <a:gd name="T17" fmla="*/ 352 h 357"/>
                <a:gd name="T18" fmla="*/ 142 w 206"/>
                <a:gd name="T19" fmla="*/ 357 h 357"/>
                <a:gd name="T20" fmla="*/ 142 w 206"/>
                <a:gd name="T21" fmla="*/ 357 h 357"/>
                <a:gd name="T22" fmla="*/ 172 w 206"/>
                <a:gd name="T23" fmla="*/ 338 h 357"/>
                <a:gd name="T24" fmla="*/ 206 w 206"/>
                <a:gd name="T25" fmla="*/ 179 h 357"/>
                <a:gd name="T26" fmla="*/ 172 w 206"/>
                <a:gd name="T27" fmla="*/ 20 h 357"/>
                <a:gd name="T28" fmla="*/ 142 w 206"/>
                <a:gd name="T29" fmla="*/ 341 h 357"/>
                <a:gd name="T30" fmla="*/ 132 w 206"/>
                <a:gd name="T31" fmla="*/ 339 h 357"/>
                <a:gd name="T32" fmla="*/ 32 w 206"/>
                <a:gd name="T33" fmla="*/ 280 h 357"/>
                <a:gd name="T34" fmla="*/ 22 w 206"/>
                <a:gd name="T35" fmla="*/ 250 h 357"/>
                <a:gd name="T36" fmla="*/ 34 w 206"/>
                <a:gd name="T37" fmla="*/ 179 h 357"/>
                <a:gd name="T38" fmla="*/ 22 w 206"/>
                <a:gd name="T39" fmla="*/ 107 h 357"/>
                <a:gd name="T40" fmla="*/ 32 w 206"/>
                <a:gd name="T41" fmla="*/ 77 h 357"/>
                <a:gd name="T42" fmla="*/ 132 w 206"/>
                <a:gd name="T43" fmla="*/ 19 h 357"/>
                <a:gd name="T44" fmla="*/ 142 w 206"/>
                <a:gd name="T45" fmla="*/ 16 h 357"/>
                <a:gd name="T46" fmla="*/ 158 w 206"/>
                <a:gd name="T47" fmla="*/ 27 h 357"/>
                <a:gd name="T48" fmla="*/ 190 w 206"/>
                <a:gd name="T49" fmla="*/ 179 h 357"/>
                <a:gd name="T50" fmla="*/ 158 w 206"/>
                <a:gd name="T51" fmla="*/ 331 h 357"/>
                <a:gd name="T52" fmla="*/ 142 w 206"/>
                <a:gd name="T53" fmla="*/ 341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6" h="357">
                  <a:moveTo>
                    <a:pt x="172" y="20"/>
                  </a:moveTo>
                  <a:cubicBezTo>
                    <a:pt x="167" y="8"/>
                    <a:pt x="155" y="0"/>
                    <a:pt x="142" y="0"/>
                  </a:cubicBezTo>
                  <a:cubicBezTo>
                    <a:pt x="136" y="0"/>
                    <a:pt x="130" y="2"/>
                    <a:pt x="124" y="5"/>
                  </a:cubicBezTo>
                  <a:cubicBezTo>
                    <a:pt x="24" y="63"/>
                    <a:pt x="24" y="63"/>
                    <a:pt x="24" y="63"/>
                  </a:cubicBezTo>
                  <a:cubicBezTo>
                    <a:pt x="8" y="73"/>
                    <a:pt x="0" y="94"/>
                    <a:pt x="7" y="113"/>
                  </a:cubicBezTo>
                  <a:cubicBezTo>
                    <a:pt x="14" y="134"/>
                    <a:pt x="18" y="156"/>
                    <a:pt x="18" y="179"/>
                  </a:cubicBezTo>
                  <a:cubicBezTo>
                    <a:pt x="18" y="201"/>
                    <a:pt x="14" y="224"/>
                    <a:pt x="7" y="245"/>
                  </a:cubicBezTo>
                  <a:cubicBezTo>
                    <a:pt x="0" y="264"/>
                    <a:pt x="8" y="285"/>
                    <a:pt x="24" y="294"/>
                  </a:cubicBezTo>
                  <a:cubicBezTo>
                    <a:pt x="124" y="352"/>
                    <a:pt x="124" y="352"/>
                    <a:pt x="124" y="352"/>
                  </a:cubicBezTo>
                  <a:cubicBezTo>
                    <a:pt x="130" y="356"/>
                    <a:pt x="136" y="357"/>
                    <a:pt x="142" y="357"/>
                  </a:cubicBezTo>
                  <a:cubicBezTo>
                    <a:pt x="142" y="357"/>
                    <a:pt x="142" y="357"/>
                    <a:pt x="142" y="357"/>
                  </a:cubicBezTo>
                  <a:cubicBezTo>
                    <a:pt x="155" y="357"/>
                    <a:pt x="167" y="350"/>
                    <a:pt x="172" y="338"/>
                  </a:cubicBezTo>
                  <a:cubicBezTo>
                    <a:pt x="194" y="287"/>
                    <a:pt x="206" y="234"/>
                    <a:pt x="206" y="179"/>
                  </a:cubicBezTo>
                  <a:cubicBezTo>
                    <a:pt x="206" y="124"/>
                    <a:pt x="194" y="70"/>
                    <a:pt x="172" y="20"/>
                  </a:cubicBezTo>
                  <a:close/>
                  <a:moveTo>
                    <a:pt x="142" y="341"/>
                  </a:moveTo>
                  <a:cubicBezTo>
                    <a:pt x="139" y="341"/>
                    <a:pt x="135" y="340"/>
                    <a:pt x="132" y="339"/>
                  </a:cubicBezTo>
                  <a:cubicBezTo>
                    <a:pt x="32" y="280"/>
                    <a:pt x="32" y="280"/>
                    <a:pt x="32" y="280"/>
                  </a:cubicBezTo>
                  <a:cubicBezTo>
                    <a:pt x="22" y="275"/>
                    <a:pt x="18" y="262"/>
                    <a:pt x="22" y="250"/>
                  </a:cubicBezTo>
                  <a:cubicBezTo>
                    <a:pt x="30" y="227"/>
                    <a:pt x="34" y="203"/>
                    <a:pt x="34" y="179"/>
                  </a:cubicBezTo>
                  <a:cubicBezTo>
                    <a:pt x="34" y="154"/>
                    <a:pt x="30" y="130"/>
                    <a:pt x="22" y="107"/>
                  </a:cubicBezTo>
                  <a:cubicBezTo>
                    <a:pt x="18" y="96"/>
                    <a:pt x="22" y="83"/>
                    <a:pt x="32" y="77"/>
                  </a:cubicBezTo>
                  <a:cubicBezTo>
                    <a:pt x="132" y="19"/>
                    <a:pt x="132" y="19"/>
                    <a:pt x="132" y="19"/>
                  </a:cubicBezTo>
                  <a:cubicBezTo>
                    <a:pt x="135" y="17"/>
                    <a:pt x="139" y="16"/>
                    <a:pt x="142" y="16"/>
                  </a:cubicBezTo>
                  <a:cubicBezTo>
                    <a:pt x="149" y="16"/>
                    <a:pt x="155" y="20"/>
                    <a:pt x="158" y="27"/>
                  </a:cubicBezTo>
                  <a:cubicBezTo>
                    <a:pt x="179" y="75"/>
                    <a:pt x="190" y="126"/>
                    <a:pt x="190" y="179"/>
                  </a:cubicBezTo>
                  <a:cubicBezTo>
                    <a:pt x="190" y="232"/>
                    <a:pt x="179" y="283"/>
                    <a:pt x="158" y="331"/>
                  </a:cubicBezTo>
                  <a:cubicBezTo>
                    <a:pt x="155" y="337"/>
                    <a:pt x="149" y="341"/>
                    <a:pt x="142" y="341"/>
                  </a:cubicBezTo>
                  <a:close/>
                </a:path>
              </a:pathLst>
            </a:custGeom>
            <a:solidFill>
              <a:srgbClr val="003C71">
                <a:alpha val="30000"/>
              </a:srgbClr>
            </a:solidFill>
            <a:ln>
              <a:noFill/>
            </a:ln>
            <a:effectLst/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endParaRPr lang="en-US" sz="4800"/>
            </a:p>
          </p:txBody>
        </p:sp>
        <p:sp>
          <p:nvSpPr>
            <p:cNvPr id="14" name="Freeform 15">
              <a:extLst>
                <a:ext uri="{FF2B5EF4-FFF2-40B4-BE49-F238E27FC236}">
                  <a16:creationId xmlns:a16="http://schemas.microsoft.com/office/drawing/2014/main" id="{79CD8157-1F40-AE28-FC2E-7D47ED685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7288" y="8698774"/>
              <a:ext cx="4832036" cy="4097004"/>
            </a:xfrm>
            <a:custGeom>
              <a:avLst/>
              <a:gdLst>
                <a:gd name="T0" fmla="*/ 285 w 320"/>
                <a:gd name="T1" fmla="*/ 81 h 271"/>
                <a:gd name="T2" fmla="*/ 171 w 320"/>
                <a:gd name="T3" fmla="*/ 15 h 271"/>
                <a:gd name="T4" fmla="*/ 138 w 320"/>
                <a:gd name="T5" fmla="*/ 0 h 271"/>
                <a:gd name="T6" fmla="*/ 119 w 320"/>
                <a:gd name="T7" fmla="*/ 5 h 271"/>
                <a:gd name="T8" fmla="*/ 19 w 320"/>
                <a:gd name="T9" fmla="*/ 63 h 271"/>
                <a:gd name="T10" fmla="*/ 2 w 320"/>
                <a:gd name="T11" fmla="*/ 85 h 271"/>
                <a:gd name="T12" fmla="*/ 8 w 320"/>
                <a:gd name="T13" fmla="*/ 112 h 271"/>
                <a:gd name="T14" fmla="*/ 283 w 320"/>
                <a:gd name="T15" fmla="*/ 270 h 271"/>
                <a:gd name="T16" fmla="*/ 286 w 320"/>
                <a:gd name="T17" fmla="*/ 271 h 271"/>
                <a:gd name="T18" fmla="*/ 310 w 320"/>
                <a:gd name="T19" fmla="*/ 261 h 271"/>
                <a:gd name="T20" fmla="*/ 320 w 320"/>
                <a:gd name="T21" fmla="*/ 237 h 271"/>
                <a:gd name="T22" fmla="*/ 320 w 320"/>
                <a:gd name="T23" fmla="*/ 120 h 271"/>
                <a:gd name="T24" fmla="*/ 285 w 320"/>
                <a:gd name="T25" fmla="*/ 81 h 271"/>
                <a:gd name="T26" fmla="*/ 304 w 320"/>
                <a:gd name="T27" fmla="*/ 237 h 271"/>
                <a:gd name="T28" fmla="*/ 299 w 320"/>
                <a:gd name="T29" fmla="*/ 249 h 271"/>
                <a:gd name="T30" fmla="*/ 286 w 320"/>
                <a:gd name="T31" fmla="*/ 255 h 271"/>
                <a:gd name="T32" fmla="*/ 285 w 320"/>
                <a:gd name="T33" fmla="*/ 255 h 271"/>
                <a:gd name="T34" fmla="*/ 21 w 320"/>
                <a:gd name="T35" fmla="*/ 102 h 271"/>
                <a:gd name="T36" fmla="*/ 18 w 320"/>
                <a:gd name="T37" fmla="*/ 89 h 271"/>
                <a:gd name="T38" fmla="*/ 27 w 320"/>
                <a:gd name="T39" fmla="*/ 77 h 271"/>
                <a:gd name="T40" fmla="*/ 127 w 320"/>
                <a:gd name="T41" fmla="*/ 19 h 271"/>
                <a:gd name="T42" fmla="*/ 138 w 320"/>
                <a:gd name="T43" fmla="*/ 16 h 271"/>
                <a:gd name="T44" fmla="*/ 159 w 320"/>
                <a:gd name="T45" fmla="*/ 25 h 271"/>
                <a:gd name="T46" fmla="*/ 282 w 320"/>
                <a:gd name="T47" fmla="*/ 96 h 271"/>
                <a:gd name="T48" fmla="*/ 304 w 320"/>
                <a:gd name="T49" fmla="*/ 120 h 271"/>
                <a:gd name="T50" fmla="*/ 304 w 320"/>
                <a:gd name="T51" fmla="*/ 237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20" h="271">
                  <a:moveTo>
                    <a:pt x="285" y="81"/>
                  </a:moveTo>
                  <a:cubicBezTo>
                    <a:pt x="241" y="72"/>
                    <a:pt x="201" y="49"/>
                    <a:pt x="171" y="15"/>
                  </a:cubicBezTo>
                  <a:cubicBezTo>
                    <a:pt x="163" y="5"/>
                    <a:pt x="151" y="0"/>
                    <a:pt x="138" y="0"/>
                  </a:cubicBezTo>
                  <a:cubicBezTo>
                    <a:pt x="132" y="0"/>
                    <a:pt x="125" y="1"/>
                    <a:pt x="119" y="5"/>
                  </a:cubicBezTo>
                  <a:cubicBezTo>
                    <a:pt x="19" y="63"/>
                    <a:pt x="19" y="63"/>
                    <a:pt x="19" y="63"/>
                  </a:cubicBezTo>
                  <a:cubicBezTo>
                    <a:pt x="10" y="68"/>
                    <a:pt x="4" y="76"/>
                    <a:pt x="2" y="85"/>
                  </a:cubicBezTo>
                  <a:cubicBezTo>
                    <a:pt x="0" y="95"/>
                    <a:pt x="2" y="104"/>
                    <a:pt x="8" y="112"/>
                  </a:cubicBezTo>
                  <a:cubicBezTo>
                    <a:pt x="73" y="201"/>
                    <a:pt x="174" y="259"/>
                    <a:pt x="283" y="270"/>
                  </a:cubicBezTo>
                  <a:cubicBezTo>
                    <a:pt x="284" y="271"/>
                    <a:pt x="285" y="271"/>
                    <a:pt x="286" y="271"/>
                  </a:cubicBezTo>
                  <a:cubicBezTo>
                    <a:pt x="295" y="271"/>
                    <a:pt x="304" y="267"/>
                    <a:pt x="310" y="261"/>
                  </a:cubicBezTo>
                  <a:cubicBezTo>
                    <a:pt x="316" y="254"/>
                    <a:pt x="320" y="246"/>
                    <a:pt x="320" y="237"/>
                  </a:cubicBezTo>
                  <a:cubicBezTo>
                    <a:pt x="320" y="120"/>
                    <a:pt x="320" y="120"/>
                    <a:pt x="320" y="120"/>
                  </a:cubicBezTo>
                  <a:cubicBezTo>
                    <a:pt x="320" y="102"/>
                    <a:pt x="305" y="85"/>
                    <a:pt x="285" y="81"/>
                  </a:cubicBezTo>
                  <a:close/>
                  <a:moveTo>
                    <a:pt x="304" y="237"/>
                  </a:moveTo>
                  <a:cubicBezTo>
                    <a:pt x="304" y="241"/>
                    <a:pt x="302" y="246"/>
                    <a:pt x="299" y="249"/>
                  </a:cubicBezTo>
                  <a:cubicBezTo>
                    <a:pt x="295" y="253"/>
                    <a:pt x="291" y="255"/>
                    <a:pt x="286" y="255"/>
                  </a:cubicBezTo>
                  <a:cubicBezTo>
                    <a:pt x="286" y="255"/>
                    <a:pt x="285" y="255"/>
                    <a:pt x="285" y="255"/>
                  </a:cubicBezTo>
                  <a:cubicBezTo>
                    <a:pt x="180" y="243"/>
                    <a:pt x="84" y="188"/>
                    <a:pt x="21" y="102"/>
                  </a:cubicBezTo>
                  <a:cubicBezTo>
                    <a:pt x="18" y="98"/>
                    <a:pt x="17" y="93"/>
                    <a:pt x="18" y="89"/>
                  </a:cubicBezTo>
                  <a:cubicBezTo>
                    <a:pt x="19" y="84"/>
                    <a:pt x="22" y="79"/>
                    <a:pt x="27" y="77"/>
                  </a:cubicBezTo>
                  <a:cubicBezTo>
                    <a:pt x="127" y="19"/>
                    <a:pt x="127" y="19"/>
                    <a:pt x="127" y="19"/>
                  </a:cubicBezTo>
                  <a:cubicBezTo>
                    <a:pt x="131" y="17"/>
                    <a:pt x="134" y="16"/>
                    <a:pt x="138" y="16"/>
                  </a:cubicBezTo>
                  <a:cubicBezTo>
                    <a:pt x="146" y="16"/>
                    <a:pt x="154" y="19"/>
                    <a:pt x="159" y="25"/>
                  </a:cubicBezTo>
                  <a:cubicBezTo>
                    <a:pt x="191" y="62"/>
                    <a:pt x="235" y="87"/>
                    <a:pt x="282" y="96"/>
                  </a:cubicBezTo>
                  <a:cubicBezTo>
                    <a:pt x="294" y="99"/>
                    <a:pt x="304" y="109"/>
                    <a:pt x="304" y="120"/>
                  </a:cubicBezTo>
                  <a:lnTo>
                    <a:pt x="304" y="237"/>
                  </a:ln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>
              <a:noFill/>
            </a:ln>
            <a:effectLst/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endParaRPr lang="en-US" sz="4800"/>
            </a:p>
          </p:txBody>
        </p:sp>
        <p:sp>
          <p:nvSpPr>
            <p:cNvPr id="15" name="Freeform 16">
              <a:extLst>
                <a:ext uri="{FF2B5EF4-FFF2-40B4-BE49-F238E27FC236}">
                  <a16:creationId xmlns:a16="http://schemas.microsoft.com/office/drawing/2014/main" id="{8517F3B5-65FC-7C67-7E20-C605CFB12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84678" y="920222"/>
              <a:ext cx="4819253" cy="4122570"/>
            </a:xfrm>
            <a:custGeom>
              <a:avLst/>
              <a:gdLst>
                <a:gd name="T0" fmla="*/ 311 w 319"/>
                <a:gd name="T1" fmla="*/ 161 h 273"/>
                <a:gd name="T2" fmla="*/ 36 w 319"/>
                <a:gd name="T3" fmla="*/ 2 h 273"/>
                <a:gd name="T4" fmla="*/ 0 w 319"/>
                <a:gd name="T5" fmla="*/ 36 h 273"/>
                <a:gd name="T6" fmla="*/ 0 w 319"/>
                <a:gd name="T7" fmla="*/ 152 h 273"/>
                <a:gd name="T8" fmla="*/ 34 w 319"/>
                <a:gd name="T9" fmla="*/ 192 h 273"/>
                <a:gd name="T10" fmla="*/ 148 w 319"/>
                <a:gd name="T11" fmla="*/ 258 h 273"/>
                <a:gd name="T12" fmla="*/ 181 w 319"/>
                <a:gd name="T13" fmla="*/ 273 h 273"/>
                <a:gd name="T14" fmla="*/ 181 w 319"/>
                <a:gd name="T15" fmla="*/ 273 h 273"/>
                <a:gd name="T16" fmla="*/ 200 w 319"/>
                <a:gd name="T17" fmla="*/ 268 h 273"/>
                <a:gd name="T18" fmla="*/ 300 w 319"/>
                <a:gd name="T19" fmla="*/ 210 h 273"/>
                <a:gd name="T20" fmla="*/ 317 w 319"/>
                <a:gd name="T21" fmla="*/ 187 h 273"/>
                <a:gd name="T22" fmla="*/ 311 w 319"/>
                <a:gd name="T23" fmla="*/ 161 h 273"/>
                <a:gd name="T24" fmla="*/ 301 w 319"/>
                <a:gd name="T25" fmla="*/ 184 h 273"/>
                <a:gd name="T26" fmla="*/ 292 w 319"/>
                <a:gd name="T27" fmla="*/ 196 h 273"/>
                <a:gd name="T28" fmla="*/ 192 w 319"/>
                <a:gd name="T29" fmla="*/ 254 h 273"/>
                <a:gd name="T30" fmla="*/ 181 w 319"/>
                <a:gd name="T31" fmla="*/ 257 h 273"/>
                <a:gd name="T32" fmla="*/ 181 w 319"/>
                <a:gd name="T33" fmla="*/ 257 h 273"/>
                <a:gd name="T34" fmla="*/ 160 w 319"/>
                <a:gd name="T35" fmla="*/ 247 h 273"/>
                <a:gd name="T36" fmla="*/ 37 w 319"/>
                <a:gd name="T37" fmla="*/ 176 h 273"/>
                <a:gd name="T38" fmla="*/ 16 w 319"/>
                <a:gd name="T39" fmla="*/ 152 h 273"/>
                <a:gd name="T40" fmla="*/ 16 w 319"/>
                <a:gd name="T41" fmla="*/ 36 h 273"/>
                <a:gd name="T42" fmla="*/ 33 w 319"/>
                <a:gd name="T43" fmla="*/ 18 h 273"/>
                <a:gd name="T44" fmla="*/ 35 w 319"/>
                <a:gd name="T45" fmla="*/ 18 h 273"/>
                <a:gd name="T46" fmla="*/ 298 w 319"/>
                <a:gd name="T47" fmla="*/ 170 h 273"/>
                <a:gd name="T48" fmla="*/ 301 w 319"/>
                <a:gd name="T49" fmla="*/ 184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19" h="273">
                  <a:moveTo>
                    <a:pt x="311" y="161"/>
                  </a:moveTo>
                  <a:cubicBezTo>
                    <a:pt x="246" y="72"/>
                    <a:pt x="146" y="14"/>
                    <a:pt x="36" y="2"/>
                  </a:cubicBezTo>
                  <a:cubicBezTo>
                    <a:pt x="16" y="0"/>
                    <a:pt x="0" y="16"/>
                    <a:pt x="0" y="36"/>
                  </a:cubicBezTo>
                  <a:cubicBezTo>
                    <a:pt x="0" y="152"/>
                    <a:pt x="0" y="152"/>
                    <a:pt x="0" y="152"/>
                  </a:cubicBezTo>
                  <a:cubicBezTo>
                    <a:pt x="0" y="171"/>
                    <a:pt x="14" y="188"/>
                    <a:pt x="34" y="192"/>
                  </a:cubicBezTo>
                  <a:cubicBezTo>
                    <a:pt x="78" y="201"/>
                    <a:pt x="119" y="224"/>
                    <a:pt x="148" y="258"/>
                  </a:cubicBezTo>
                  <a:cubicBezTo>
                    <a:pt x="157" y="267"/>
                    <a:pt x="169" y="273"/>
                    <a:pt x="181" y="273"/>
                  </a:cubicBezTo>
                  <a:cubicBezTo>
                    <a:pt x="181" y="273"/>
                    <a:pt x="181" y="273"/>
                    <a:pt x="181" y="273"/>
                  </a:cubicBezTo>
                  <a:cubicBezTo>
                    <a:pt x="188" y="273"/>
                    <a:pt x="194" y="271"/>
                    <a:pt x="200" y="268"/>
                  </a:cubicBezTo>
                  <a:cubicBezTo>
                    <a:pt x="300" y="210"/>
                    <a:pt x="300" y="210"/>
                    <a:pt x="300" y="210"/>
                  </a:cubicBezTo>
                  <a:cubicBezTo>
                    <a:pt x="309" y="205"/>
                    <a:pt x="315" y="197"/>
                    <a:pt x="317" y="187"/>
                  </a:cubicBezTo>
                  <a:cubicBezTo>
                    <a:pt x="319" y="178"/>
                    <a:pt x="317" y="169"/>
                    <a:pt x="311" y="161"/>
                  </a:cubicBezTo>
                  <a:close/>
                  <a:moveTo>
                    <a:pt x="301" y="184"/>
                  </a:moveTo>
                  <a:cubicBezTo>
                    <a:pt x="300" y="189"/>
                    <a:pt x="297" y="193"/>
                    <a:pt x="292" y="196"/>
                  </a:cubicBezTo>
                  <a:cubicBezTo>
                    <a:pt x="192" y="254"/>
                    <a:pt x="192" y="254"/>
                    <a:pt x="192" y="254"/>
                  </a:cubicBezTo>
                  <a:cubicBezTo>
                    <a:pt x="188" y="256"/>
                    <a:pt x="185" y="257"/>
                    <a:pt x="181" y="257"/>
                  </a:cubicBezTo>
                  <a:cubicBezTo>
                    <a:pt x="181" y="257"/>
                    <a:pt x="181" y="257"/>
                    <a:pt x="181" y="257"/>
                  </a:cubicBezTo>
                  <a:cubicBezTo>
                    <a:pt x="173" y="257"/>
                    <a:pt x="166" y="253"/>
                    <a:pt x="160" y="247"/>
                  </a:cubicBezTo>
                  <a:cubicBezTo>
                    <a:pt x="128" y="211"/>
                    <a:pt x="84" y="186"/>
                    <a:pt x="37" y="176"/>
                  </a:cubicBezTo>
                  <a:cubicBezTo>
                    <a:pt x="25" y="174"/>
                    <a:pt x="16" y="163"/>
                    <a:pt x="16" y="152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26"/>
                    <a:pt x="23" y="18"/>
                    <a:pt x="33" y="18"/>
                  </a:cubicBezTo>
                  <a:cubicBezTo>
                    <a:pt x="33" y="18"/>
                    <a:pt x="34" y="18"/>
                    <a:pt x="35" y="18"/>
                  </a:cubicBezTo>
                  <a:cubicBezTo>
                    <a:pt x="139" y="29"/>
                    <a:pt x="236" y="85"/>
                    <a:pt x="298" y="170"/>
                  </a:cubicBezTo>
                  <a:cubicBezTo>
                    <a:pt x="301" y="174"/>
                    <a:pt x="302" y="179"/>
                    <a:pt x="301" y="184"/>
                  </a:cubicBezTo>
                  <a:close/>
                </a:path>
              </a:pathLst>
            </a:custGeom>
            <a:solidFill>
              <a:srgbClr val="58A618">
                <a:alpha val="30000"/>
              </a:srgbClr>
            </a:solidFill>
            <a:ln>
              <a:noFill/>
            </a:ln>
            <a:effectLst/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endParaRPr lang="en-US" sz="4800"/>
            </a:p>
          </p:txBody>
        </p:sp>
        <p:sp>
          <p:nvSpPr>
            <p:cNvPr id="16" name="Freeform 17">
              <a:extLst>
                <a:ext uri="{FF2B5EF4-FFF2-40B4-BE49-F238E27FC236}">
                  <a16:creationId xmlns:a16="http://schemas.microsoft.com/office/drawing/2014/main" id="{694FC9B4-4386-A6C2-C6D6-EA34950A9CB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8241" y="4167144"/>
              <a:ext cx="3099919" cy="5394492"/>
            </a:xfrm>
            <a:custGeom>
              <a:avLst/>
              <a:gdLst>
                <a:gd name="T0" fmla="*/ 188 w 205"/>
                <a:gd name="T1" fmla="*/ 179 h 357"/>
                <a:gd name="T2" fmla="*/ 199 w 205"/>
                <a:gd name="T3" fmla="*/ 113 h 357"/>
                <a:gd name="T4" fmla="*/ 181 w 205"/>
                <a:gd name="T5" fmla="*/ 63 h 357"/>
                <a:gd name="T6" fmla="*/ 81 w 205"/>
                <a:gd name="T7" fmla="*/ 5 h 357"/>
                <a:gd name="T8" fmla="*/ 63 w 205"/>
                <a:gd name="T9" fmla="*/ 0 h 357"/>
                <a:gd name="T10" fmla="*/ 33 w 205"/>
                <a:gd name="T11" fmla="*/ 20 h 357"/>
                <a:gd name="T12" fmla="*/ 0 w 205"/>
                <a:gd name="T13" fmla="*/ 179 h 357"/>
                <a:gd name="T14" fmla="*/ 33 w 205"/>
                <a:gd name="T15" fmla="*/ 338 h 357"/>
                <a:gd name="T16" fmla="*/ 63 w 205"/>
                <a:gd name="T17" fmla="*/ 357 h 357"/>
                <a:gd name="T18" fmla="*/ 63 w 205"/>
                <a:gd name="T19" fmla="*/ 357 h 357"/>
                <a:gd name="T20" fmla="*/ 81 w 205"/>
                <a:gd name="T21" fmla="*/ 352 h 357"/>
                <a:gd name="T22" fmla="*/ 181 w 205"/>
                <a:gd name="T23" fmla="*/ 294 h 357"/>
                <a:gd name="T24" fmla="*/ 199 w 205"/>
                <a:gd name="T25" fmla="*/ 245 h 357"/>
                <a:gd name="T26" fmla="*/ 188 w 205"/>
                <a:gd name="T27" fmla="*/ 179 h 357"/>
                <a:gd name="T28" fmla="*/ 183 w 205"/>
                <a:gd name="T29" fmla="*/ 250 h 357"/>
                <a:gd name="T30" fmla="*/ 173 w 205"/>
                <a:gd name="T31" fmla="*/ 280 h 357"/>
                <a:gd name="T32" fmla="*/ 73 w 205"/>
                <a:gd name="T33" fmla="*/ 339 h 357"/>
                <a:gd name="T34" fmla="*/ 63 w 205"/>
                <a:gd name="T35" fmla="*/ 341 h 357"/>
                <a:gd name="T36" fmla="*/ 48 w 205"/>
                <a:gd name="T37" fmla="*/ 331 h 357"/>
                <a:gd name="T38" fmla="*/ 16 w 205"/>
                <a:gd name="T39" fmla="*/ 179 h 357"/>
                <a:gd name="T40" fmla="*/ 48 w 205"/>
                <a:gd name="T41" fmla="*/ 27 h 357"/>
                <a:gd name="T42" fmla="*/ 63 w 205"/>
                <a:gd name="T43" fmla="*/ 16 h 357"/>
                <a:gd name="T44" fmla="*/ 73 w 205"/>
                <a:gd name="T45" fmla="*/ 19 h 357"/>
                <a:gd name="T46" fmla="*/ 173 w 205"/>
                <a:gd name="T47" fmla="*/ 77 h 357"/>
                <a:gd name="T48" fmla="*/ 183 w 205"/>
                <a:gd name="T49" fmla="*/ 107 h 357"/>
                <a:gd name="T50" fmla="*/ 172 w 205"/>
                <a:gd name="T51" fmla="*/ 179 h 357"/>
                <a:gd name="T52" fmla="*/ 183 w 205"/>
                <a:gd name="T53" fmla="*/ 250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5" h="357">
                  <a:moveTo>
                    <a:pt x="188" y="179"/>
                  </a:moveTo>
                  <a:cubicBezTo>
                    <a:pt x="188" y="156"/>
                    <a:pt x="191" y="134"/>
                    <a:pt x="199" y="113"/>
                  </a:cubicBezTo>
                  <a:cubicBezTo>
                    <a:pt x="205" y="94"/>
                    <a:pt x="198" y="73"/>
                    <a:pt x="181" y="63"/>
                  </a:cubicBezTo>
                  <a:cubicBezTo>
                    <a:pt x="81" y="5"/>
                    <a:pt x="81" y="5"/>
                    <a:pt x="81" y="5"/>
                  </a:cubicBezTo>
                  <a:cubicBezTo>
                    <a:pt x="75" y="2"/>
                    <a:pt x="69" y="0"/>
                    <a:pt x="63" y="0"/>
                  </a:cubicBezTo>
                  <a:cubicBezTo>
                    <a:pt x="50" y="0"/>
                    <a:pt x="38" y="8"/>
                    <a:pt x="33" y="20"/>
                  </a:cubicBezTo>
                  <a:cubicBezTo>
                    <a:pt x="11" y="70"/>
                    <a:pt x="0" y="124"/>
                    <a:pt x="0" y="179"/>
                  </a:cubicBezTo>
                  <a:cubicBezTo>
                    <a:pt x="0" y="234"/>
                    <a:pt x="11" y="287"/>
                    <a:pt x="33" y="338"/>
                  </a:cubicBezTo>
                  <a:cubicBezTo>
                    <a:pt x="38" y="350"/>
                    <a:pt x="50" y="357"/>
                    <a:pt x="63" y="357"/>
                  </a:cubicBezTo>
                  <a:cubicBezTo>
                    <a:pt x="63" y="357"/>
                    <a:pt x="63" y="357"/>
                    <a:pt x="63" y="357"/>
                  </a:cubicBezTo>
                  <a:cubicBezTo>
                    <a:pt x="69" y="357"/>
                    <a:pt x="75" y="356"/>
                    <a:pt x="81" y="352"/>
                  </a:cubicBezTo>
                  <a:cubicBezTo>
                    <a:pt x="181" y="294"/>
                    <a:pt x="181" y="294"/>
                    <a:pt x="181" y="294"/>
                  </a:cubicBezTo>
                  <a:cubicBezTo>
                    <a:pt x="198" y="285"/>
                    <a:pt x="205" y="264"/>
                    <a:pt x="199" y="245"/>
                  </a:cubicBezTo>
                  <a:cubicBezTo>
                    <a:pt x="191" y="224"/>
                    <a:pt x="188" y="201"/>
                    <a:pt x="188" y="179"/>
                  </a:cubicBezTo>
                  <a:close/>
                  <a:moveTo>
                    <a:pt x="183" y="250"/>
                  </a:moveTo>
                  <a:cubicBezTo>
                    <a:pt x="187" y="262"/>
                    <a:pt x="183" y="275"/>
                    <a:pt x="173" y="280"/>
                  </a:cubicBezTo>
                  <a:cubicBezTo>
                    <a:pt x="73" y="339"/>
                    <a:pt x="73" y="339"/>
                    <a:pt x="73" y="339"/>
                  </a:cubicBezTo>
                  <a:cubicBezTo>
                    <a:pt x="70" y="340"/>
                    <a:pt x="67" y="341"/>
                    <a:pt x="63" y="341"/>
                  </a:cubicBezTo>
                  <a:cubicBezTo>
                    <a:pt x="56" y="341"/>
                    <a:pt x="50" y="337"/>
                    <a:pt x="48" y="331"/>
                  </a:cubicBezTo>
                  <a:cubicBezTo>
                    <a:pt x="26" y="283"/>
                    <a:pt x="16" y="232"/>
                    <a:pt x="16" y="179"/>
                  </a:cubicBezTo>
                  <a:cubicBezTo>
                    <a:pt x="16" y="126"/>
                    <a:pt x="26" y="75"/>
                    <a:pt x="48" y="27"/>
                  </a:cubicBezTo>
                  <a:cubicBezTo>
                    <a:pt x="50" y="20"/>
                    <a:pt x="56" y="16"/>
                    <a:pt x="63" y="16"/>
                  </a:cubicBezTo>
                  <a:cubicBezTo>
                    <a:pt x="67" y="16"/>
                    <a:pt x="70" y="17"/>
                    <a:pt x="73" y="19"/>
                  </a:cubicBezTo>
                  <a:cubicBezTo>
                    <a:pt x="173" y="77"/>
                    <a:pt x="173" y="77"/>
                    <a:pt x="173" y="77"/>
                  </a:cubicBezTo>
                  <a:cubicBezTo>
                    <a:pt x="183" y="83"/>
                    <a:pt x="187" y="96"/>
                    <a:pt x="183" y="107"/>
                  </a:cubicBezTo>
                  <a:cubicBezTo>
                    <a:pt x="176" y="130"/>
                    <a:pt x="172" y="154"/>
                    <a:pt x="172" y="179"/>
                  </a:cubicBezTo>
                  <a:cubicBezTo>
                    <a:pt x="172" y="203"/>
                    <a:pt x="176" y="227"/>
                    <a:pt x="183" y="250"/>
                  </a:cubicBezTo>
                  <a:close/>
                </a:path>
              </a:pathLst>
            </a:custGeom>
            <a:solidFill>
              <a:srgbClr val="00A599">
                <a:alpha val="30000"/>
              </a:srgbClr>
            </a:solidFill>
            <a:ln>
              <a:noFill/>
            </a:ln>
            <a:effectLst/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endParaRPr lang="en-US" sz="4800"/>
            </a:p>
          </p:txBody>
        </p:sp>
        <p:sp>
          <p:nvSpPr>
            <p:cNvPr id="17" name="Freeform 18">
              <a:extLst>
                <a:ext uri="{FF2B5EF4-FFF2-40B4-BE49-F238E27FC236}">
                  <a16:creationId xmlns:a16="http://schemas.microsoft.com/office/drawing/2014/main" id="{3CC70866-22D7-0BBB-8701-758BC2805C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84678" y="8698774"/>
              <a:ext cx="4819253" cy="4097004"/>
            </a:xfrm>
            <a:custGeom>
              <a:avLst/>
              <a:gdLst>
                <a:gd name="T0" fmla="*/ 317 w 319"/>
                <a:gd name="T1" fmla="*/ 85 h 271"/>
                <a:gd name="T2" fmla="*/ 300 w 319"/>
                <a:gd name="T3" fmla="*/ 63 h 271"/>
                <a:gd name="T4" fmla="*/ 200 w 319"/>
                <a:gd name="T5" fmla="*/ 5 h 271"/>
                <a:gd name="T6" fmla="*/ 181 w 319"/>
                <a:gd name="T7" fmla="*/ 0 h 271"/>
                <a:gd name="T8" fmla="*/ 148 w 319"/>
                <a:gd name="T9" fmla="*/ 15 h 271"/>
                <a:gd name="T10" fmla="*/ 34 w 319"/>
                <a:gd name="T11" fmla="*/ 81 h 271"/>
                <a:gd name="T12" fmla="*/ 0 w 319"/>
                <a:gd name="T13" fmla="*/ 120 h 271"/>
                <a:gd name="T14" fmla="*/ 0 w 319"/>
                <a:gd name="T15" fmla="*/ 237 h 271"/>
                <a:gd name="T16" fmla="*/ 33 w 319"/>
                <a:gd name="T17" fmla="*/ 271 h 271"/>
                <a:gd name="T18" fmla="*/ 33 w 319"/>
                <a:gd name="T19" fmla="*/ 271 h 271"/>
                <a:gd name="T20" fmla="*/ 36 w 319"/>
                <a:gd name="T21" fmla="*/ 270 h 271"/>
                <a:gd name="T22" fmla="*/ 311 w 319"/>
                <a:gd name="T23" fmla="*/ 112 h 271"/>
                <a:gd name="T24" fmla="*/ 317 w 319"/>
                <a:gd name="T25" fmla="*/ 85 h 271"/>
                <a:gd name="T26" fmla="*/ 33 w 319"/>
                <a:gd name="T27" fmla="*/ 255 h 271"/>
                <a:gd name="T28" fmla="*/ 33 w 319"/>
                <a:gd name="T29" fmla="*/ 255 h 271"/>
                <a:gd name="T30" fmla="*/ 16 w 319"/>
                <a:gd name="T31" fmla="*/ 237 h 271"/>
                <a:gd name="T32" fmla="*/ 16 w 319"/>
                <a:gd name="T33" fmla="*/ 120 h 271"/>
                <a:gd name="T34" fmla="*/ 37 w 319"/>
                <a:gd name="T35" fmla="*/ 96 h 271"/>
                <a:gd name="T36" fmla="*/ 160 w 319"/>
                <a:gd name="T37" fmla="*/ 25 h 271"/>
                <a:gd name="T38" fmla="*/ 181 w 319"/>
                <a:gd name="T39" fmla="*/ 16 h 271"/>
                <a:gd name="T40" fmla="*/ 192 w 319"/>
                <a:gd name="T41" fmla="*/ 19 h 271"/>
                <a:gd name="T42" fmla="*/ 292 w 319"/>
                <a:gd name="T43" fmla="*/ 77 h 271"/>
                <a:gd name="T44" fmla="*/ 301 w 319"/>
                <a:gd name="T45" fmla="*/ 89 h 271"/>
                <a:gd name="T46" fmla="*/ 298 w 319"/>
                <a:gd name="T47" fmla="*/ 102 h 271"/>
                <a:gd name="T48" fmla="*/ 35 w 319"/>
                <a:gd name="T49" fmla="*/ 255 h 271"/>
                <a:gd name="T50" fmla="*/ 33 w 319"/>
                <a:gd name="T51" fmla="*/ 255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19" h="271">
                  <a:moveTo>
                    <a:pt x="317" y="85"/>
                  </a:moveTo>
                  <a:cubicBezTo>
                    <a:pt x="315" y="76"/>
                    <a:pt x="309" y="68"/>
                    <a:pt x="300" y="63"/>
                  </a:cubicBezTo>
                  <a:cubicBezTo>
                    <a:pt x="200" y="5"/>
                    <a:pt x="200" y="5"/>
                    <a:pt x="200" y="5"/>
                  </a:cubicBezTo>
                  <a:cubicBezTo>
                    <a:pt x="194" y="1"/>
                    <a:pt x="188" y="0"/>
                    <a:pt x="181" y="0"/>
                  </a:cubicBezTo>
                  <a:cubicBezTo>
                    <a:pt x="169" y="0"/>
                    <a:pt x="157" y="5"/>
                    <a:pt x="148" y="15"/>
                  </a:cubicBezTo>
                  <a:cubicBezTo>
                    <a:pt x="119" y="49"/>
                    <a:pt x="78" y="72"/>
                    <a:pt x="34" y="81"/>
                  </a:cubicBezTo>
                  <a:cubicBezTo>
                    <a:pt x="14" y="85"/>
                    <a:pt x="0" y="102"/>
                    <a:pt x="0" y="120"/>
                  </a:cubicBezTo>
                  <a:cubicBezTo>
                    <a:pt x="0" y="237"/>
                    <a:pt x="0" y="237"/>
                    <a:pt x="0" y="237"/>
                  </a:cubicBezTo>
                  <a:cubicBezTo>
                    <a:pt x="0" y="256"/>
                    <a:pt x="14" y="271"/>
                    <a:pt x="33" y="271"/>
                  </a:cubicBezTo>
                  <a:cubicBezTo>
                    <a:pt x="33" y="271"/>
                    <a:pt x="33" y="271"/>
                    <a:pt x="33" y="271"/>
                  </a:cubicBezTo>
                  <a:cubicBezTo>
                    <a:pt x="34" y="271"/>
                    <a:pt x="35" y="271"/>
                    <a:pt x="36" y="270"/>
                  </a:cubicBezTo>
                  <a:cubicBezTo>
                    <a:pt x="146" y="259"/>
                    <a:pt x="246" y="201"/>
                    <a:pt x="311" y="112"/>
                  </a:cubicBezTo>
                  <a:cubicBezTo>
                    <a:pt x="317" y="104"/>
                    <a:pt x="319" y="95"/>
                    <a:pt x="317" y="85"/>
                  </a:cubicBezTo>
                  <a:close/>
                  <a:moveTo>
                    <a:pt x="33" y="255"/>
                  </a:moveTo>
                  <a:cubicBezTo>
                    <a:pt x="33" y="255"/>
                    <a:pt x="33" y="255"/>
                    <a:pt x="33" y="255"/>
                  </a:cubicBezTo>
                  <a:cubicBezTo>
                    <a:pt x="23" y="255"/>
                    <a:pt x="16" y="247"/>
                    <a:pt x="16" y="237"/>
                  </a:cubicBezTo>
                  <a:cubicBezTo>
                    <a:pt x="16" y="120"/>
                    <a:pt x="16" y="120"/>
                    <a:pt x="16" y="120"/>
                  </a:cubicBezTo>
                  <a:cubicBezTo>
                    <a:pt x="16" y="109"/>
                    <a:pt x="25" y="99"/>
                    <a:pt x="37" y="96"/>
                  </a:cubicBezTo>
                  <a:cubicBezTo>
                    <a:pt x="84" y="87"/>
                    <a:pt x="128" y="62"/>
                    <a:pt x="160" y="25"/>
                  </a:cubicBezTo>
                  <a:cubicBezTo>
                    <a:pt x="166" y="19"/>
                    <a:pt x="173" y="16"/>
                    <a:pt x="181" y="16"/>
                  </a:cubicBezTo>
                  <a:cubicBezTo>
                    <a:pt x="185" y="16"/>
                    <a:pt x="188" y="17"/>
                    <a:pt x="192" y="19"/>
                  </a:cubicBezTo>
                  <a:cubicBezTo>
                    <a:pt x="292" y="77"/>
                    <a:pt x="292" y="77"/>
                    <a:pt x="292" y="77"/>
                  </a:cubicBezTo>
                  <a:cubicBezTo>
                    <a:pt x="297" y="79"/>
                    <a:pt x="300" y="84"/>
                    <a:pt x="301" y="89"/>
                  </a:cubicBezTo>
                  <a:cubicBezTo>
                    <a:pt x="302" y="93"/>
                    <a:pt x="301" y="98"/>
                    <a:pt x="298" y="102"/>
                  </a:cubicBezTo>
                  <a:cubicBezTo>
                    <a:pt x="236" y="188"/>
                    <a:pt x="139" y="243"/>
                    <a:pt x="35" y="255"/>
                  </a:cubicBezTo>
                  <a:cubicBezTo>
                    <a:pt x="34" y="255"/>
                    <a:pt x="33" y="255"/>
                    <a:pt x="33" y="255"/>
                  </a:cubicBezTo>
                  <a:close/>
                </a:path>
              </a:pathLst>
            </a:custGeom>
            <a:solidFill>
              <a:srgbClr val="E98300">
                <a:alpha val="30000"/>
              </a:srgbClr>
            </a:solidFill>
            <a:ln>
              <a:noFill/>
            </a:ln>
            <a:effectLst/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endParaRPr lang="en-US" sz="4800"/>
            </a:p>
          </p:txBody>
        </p:sp>
        <p:sp>
          <p:nvSpPr>
            <p:cNvPr id="18" name="Freeform 19">
              <a:extLst>
                <a:ext uri="{FF2B5EF4-FFF2-40B4-BE49-F238E27FC236}">
                  <a16:creationId xmlns:a16="http://schemas.microsoft.com/office/drawing/2014/main" id="{C717D8CF-070C-98B3-1825-6BA3182E5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7288" y="920222"/>
              <a:ext cx="4832036" cy="4122570"/>
            </a:xfrm>
            <a:custGeom>
              <a:avLst/>
              <a:gdLst>
                <a:gd name="T0" fmla="*/ 283 w 320"/>
                <a:gd name="T1" fmla="*/ 2 h 273"/>
                <a:gd name="T2" fmla="*/ 8 w 320"/>
                <a:gd name="T3" fmla="*/ 161 h 273"/>
                <a:gd name="T4" fmla="*/ 2 w 320"/>
                <a:gd name="T5" fmla="*/ 187 h 273"/>
                <a:gd name="T6" fmla="*/ 19 w 320"/>
                <a:gd name="T7" fmla="*/ 210 h 273"/>
                <a:gd name="T8" fmla="*/ 119 w 320"/>
                <a:gd name="T9" fmla="*/ 268 h 273"/>
                <a:gd name="T10" fmla="*/ 138 w 320"/>
                <a:gd name="T11" fmla="*/ 273 h 273"/>
                <a:gd name="T12" fmla="*/ 138 w 320"/>
                <a:gd name="T13" fmla="*/ 273 h 273"/>
                <a:gd name="T14" fmla="*/ 171 w 320"/>
                <a:gd name="T15" fmla="*/ 258 h 273"/>
                <a:gd name="T16" fmla="*/ 285 w 320"/>
                <a:gd name="T17" fmla="*/ 192 h 273"/>
                <a:gd name="T18" fmla="*/ 320 w 320"/>
                <a:gd name="T19" fmla="*/ 152 h 273"/>
                <a:gd name="T20" fmla="*/ 320 w 320"/>
                <a:gd name="T21" fmla="*/ 36 h 273"/>
                <a:gd name="T22" fmla="*/ 283 w 320"/>
                <a:gd name="T23" fmla="*/ 2 h 273"/>
                <a:gd name="T24" fmla="*/ 304 w 320"/>
                <a:gd name="T25" fmla="*/ 152 h 273"/>
                <a:gd name="T26" fmla="*/ 282 w 320"/>
                <a:gd name="T27" fmla="*/ 176 h 273"/>
                <a:gd name="T28" fmla="*/ 159 w 320"/>
                <a:gd name="T29" fmla="*/ 247 h 273"/>
                <a:gd name="T30" fmla="*/ 138 w 320"/>
                <a:gd name="T31" fmla="*/ 257 h 273"/>
                <a:gd name="T32" fmla="*/ 138 w 320"/>
                <a:gd name="T33" fmla="*/ 257 h 273"/>
                <a:gd name="T34" fmla="*/ 127 w 320"/>
                <a:gd name="T35" fmla="*/ 254 h 273"/>
                <a:gd name="T36" fmla="*/ 27 w 320"/>
                <a:gd name="T37" fmla="*/ 196 h 273"/>
                <a:gd name="T38" fmla="*/ 18 w 320"/>
                <a:gd name="T39" fmla="*/ 184 h 273"/>
                <a:gd name="T40" fmla="*/ 21 w 320"/>
                <a:gd name="T41" fmla="*/ 170 h 273"/>
                <a:gd name="T42" fmla="*/ 285 w 320"/>
                <a:gd name="T43" fmla="*/ 18 h 273"/>
                <a:gd name="T44" fmla="*/ 286 w 320"/>
                <a:gd name="T45" fmla="*/ 18 h 273"/>
                <a:gd name="T46" fmla="*/ 304 w 320"/>
                <a:gd name="T47" fmla="*/ 36 h 273"/>
                <a:gd name="T48" fmla="*/ 304 w 320"/>
                <a:gd name="T49" fmla="*/ 152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20" h="273">
                  <a:moveTo>
                    <a:pt x="283" y="2"/>
                  </a:moveTo>
                  <a:cubicBezTo>
                    <a:pt x="174" y="14"/>
                    <a:pt x="73" y="72"/>
                    <a:pt x="8" y="161"/>
                  </a:cubicBezTo>
                  <a:cubicBezTo>
                    <a:pt x="2" y="169"/>
                    <a:pt x="0" y="178"/>
                    <a:pt x="2" y="187"/>
                  </a:cubicBezTo>
                  <a:cubicBezTo>
                    <a:pt x="4" y="197"/>
                    <a:pt x="10" y="205"/>
                    <a:pt x="19" y="210"/>
                  </a:cubicBezTo>
                  <a:cubicBezTo>
                    <a:pt x="119" y="268"/>
                    <a:pt x="119" y="268"/>
                    <a:pt x="119" y="268"/>
                  </a:cubicBezTo>
                  <a:cubicBezTo>
                    <a:pt x="125" y="271"/>
                    <a:pt x="132" y="273"/>
                    <a:pt x="138" y="273"/>
                  </a:cubicBezTo>
                  <a:cubicBezTo>
                    <a:pt x="138" y="273"/>
                    <a:pt x="138" y="273"/>
                    <a:pt x="138" y="273"/>
                  </a:cubicBezTo>
                  <a:cubicBezTo>
                    <a:pt x="151" y="273"/>
                    <a:pt x="163" y="267"/>
                    <a:pt x="171" y="258"/>
                  </a:cubicBezTo>
                  <a:cubicBezTo>
                    <a:pt x="201" y="224"/>
                    <a:pt x="241" y="201"/>
                    <a:pt x="285" y="192"/>
                  </a:cubicBezTo>
                  <a:cubicBezTo>
                    <a:pt x="305" y="188"/>
                    <a:pt x="320" y="171"/>
                    <a:pt x="320" y="152"/>
                  </a:cubicBezTo>
                  <a:cubicBezTo>
                    <a:pt x="320" y="36"/>
                    <a:pt x="320" y="36"/>
                    <a:pt x="320" y="36"/>
                  </a:cubicBezTo>
                  <a:cubicBezTo>
                    <a:pt x="320" y="16"/>
                    <a:pt x="303" y="0"/>
                    <a:pt x="283" y="2"/>
                  </a:cubicBezTo>
                  <a:close/>
                  <a:moveTo>
                    <a:pt x="304" y="152"/>
                  </a:moveTo>
                  <a:cubicBezTo>
                    <a:pt x="304" y="163"/>
                    <a:pt x="294" y="174"/>
                    <a:pt x="282" y="176"/>
                  </a:cubicBezTo>
                  <a:cubicBezTo>
                    <a:pt x="235" y="186"/>
                    <a:pt x="191" y="211"/>
                    <a:pt x="159" y="247"/>
                  </a:cubicBezTo>
                  <a:cubicBezTo>
                    <a:pt x="154" y="253"/>
                    <a:pt x="146" y="257"/>
                    <a:pt x="138" y="257"/>
                  </a:cubicBezTo>
                  <a:cubicBezTo>
                    <a:pt x="138" y="257"/>
                    <a:pt x="138" y="257"/>
                    <a:pt x="138" y="257"/>
                  </a:cubicBezTo>
                  <a:cubicBezTo>
                    <a:pt x="134" y="257"/>
                    <a:pt x="131" y="256"/>
                    <a:pt x="127" y="254"/>
                  </a:cubicBezTo>
                  <a:cubicBezTo>
                    <a:pt x="27" y="196"/>
                    <a:pt x="27" y="196"/>
                    <a:pt x="27" y="196"/>
                  </a:cubicBezTo>
                  <a:cubicBezTo>
                    <a:pt x="22" y="193"/>
                    <a:pt x="19" y="189"/>
                    <a:pt x="18" y="184"/>
                  </a:cubicBezTo>
                  <a:cubicBezTo>
                    <a:pt x="17" y="179"/>
                    <a:pt x="18" y="174"/>
                    <a:pt x="21" y="170"/>
                  </a:cubicBezTo>
                  <a:cubicBezTo>
                    <a:pt x="84" y="85"/>
                    <a:pt x="180" y="29"/>
                    <a:pt x="285" y="18"/>
                  </a:cubicBezTo>
                  <a:cubicBezTo>
                    <a:pt x="285" y="18"/>
                    <a:pt x="286" y="18"/>
                    <a:pt x="286" y="18"/>
                  </a:cubicBezTo>
                  <a:cubicBezTo>
                    <a:pt x="296" y="18"/>
                    <a:pt x="304" y="26"/>
                    <a:pt x="304" y="36"/>
                  </a:cubicBezTo>
                  <a:lnTo>
                    <a:pt x="304" y="152"/>
                  </a:lnTo>
                  <a:close/>
                </a:path>
              </a:pathLst>
            </a:custGeom>
            <a:solidFill>
              <a:srgbClr val="00A1E0">
                <a:alpha val="30000"/>
              </a:srgbClr>
            </a:solidFill>
            <a:ln>
              <a:noFill/>
            </a:ln>
            <a:effectLst/>
          </p:spPr>
          <p:txBody>
            <a:bodyPr vert="horz" wrap="square" lIns="243840" tIns="121920" rIns="243840" bIns="121920" numCol="1" anchor="t" anchorCtr="0" compatLnSpc="1">
              <a:prstTxWarp prst="textNoShape">
                <a:avLst/>
              </a:prstTxWarp>
            </a:bodyPr>
            <a:lstStyle/>
            <a:p>
              <a:endParaRPr lang="en-US" sz="4800"/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934378C7-65CB-8E36-8157-D3A33E76EF5A}"/>
              </a:ext>
            </a:extLst>
          </p:cNvPr>
          <p:cNvSpPr txBox="1"/>
          <p:nvPr/>
        </p:nvSpPr>
        <p:spPr>
          <a:xfrm>
            <a:off x="1348690" y="1924593"/>
            <a:ext cx="2889254" cy="52841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r" defTabSz="914217">
              <a:lnSpc>
                <a:spcPts val="1750"/>
              </a:lnSpc>
              <a:spcBef>
                <a:spcPts val="900"/>
              </a:spcBef>
            </a:pPr>
            <a:r>
              <a:rPr lang="en-US" sz="1100">
                <a:solidFill>
                  <a:schemeClr val="accent1"/>
                </a:solidFill>
                <a:latin typeface="Arial"/>
                <a:ea typeface="Lato Light"/>
                <a:cs typeface="Arial"/>
              </a:rPr>
              <a:t>Develop and connect renewables to decarbonize the electricity system by 2040</a:t>
            </a:r>
            <a:endParaRPr lang="en-US" sz="2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471C66B-8EB2-140E-DAA0-66C8B2E26D7F}"/>
              </a:ext>
            </a:extLst>
          </p:cNvPr>
          <p:cNvSpPr txBox="1"/>
          <p:nvPr/>
        </p:nvSpPr>
        <p:spPr>
          <a:xfrm>
            <a:off x="1444632" y="1664705"/>
            <a:ext cx="2801489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spAutoFit/>
          </a:bodyPr>
          <a:lstStyle/>
          <a:p>
            <a:pPr algn="r" defTabSz="914217"/>
            <a:r>
              <a:rPr lang="en-US" sz="1400" b="1" err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arbonised</a:t>
            </a:r>
            <a:r>
              <a:rPr lang="en-US" sz="1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lectricit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5EDDAD6-E7CE-E095-418A-26BB75600C00}"/>
              </a:ext>
            </a:extLst>
          </p:cNvPr>
          <p:cNvSpPr txBox="1"/>
          <p:nvPr/>
        </p:nvSpPr>
        <p:spPr>
          <a:xfrm>
            <a:off x="702982" y="3501169"/>
            <a:ext cx="3226963" cy="75924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r" defTabSz="914217">
              <a:lnSpc>
                <a:spcPts val="1750"/>
              </a:lnSpc>
              <a:spcBef>
                <a:spcPts val="900"/>
              </a:spcBef>
            </a:pPr>
            <a:r>
              <a:rPr lang="en-US" sz="1100">
                <a:solidFill>
                  <a:schemeClr val="accent1"/>
                </a:solidFill>
                <a:latin typeface="Arial" panose="020B0604020202020204" pitchFamily="34" charset="0"/>
                <a:ea typeface="Lato Light"/>
                <a:cs typeface="Arial" panose="020B0604020202020204" pitchFamily="34" charset="0"/>
              </a:rPr>
              <a:t>Develop plans for an Energy Park where Large Energy Users benefit from the availability of Renewable electricity and Green H2.</a:t>
            </a:r>
            <a:endParaRPr lang="en-US" sz="1100">
              <a:solidFill>
                <a:schemeClr val="accent1"/>
              </a:solidFill>
              <a:latin typeface="Arial" panose="020B0604020202020204" pitchFamily="34" charset="0"/>
              <a:ea typeface="Lato Light" panose="020F0502020204030203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9E94BAE-9542-B8F7-552C-5737F054EB84}"/>
              </a:ext>
            </a:extLst>
          </p:cNvPr>
          <p:cNvSpPr txBox="1"/>
          <p:nvPr/>
        </p:nvSpPr>
        <p:spPr>
          <a:xfrm>
            <a:off x="2599131" y="3223950"/>
            <a:ext cx="1330814" cy="307777"/>
          </a:xfrm>
          <a:prstGeom prst="rect">
            <a:avLst/>
          </a:prstGeom>
          <a:noFill/>
        </p:spPr>
        <p:txBody>
          <a:bodyPr wrap="none" lIns="91440" tIns="45720" rIns="91440" bIns="45720" rtlCol="0" anchor="ctr">
            <a:spAutoFit/>
          </a:bodyPr>
          <a:lstStyle/>
          <a:p>
            <a:pPr algn="r" defTabSz="914217"/>
            <a:r>
              <a:rPr lang="en-US" sz="1400" b="1">
                <a:solidFill>
                  <a:srgbClr val="00A5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ergy Parks</a:t>
            </a:r>
            <a:endParaRPr lang="en-US" sz="2000">
              <a:solidFill>
                <a:srgbClr val="00A5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308F673-598A-95FD-F3E5-A7E1EC9E62D7}"/>
              </a:ext>
            </a:extLst>
          </p:cNvPr>
          <p:cNvSpPr txBox="1"/>
          <p:nvPr/>
        </p:nvSpPr>
        <p:spPr>
          <a:xfrm>
            <a:off x="7851954" y="1857684"/>
            <a:ext cx="3382885" cy="75777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914217">
              <a:lnSpc>
                <a:spcPts val="1750"/>
              </a:lnSpc>
              <a:spcBef>
                <a:spcPts val="900"/>
              </a:spcBef>
            </a:pPr>
            <a:r>
              <a:rPr lang="en-US" sz="1100">
                <a:solidFill>
                  <a:schemeClr val="accent1"/>
                </a:solidFill>
                <a:latin typeface="Arial" panose="020B0604020202020204" pitchFamily="34" charset="0"/>
                <a:ea typeface="Lato Light"/>
                <a:cs typeface="Arial" panose="020B0604020202020204" pitchFamily="34" charset="0"/>
              </a:rPr>
              <a:t>Construct new electricity generation infrastructure at </a:t>
            </a:r>
            <a:r>
              <a:rPr lang="en-US" sz="1100" err="1">
                <a:solidFill>
                  <a:schemeClr val="accent1"/>
                </a:solidFill>
                <a:latin typeface="Arial" panose="020B0604020202020204" pitchFamily="34" charset="0"/>
                <a:ea typeface="Lato Light"/>
                <a:cs typeface="Arial" panose="020B0604020202020204" pitchFamily="34" charset="0"/>
              </a:rPr>
              <a:t>Aghada</a:t>
            </a:r>
            <a:r>
              <a:rPr lang="en-US" sz="1100">
                <a:solidFill>
                  <a:schemeClr val="accent1"/>
                </a:solidFill>
                <a:latin typeface="Arial" panose="020B0604020202020204" pitchFamily="34" charset="0"/>
                <a:ea typeface="Lato Light"/>
                <a:cs typeface="Arial" panose="020B0604020202020204" pitchFamily="34" charset="0"/>
              </a:rPr>
              <a:t> to support a reliable low-carbon electricity system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2D38024-71A9-8577-02D4-FFE21A8BACFD}"/>
              </a:ext>
            </a:extLst>
          </p:cNvPr>
          <p:cNvSpPr txBox="1"/>
          <p:nvPr/>
        </p:nvSpPr>
        <p:spPr>
          <a:xfrm>
            <a:off x="7851954" y="1597796"/>
            <a:ext cx="2244269" cy="307777"/>
          </a:xfrm>
          <a:prstGeom prst="rect">
            <a:avLst/>
          </a:prstGeom>
          <a:noFill/>
        </p:spPr>
        <p:txBody>
          <a:bodyPr wrap="none" lIns="91440" tIns="45720" rIns="91440" bIns="45720" rtlCol="0" anchor="ctr">
            <a:spAutoFit/>
          </a:bodyPr>
          <a:lstStyle/>
          <a:p>
            <a:pPr defTabSz="914217"/>
            <a:r>
              <a:rPr lang="en-US" sz="1400" b="1">
                <a:solidFill>
                  <a:srgbClr val="58A61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eneration of </a:t>
            </a:r>
            <a:r>
              <a:rPr lang="en-US" sz="1400" b="1" err="1">
                <a:solidFill>
                  <a:srgbClr val="58A61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hada</a:t>
            </a:r>
            <a:endParaRPr lang="en-US" sz="1400" b="1">
              <a:solidFill>
                <a:srgbClr val="58A61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87E5CC1-9AC4-4E1D-59AA-9DA8985271BA}"/>
              </a:ext>
            </a:extLst>
          </p:cNvPr>
          <p:cNvSpPr txBox="1"/>
          <p:nvPr/>
        </p:nvSpPr>
        <p:spPr>
          <a:xfrm>
            <a:off x="8032896" y="3486926"/>
            <a:ext cx="3009556" cy="75777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914217">
              <a:lnSpc>
                <a:spcPts val="1750"/>
              </a:lnSpc>
              <a:spcBef>
                <a:spcPts val="900"/>
              </a:spcBef>
            </a:pPr>
            <a:r>
              <a:rPr lang="en-US" sz="1100">
                <a:solidFill>
                  <a:schemeClr val="accent1"/>
                </a:solidFill>
                <a:latin typeface="Arial" panose="020B0604020202020204" pitchFamily="34" charset="0"/>
                <a:ea typeface="Lato Light"/>
                <a:cs typeface="Arial" panose="020B0604020202020204" pitchFamily="34" charset="0"/>
              </a:rPr>
              <a:t>Innovate and lead with early Hydrogen demonstration projects. Collaborate with partners to develop a Green H2 industry</a:t>
            </a:r>
            <a:endParaRPr lang="en-US" sz="1100">
              <a:solidFill>
                <a:schemeClr val="accent1"/>
              </a:solidFill>
              <a:latin typeface="Arial" panose="020B0604020202020204" pitchFamily="34" charset="0"/>
              <a:ea typeface="Lato Light" panose="020F0502020204030203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80F72AB-45B6-A5BE-7B99-6C904C87106C}"/>
              </a:ext>
            </a:extLst>
          </p:cNvPr>
          <p:cNvSpPr txBox="1"/>
          <p:nvPr/>
        </p:nvSpPr>
        <p:spPr>
          <a:xfrm>
            <a:off x="8032896" y="3209707"/>
            <a:ext cx="2265364" cy="307777"/>
          </a:xfrm>
          <a:prstGeom prst="rect">
            <a:avLst/>
          </a:prstGeom>
          <a:noFill/>
        </p:spPr>
        <p:txBody>
          <a:bodyPr wrap="none" lIns="91440" tIns="45720" rIns="91440" bIns="45720" rtlCol="0" anchor="ctr">
            <a:spAutoFit/>
          </a:bodyPr>
          <a:lstStyle/>
          <a:p>
            <a:pPr defTabSz="914217"/>
            <a:r>
              <a:rPr lang="en-US" sz="14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rly Hydrogen Projects</a:t>
            </a:r>
            <a:endParaRPr lang="en-US" sz="200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0F199DA-9741-4F8F-B122-07D2DAC87EA3}"/>
              </a:ext>
            </a:extLst>
          </p:cNvPr>
          <p:cNvSpPr txBox="1"/>
          <p:nvPr/>
        </p:nvSpPr>
        <p:spPr>
          <a:xfrm>
            <a:off x="6973268" y="5528207"/>
            <a:ext cx="3966288" cy="52841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914217">
              <a:lnSpc>
                <a:spcPts val="1750"/>
              </a:lnSpc>
              <a:spcBef>
                <a:spcPts val="900"/>
              </a:spcBef>
            </a:pPr>
            <a:r>
              <a:rPr lang="en-US" sz="1100">
                <a:solidFill>
                  <a:schemeClr val="accent1"/>
                </a:solidFill>
                <a:latin typeface="Arial" panose="020B0604020202020204" pitchFamily="34" charset="0"/>
                <a:ea typeface="Lato Light"/>
                <a:cs typeface="Arial" panose="020B0604020202020204" pitchFamily="34" charset="0"/>
              </a:rPr>
              <a:t>Develop options for the storage of de-</a:t>
            </a:r>
            <a:r>
              <a:rPr lang="en-US" sz="1100" err="1">
                <a:solidFill>
                  <a:schemeClr val="accent1"/>
                </a:solidFill>
                <a:latin typeface="Arial" panose="020B0604020202020204" pitchFamily="34" charset="0"/>
                <a:ea typeface="Lato Light"/>
                <a:cs typeface="Arial" panose="020B0604020202020204" pitchFamily="34" charset="0"/>
              </a:rPr>
              <a:t>carbonised</a:t>
            </a:r>
            <a:r>
              <a:rPr lang="en-US" sz="1100">
                <a:solidFill>
                  <a:schemeClr val="accent1"/>
                </a:solidFill>
                <a:latin typeface="Arial" panose="020B0604020202020204" pitchFamily="34" charset="0"/>
                <a:ea typeface="Lato Light"/>
                <a:cs typeface="Arial" panose="020B0604020202020204" pitchFamily="34" charset="0"/>
              </a:rPr>
              <a:t> fuels to support the variability of renewables. </a:t>
            </a:r>
            <a:endParaRPr lang="en-US" sz="200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E0E10B9-720D-CF50-5D75-A23B5B68849D}"/>
              </a:ext>
            </a:extLst>
          </p:cNvPr>
          <p:cNvSpPr txBox="1"/>
          <p:nvPr/>
        </p:nvSpPr>
        <p:spPr>
          <a:xfrm>
            <a:off x="6973268" y="5235819"/>
            <a:ext cx="4132863" cy="307777"/>
          </a:xfrm>
          <a:prstGeom prst="rect">
            <a:avLst/>
          </a:prstGeom>
          <a:noFill/>
        </p:spPr>
        <p:txBody>
          <a:bodyPr wrap="none" lIns="91440" tIns="45720" rIns="91440" bIns="45720" rtlCol="0" anchor="ctr">
            <a:spAutoFit/>
          </a:bodyPr>
          <a:lstStyle/>
          <a:p>
            <a:pPr defTabSz="914217"/>
            <a:r>
              <a:rPr lang="en-US" sz="1400" b="1">
                <a:solidFill>
                  <a:srgbClr val="E98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ydrogen at Scale – Energy Storage Solutions</a:t>
            </a:r>
            <a:endParaRPr lang="en-US" sz="2000">
              <a:solidFill>
                <a:srgbClr val="E983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454598A-FE4D-B48F-CEBE-A6B63353F1CA}"/>
              </a:ext>
            </a:extLst>
          </p:cNvPr>
          <p:cNvSpPr txBox="1"/>
          <p:nvPr/>
        </p:nvSpPr>
        <p:spPr>
          <a:xfrm>
            <a:off x="1248442" y="5539196"/>
            <a:ext cx="3781929" cy="52841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r" defTabSz="914217">
              <a:lnSpc>
                <a:spcPts val="1750"/>
              </a:lnSpc>
              <a:spcBef>
                <a:spcPts val="900"/>
              </a:spcBef>
            </a:pPr>
            <a:r>
              <a:rPr lang="en-US" sz="1100">
                <a:solidFill>
                  <a:schemeClr val="accent1"/>
                </a:solidFill>
                <a:latin typeface="Arial" panose="020B0604020202020204" pitchFamily="34" charset="0"/>
                <a:ea typeface="Lato Light"/>
                <a:cs typeface="Arial" panose="020B0604020202020204" pitchFamily="34" charset="0"/>
              </a:rPr>
              <a:t>Collaborate with local industry to develop an Industrial Cluster in Cork based on Green Renewable Energy</a:t>
            </a:r>
            <a:endParaRPr lang="en-US" sz="1100">
              <a:solidFill>
                <a:schemeClr val="accent1"/>
              </a:solidFill>
              <a:latin typeface="Arial" panose="020B0604020202020204" pitchFamily="34" charset="0"/>
              <a:ea typeface="Lato Light" panose="020F0502020204030203" pitchFamily="34" charset="0"/>
              <a:cs typeface="Arial" panose="020B0604020202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2F8423D-407B-59EB-7053-A7CCD5CA5581}"/>
              </a:ext>
            </a:extLst>
          </p:cNvPr>
          <p:cNvSpPr txBox="1"/>
          <p:nvPr/>
        </p:nvSpPr>
        <p:spPr>
          <a:xfrm>
            <a:off x="2789322" y="5246808"/>
            <a:ext cx="2223686" cy="307777"/>
          </a:xfrm>
          <a:prstGeom prst="rect">
            <a:avLst/>
          </a:prstGeom>
          <a:noFill/>
        </p:spPr>
        <p:txBody>
          <a:bodyPr wrap="none" lIns="91440" tIns="45720" rIns="91440" bIns="45720" rtlCol="0" anchor="ctr">
            <a:spAutoFit/>
          </a:bodyPr>
          <a:lstStyle/>
          <a:p>
            <a:pPr algn="r" defTabSz="914217"/>
            <a:r>
              <a:rPr lang="en-US"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ltic Hydrogen Cluster</a:t>
            </a:r>
            <a:endParaRPr lang="en-US" sz="20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762E6A70-7366-C11E-3936-4382D9845AE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87550" y="3243334"/>
            <a:ext cx="541856" cy="541856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32851C09-C93B-B526-1D90-70645FE97A7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513678" y="2003453"/>
            <a:ext cx="497833" cy="497833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DB9B3450-3AD7-41A0-86DC-3DFD2789BFC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60015" y="4503182"/>
            <a:ext cx="582667" cy="468976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151F6A2F-E40E-C32A-E25A-C476E44197C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068255" y="4444538"/>
            <a:ext cx="512651" cy="527619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EB44A37D-93B0-16F3-10C0-F81FF380C73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264358" y="3245740"/>
            <a:ext cx="497833" cy="527777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8BB868B6-97FC-3D6C-BBFD-93A11F23C5B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019639" y="1914637"/>
            <a:ext cx="546900" cy="527777"/>
          </a:xfrm>
          <a:prstGeom prst="rect">
            <a:avLst/>
          </a:prstGeom>
        </p:spPr>
      </p:pic>
      <p:sp>
        <p:nvSpPr>
          <p:cNvPr id="37" name="Oval 57">
            <a:extLst>
              <a:ext uri="{FF2B5EF4-FFF2-40B4-BE49-F238E27FC236}">
                <a16:creationId xmlns:a16="http://schemas.microsoft.com/office/drawing/2014/main" id="{2C5460AE-0D86-6A12-F237-1B8B000B97D4}"/>
              </a:ext>
            </a:extLst>
          </p:cNvPr>
          <p:cNvSpPr>
            <a:spLocks/>
          </p:cNvSpPr>
          <p:nvPr/>
        </p:nvSpPr>
        <p:spPr bwMode="auto">
          <a:xfrm>
            <a:off x="5106649" y="2590441"/>
            <a:ext cx="1838524" cy="1787391"/>
          </a:xfrm>
          <a:prstGeom prst="ellipse">
            <a:avLst/>
          </a:prstGeom>
          <a:gradFill flip="none" rotWithShape="1">
            <a:gsLst>
              <a:gs pos="0">
                <a:schemeClr val="tx2">
                  <a:lumMod val="95000"/>
                </a:schemeClr>
              </a:gs>
              <a:gs pos="100000">
                <a:schemeClr val="tx2"/>
              </a:gs>
            </a:gsLst>
            <a:lin ang="18900000" scaled="1"/>
            <a:tileRect/>
          </a:gradFill>
          <a:ln>
            <a:gradFill>
              <a:gsLst>
                <a:gs pos="0">
                  <a:srgbClr val="003C71"/>
                </a:gs>
                <a:gs pos="26000">
                  <a:srgbClr val="00B0F0"/>
                </a:gs>
                <a:gs pos="63000">
                  <a:srgbClr val="00A599"/>
                </a:gs>
                <a:gs pos="100000">
                  <a:srgbClr val="FFCC00"/>
                </a:gs>
              </a:gsLst>
              <a:lin ang="21000000" scaled="0"/>
            </a:gradFill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2400" b="1">
                <a:solidFill>
                  <a:schemeClr val="accent1"/>
                </a:solidFill>
              </a:rPr>
              <a:t>Net Zero by 2040</a:t>
            </a:r>
          </a:p>
        </p:txBody>
      </p:sp>
    </p:spTree>
    <p:extLst>
      <p:ext uri="{BB962C8B-B14F-4D97-AF65-F5344CB8AC3E}">
        <p14:creationId xmlns:p14="http://schemas.microsoft.com/office/powerpoint/2010/main" val="426827790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3D13F6C-03E7-53B7-4976-8DB8079A271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152" b="2152"/>
          <a:stretch/>
        </p:blipFill>
        <p:spPr>
          <a:xfrm>
            <a:off x="4353481" y="1208292"/>
            <a:ext cx="3235969" cy="2324100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7F62F0BA-3DE1-4C82-9A3B-71AFC3133E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441" y="297772"/>
            <a:ext cx="9568567" cy="711736"/>
          </a:xfrm>
        </p:spPr>
        <p:txBody>
          <a:bodyPr lIns="91440" tIns="45720" rIns="91440" bIns="45720" anchor="t"/>
          <a:lstStyle/>
          <a:p>
            <a:r>
              <a:rPr lang="en-GB" sz="2550" b="1">
                <a:latin typeface="Calibri"/>
                <a:cs typeface="Calibri"/>
              </a:rPr>
              <a:t>Offshore Wind Key Messages</a:t>
            </a:r>
            <a:endParaRPr lang="en-IE" sz="2550" b="1">
              <a:latin typeface="Calibri"/>
              <a:cs typeface="Calibri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6CE3025-931D-60F3-B0A4-57CDDDCC8834}"/>
              </a:ext>
            </a:extLst>
          </p:cNvPr>
          <p:cNvSpPr txBox="1"/>
          <p:nvPr/>
        </p:nvSpPr>
        <p:spPr>
          <a:xfrm>
            <a:off x="344412" y="3733901"/>
            <a:ext cx="3467205" cy="1046404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80000" tIns="0" rIns="0" bIns="0" numCol="1" spcCol="1270" anchor="t" anchorCtr="0">
            <a:noAutofit/>
          </a:bodyPr>
          <a:lstStyle/>
          <a:p>
            <a:pPr marL="0" marR="0" lvl="0" indent="0" algn="l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  <a:tabLst/>
              <a:defRPr/>
            </a:pPr>
            <a:r>
              <a:rPr lang="en-US">
                <a:solidFill>
                  <a:srgbClr val="003C71"/>
                </a:solidFill>
                <a:latin typeface="Calibri"/>
                <a:cs typeface="Calibri"/>
              </a:rPr>
              <a:t>Offshore wind has the potential to bring green renewable energy to regions, as well as sustainable jobs and economic growth.</a:t>
            </a:r>
          </a:p>
          <a:p>
            <a:pPr marL="0" marR="0" lvl="0" indent="0" algn="l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  <a:tabLst/>
              <a:defRPr/>
            </a:pPr>
            <a:r>
              <a:rPr lang="en-US">
                <a:solidFill>
                  <a:srgbClr val="003C71"/>
                </a:solidFill>
                <a:latin typeface="Calibri"/>
                <a:cs typeface="Calibri"/>
              </a:rPr>
              <a:t>Large Energy Users and FDI </a:t>
            </a:r>
            <a:r>
              <a:rPr lang="en-US" err="1">
                <a:solidFill>
                  <a:srgbClr val="003C71"/>
                </a:solidFill>
                <a:latin typeface="Calibri"/>
                <a:cs typeface="Calibri"/>
              </a:rPr>
              <a:t>decarbonisation</a:t>
            </a:r>
            <a:r>
              <a:rPr lang="en-US">
                <a:solidFill>
                  <a:srgbClr val="003C71"/>
                </a:solidFill>
                <a:latin typeface="Calibri"/>
                <a:cs typeface="Calibri"/>
              </a:rPr>
              <a:t> targets driving greater demand for cleaner energy, Ireland southern region needs to respond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360AC52-C628-D1F9-6B60-F25B4E157C92}"/>
              </a:ext>
            </a:extLst>
          </p:cNvPr>
          <p:cNvSpPr txBox="1"/>
          <p:nvPr/>
        </p:nvSpPr>
        <p:spPr>
          <a:xfrm>
            <a:off x="4353481" y="3731176"/>
            <a:ext cx="3235968" cy="203052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80000" tIns="0" rIns="0" bIns="0" numCol="1" spcCol="1270" anchor="t" anchorCtr="0">
            <a:noAutofit/>
          </a:bodyPr>
          <a:lstStyle/>
          <a:p>
            <a:pPr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US">
                <a:solidFill>
                  <a:srgbClr val="003C71"/>
                </a:solidFill>
                <a:latin typeface="Calibri"/>
                <a:cs typeface="Calibri"/>
              </a:rPr>
              <a:t>The southern region has the key ingredients to capitalize on the OSW opportunity. </a:t>
            </a:r>
            <a:endParaRPr lang="en-US">
              <a:solidFill>
                <a:srgbClr val="003C7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US">
                <a:solidFill>
                  <a:srgbClr val="003C71"/>
                </a:solidFill>
                <a:latin typeface="Calibri"/>
                <a:cs typeface="Calibri"/>
              </a:rPr>
              <a:t>Support to port development, infrastructure and OSW industrial strategy in the region is vital.</a:t>
            </a:r>
            <a:endParaRPr lang="en-US" sz="1800" b="0" i="0" u="none" strike="noStrike" kern="1200" cap="none" spc="0" normalizeH="0" baseline="0" noProof="0">
              <a:ln>
                <a:noFill/>
              </a:ln>
              <a:solidFill>
                <a:srgbClr val="003C71"/>
              </a:solidFill>
              <a:effectLst/>
              <a:uLnTx/>
              <a:uFillTx/>
              <a:latin typeface="Calibri"/>
              <a:cs typeface="Calibri"/>
            </a:endParaRPr>
          </a:p>
          <a:p>
            <a:pPr marL="0" marR="0" lvl="0" indent="0" algn="l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  <a:tabLst/>
              <a:defRPr/>
            </a:pPr>
            <a:endParaRPr lang="en-US"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C75C34A-CEB7-14E8-3CC4-4F4332D8D965}"/>
              </a:ext>
            </a:extLst>
          </p:cNvPr>
          <p:cNvSpPr txBox="1"/>
          <p:nvPr/>
        </p:nvSpPr>
        <p:spPr>
          <a:xfrm>
            <a:off x="8131313" y="3731176"/>
            <a:ext cx="3219450" cy="1311063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80000" tIns="0" rIns="0" bIns="0" numCol="1" spcCol="1270" anchor="t" anchorCtr="0">
            <a:noAutofit/>
          </a:bodyPr>
          <a:lstStyle/>
          <a:p>
            <a:pPr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US" dirty="0">
                <a:solidFill>
                  <a:srgbClr val="003C71"/>
                </a:solidFill>
                <a:latin typeface="Calibri"/>
                <a:cs typeface="Calibri"/>
              </a:rPr>
              <a:t>Industry needs clarity on the </a:t>
            </a:r>
            <a:r>
              <a:rPr lang="en-GB" dirty="0">
                <a:solidFill>
                  <a:srgbClr val="003C71"/>
                </a:solidFill>
                <a:latin typeface="Calibri"/>
                <a:cs typeface="Calibri"/>
              </a:rPr>
              <a:t>timelines Future Framework, route to market &amp; subsequent auctions. </a:t>
            </a:r>
          </a:p>
          <a:p>
            <a:pPr marL="0" marR="0" lvl="0" indent="0" algn="l" defTabSz="10668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  <a:tabLst/>
              <a:defRPr/>
            </a:pPr>
            <a:r>
              <a:rPr lang="en-GB" dirty="0">
                <a:solidFill>
                  <a:srgbClr val="003C71"/>
                </a:solidFill>
                <a:latin typeface="Calibri"/>
                <a:cs typeface="Calibri"/>
              </a:rPr>
              <a:t>Commencement of the MAC process for Future Framework in 2025 would give great confidence to the market and develop the supply chain.</a:t>
            </a:r>
            <a:endParaRPr lang="en-US" dirty="0">
              <a:ea typeface="+mn-ea"/>
              <a:cs typeface="+mn-cs"/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46ED16A-341C-8FA2-B4F7-D55E4AB1E53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/>
          <a:stretch/>
        </p:blipFill>
        <p:spPr>
          <a:xfrm>
            <a:off x="344413" y="1208292"/>
            <a:ext cx="3467205" cy="2324100"/>
          </a:xfrm>
          <a:prstGeom prst="rect">
            <a:avLst/>
          </a:prstGeom>
        </p:spPr>
      </p:pic>
      <p:sp>
        <p:nvSpPr>
          <p:cNvPr id="2" name="AutoShape 2" descr="Attached image - No description set">
            <a:extLst>
              <a:ext uri="{FF2B5EF4-FFF2-40B4-BE49-F238E27FC236}">
                <a16:creationId xmlns:a16="http://schemas.microsoft.com/office/drawing/2014/main" id="{1ADE769C-45AD-B7D6-87B1-EA09C167598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41258" y="3134552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2052" name="Picture 4" descr="A picture containing generator, windmill, device, outdoor&#10;&#10;Description automatically generated">
            <a:extLst>
              <a:ext uri="{FF2B5EF4-FFF2-40B4-BE49-F238E27FC236}">
                <a16:creationId xmlns:a16="http://schemas.microsoft.com/office/drawing/2014/main" id="{D9F2395F-A0AC-F73B-C295-0CFE29E49F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1313" y="1235483"/>
            <a:ext cx="3219450" cy="2324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63408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7DF298-9EED-08A2-6E65-F295D4199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327" y="3073132"/>
            <a:ext cx="11159837" cy="711736"/>
          </a:xfrm>
        </p:spPr>
        <p:txBody>
          <a:bodyPr/>
          <a:lstStyle/>
          <a:p>
            <a:r>
              <a:rPr lang="en-GB" sz="400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9065193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1642DE-4FDA-665E-824A-5DFB8C1EA1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318470"/>
            <a:ext cx="9568208" cy="711736"/>
          </a:xfrm>
        </p:spPr>
        <p:txBody>
          <a:bodyPr/>
          <a:lstStyle/>
          <a:p>
            <a:r>
              <a:rPr lang="en-GB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5B3724-9C0C-E241-49E3-23FC45CFA10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8" y="1053129"/>
            <a:ext cx="11163300" cy="4560492"/>
          </a:xfrm>
        </p:spPr>
        <p:txBody>
          <a:bodyPr lIns="91440" tIns="45720" rIns="91440" bIns="45720" anchor="t"/>
          <a:lstStyle/>
          <a:p>
            <a:pPr marL="807720" lvl="3" indent="-571500">
              <a:lnSpc>
                <a:spcPct val="150000"/>
              </a:lnSpc>
              <a:buClr>
                <a:schemeClr val="accent2"/>
              </a:buClr>
              <a:buFont typeface="Wingdings" panose="05000000000000000000" pitchFamily="2" charset="2"/>
              <a:buChar char="v"/>
            </a:pPr>
            <a:r>
              <a:rPr lang="en-GB" sz="2800" dirty="0">
                <a:solidFill>
                  <a:srgbClr val="002D55"/>
                </a:solidFill>
                <a:latin typeface="Calibri"/>
                <a:cs typeface="Calibri"/>
              </a:rPr>
              <a:t>Sean – </a:t>
            </a:r>
            <a:r>
              <a:rPr lang="en-GB" sz="2400" dirty="0">
                <a:solidFill>
                  <a:srgbClr val="002D55"/>
                </a:solidFill>
                <a:latin typeface="Calibri"/>
                <a:cs typeface="Calibri"/>
              </a:rPr>
              <a:t>Welcome &amp; Introductions, and overview of ESB</a:t>
            </a:r>
            <a:endParaRPr lang="en-US" sz="2400" dirty="0"/>
          </a:p>
          <a:p>
            <a:pPr marL="807720" lvl="3" indent="-571500">
              <a:lnSpc>
                <a:spcPct val="150000"/>
              </a:lnSpc>
              <a:buClr>
                <a:schemeClr val="accent2"/>
              </a:buClr>
              <a:buFont typeface="Wingdings" panose="05000000000000000000" pitchFamily="2" charset="2"/>
              <a:buChar char="v"/>
            </a:pPr>
            <a:r>
              <a:rPr lang="en-GB" sz="2800" dirty="0">
                <a:solidFill>
                  <a:srgbClr val="002D55"/>
                </a:solidFill>
                <a:latin typeface="Calibri"/>
                <a:cs typeface="Calibri"/>
              </a:rPr>
              <a:t>Thomas – </a:t>
            </a:r>
            <a:r>
              <a:rPr lang="en-GB" sz="2400" dirty="0">
                <a:solidFill>
                  <a:srgbClr val="002D55"/>
                </a:solidFill>
                <a:latin typeface="Calibri"/>
                <a:cs typeface="Calibri"/>
              </a:rPr>
              <a:t>Overview of </a:t>
            </a:r>
            <a:r>
              <a:rPr lang="en-GB" sz="2400" dirty="0" err="1">
                <a:solidFill>
                  <a:srgbClr val="002D55"/>
                </a:solidFill>
                <a:latin typeface="Calibri"/>
                <a:cs typeface="Calibri"/>
              </a:rPr>
              <a:t>Ørsted</a:t>
            </a:r>
            <a:endParaRPr lang="en-GB" sz="2400" dirty="0">
              <a:solidFill>
                <a:srgbClr val="002D55"/>
              </a:solidFill>
              <a:latin typeface="Calibri"/>
              <a:ea typeface="Calibri"/>
              <a:cs typeface="Calibri"/>
            </a:endParaRPr>
          </a:p>
          <a:p>
            <a:pPr marL="807720" lvl="3" indent="-571500">
              <a:lnSpc>
                <a:spcPct val="150000"/>
              </a:lnSpc>
              <a:buClr>
                <a:schemeClr val="accent2"/>
              </a:buClr>
              <a:buFont typeface="Wingdings" panose="05000000000000000000" pitchFamily="2" charset="2"/>
              <a:buChar char="v"/>
            </a:pPr>
            <a:r>
              <a:rPr lang="en-GB" sz="2800" dirty="0">
                <a:solidFill>
                  <a:srgbClr val="002D55"/>
                </a:solidFill>
                <a:latin typeface="Calibri"/>
                <a:cs typeface="Calibri"/>
              </a:rPr>
              <a:t>Sean – </a:t>
            </a:r>
            <a:r>
              <a:rPr lang="en-GB" sz="2400" dirty="0">
                <a:solidFill>
                  <a:srgbClr val="002D55"/>
                </a:solidFill>
                <a:latin typeface="Calibri"/>
                <a:cs typeface="Calibri"/>
              </a:rPr>
              <a:t>Offshore Wind in Ireland – Policy developments</a:t>
            </a:r>
            <a:endParaRPr lang="en-GB" sz="2400" dirty="0">
              <a:solidFill>
                <a:srgbClr val="002D55"/>
              </a:solidFill>
              <a:latin typeface="Calibri"/>
              <a:ea typeface="Calibri"/>
              <a:cs typeface="Calibri"/>
            </a:endParaRPr>
          </a:p>
          <a:p>
            <a:pPr marL="807720" lvl="3" indent="-571500">
              <a:lnSpc>
                <a:spcPct val="150000"/>
              </a:lnSpc>
              <a:buClr>
                <a:schemeClr val="accent2"/>
              </a:buClr>
              <a:buFont typeface="Wingdings" panose="05000000000000000000" pitchFamily="2" charset="2"/>
              <a:buChar char="v"/>
            </a:pPr>
            <a:r>
              <a:rPr lang="en-GB" sz="2800" dirty="0">
                <a:solidFill>
                  <a:srgbClr val="002D55"/>
                </a:solidFill>
                <a:latin typeface="Calibri"/>
                <a:cs typeface="Calibri"/>
              </a:rPr>
              <a:t>Thomas – </a:t>
            </a:r>
            <a:r>
              <a:rPr lang="en-GB" sz="2400" dirty="0">
                <a:solidFill>
                  <a:srgbClr val="002D55"/>
                </a:solidFill>
                <a:latin typeface="Calibri"/>
                <a:cs typeface="Calibri"/>
              </a:rPr>
              <a:t>UK Energy Clusters</a:t>
            </a:r>
          </a:p>
          <a:p>
            <a:pPr marL="807720" lvl="3" indent="-571500">
              <a:lnSpc>
                <a:spcPct val="150000"/>
              </a:lnSpc>
              <a:buClr>
                <a:schemeClr val="accent2"/>
              </a:buClr>
              <a:buFont typeface="Wingdings" panose="05000000000000000000" pitchFamily="2" charset="2"/>
              <a:buChar char="v"/>
            </a:pPr>
            <a:r>
              <a:rPr lang="en-GB" sz="2800" dirty="0">
                <a:solidFill>
                  <a:srgbClr val="002D55"/>
                </a:solidFill>
                <a:latin typeface="Calibri"/>
                <a:cs typeface="Calibri"/>
              </a:rPr>
              <a:t>Keith – </a:t>
            </a:r>
            <a:r>
              <a:rPr lang="en-GB" sz="2400" dirty="0">
                <a:solidFill>
                  <a:srgbClr val="002D55"/>
                </a:solidFill>
                <a:latin typeface="Calibri"/>
                <a:cs typeface="Calibri"/>
              </a:rPr>
              <a:t>Green Energy @ Cork,  Green Atlantic @ Moneypoint</a:t>
            </a:r>
          </a:p>
          <a:p>
            <a:pPr marL="807720" lvl="3" indent="-571500">
              <a:lnSpc>
                <a:spcPct val="150000"/>
              </a:lnSpc>
              <a:buClr>
                <a:schemeClr val="accent2"/>
              </a:buClr>
              <a:buFont typeface="Wingdings" panose="05000000000000000000" pitchFamily="2" charset="2"/>
              <a:buChar char="v"/>
            </a:pPr>
            <a:r>
              <a:rPr lang="en-GB" sz="2800" dirty="0">
                <a:solidFill>
                  <a:srgbClr val="002D55"/>
                </a:solidFill>
                <a:latin typeface="Calibri"/>
                <a:cs typeface="Calibri"/>
              </a:rPr>
              <a:t>Sean - </a:t>
            </a:r>
            <a:r>
              <a:rPr lang="en-GB" sz="2400" dirty="0">
                <a:solidFill>
                  <a:srgbClr val="002D55"/>
                </a:solidFill>
                <a:latin typeface="Calibri"/>
                <a:cs typeface="Calibri"/>
              </a:rPr>
              <a:t>Key messag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520FB21-12A2-A49F-9ED4-C82D2DDDD4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64563" y="366712"/>
            <a:ext cx="3114675" cy="638175"/>
          </a:xfrm>
          <a:prstGeom prst="rect">
            <a:avLst/>
          </a:prstGeom>
        </p:spPr>
      </p:pic>
      <p:sp>
        <p:nvSpPr>
          <p:cNvPr id="5" name="AutoShape 2">
            <a:extLst>
              <a:ext uri="{FF2B5EF4-FFF2-40B4-BE49-F238E27FC236}">
                <a16:creationId xmlns:a16="http://schemas.microsoft.com/office/drawing/2014/main" id="{6FE7D0D2-0265-425D-5057-C9DC0BB1547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93139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815051" y="1512607"/>
            <a:ext cx="1497680" cy="3230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99" b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verview 	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3004232" y="1401203"/>
            <a:ext cx="1497680" cy="5537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99" b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1 2021 Financial Review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5D00F67-7031-4AAF-A85C-CA664A26279E}"/>
              </a:ext>
            </a:extLst>
          </p:cNvPr>
          <p:cNvSpPr txBox="1"/>
          <p:nvPr/>
        </p:nvSpPr>
        <p:spPr>
          <a:xfrm>
            <a:off x="5193415" y="1516460"/>
            <a:ext cx="1497680" cy="3230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99" b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usiness Review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50205E9-F8BD-49DD-8762-3BEB5319707A}"/>
              </a:ext>
            </a:extLst>
          </p:cNvPr>
          <p:cNvSpPr/>
          <p:nvPr/>
        </p:nvSpPr>
        <p:spPr>
          <a:xfrm>
            <a:off x="5848123" y="1962381"/>
            <a:ext cx="2487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37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IE">
                <a:solidFill>
                  <a:srgbClr val="467BBD"/>
                </a:solidFill>
                <a:latin typeface="Arial"/>
              </a:rPr>
              <a:t> 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FEE5332-A3FE-41EA-BEFC-797D84977C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b="1">
                <a:latin typeface="Calibri" panose="020F0502020204030204" pitchFamily="34" charset="0"/>
                <a:cs typeface="Calibri" panose="020F0502020204030204" pitchFamily="34" charset="0"/>
              </a:rPr>
              <a:t>About ESB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8C4C8AA-3576-482C-AE4A-E96F5ECEBFB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9637843" y="1521560"/>
            <a:ext cx="1271980" cy="1540259"/>
          </a:xfrm>
          <a:prstGeom prst="rect">
            <a:avLst/>
          </a:prstGeom>
        </p:spPr>
      </p:pic>
      <p:pic>
        <p:nvPicPr>
          <p:cNvPr id="23" name="Picture 2">
            <a:extLst>
              <a:ext uri="{FF2B5EF4-FFF2-40B4-BE49-F238E27FC236}">
                <a16:creationId xmlns:a16="http://schemas.microsoft.com/office/drawing/2014/main" id="{784C16D6-BFF5-401A-BF9A-30BCF90C47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1850" y="1598725"/>
            <a:ext cx="1925783" cy="1314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3">
            <a:extLst>
              <a:ext uri="{FF2B5EF4-FFF2-40B4-BE49-F238E27FC236}">
                <a16:creationId xmlns:a16="http://schemas.microsoft.com/office/drawing/2014/main" id="{7BD8DA8B-E058-4287-9513-0E3D99250F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902" y="1516995"/>
            <a:ext cx="1721644" cy="14533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Text Box 48">
            <a:extLst>
              <a:ext uri="{FF2B5EF4-FFF2-40B4-BE49-F238E27FC236}">
                <a16:creationId xmlns:a16="http://schemas.microsoft.com/office/drawing/2014/main" id="{9E07D685-F4C1-468F-9A1F-7A5AF327749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9285" y="1239203"/>
            <a:ext cx="2760321" cy="324000"/>
          </a:xfrm>
          <a:prstGeom prst="rect">
            <a:avLst/>
          </a:prstGeom>
          <a:gradFill flip="none" rotWithShape="1">
            <a:gsLst>
              <a:gs pos="0">
                <a:srgbClr val="0B0829"/>
              </a:gs>
              <a:gs pos="50000">
                <a:srgbClr val="003C77"/>
              </a:gs>
              <a:gs pos="100000">
                <a:srgbClr val="0098D3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tIns="46735" anchor="ctr"/>
          <a:lstStyle/>
          <a:p>
            <a:pPr algn="ctr" defTabSz="914377" eaLnBrk="0" fontAlgn="base" hangingPunct="0">
              <a:spcBef>
                <a:spcPct val="10000"/>
              </a:spcBef>
              <a:spcAft>
                <a:spcPct val="0"/>
              </a:spcAft>
              <a:defRPr/>
            </a:pPr>
            <a:r>
              <a:rPr lang="en-US" sz="1299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GULATED NETWORKS</a:t>
            </a:r>
            <a:endParaRPr lang="en-IE" sz="1299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Text Box 48">
            <a:extLst>
              <a:ext uri="{FF2B5EF4-FFF2-40B4-BE49-F238E27FC236}">
                <a16:creationId xmlns:a16="http://schemas.microsoft.com/office/drawing/2014/main" id="{C282E558-ED89-4DF5-AA49-40FD984607A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53460" y="1242708"/>
            <a:ext cx="2760321" cy="324000"/>
          </a:xfrm>
          <a:prstGeom prst="rect">
            <a:avLst/>
          </a:prstGeom>
          <a:gradFill flip="none" rotWithShape="1">
            <a:gsLst>
              <a:gs pos="0">
                <a:srgbClr val="0B0829"/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rgbClr val="0098D3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tIns="46735" anchor="ctr"/>
          <a:lstStyle/>
          <a:p>
            <a:pPr algn="ctr" defTabSz="914377" eaLnBrk="0" fontAlgn="base" hangingPunct="0">
              <a:spcBef>
                <a:spcPct val="10000"/>
              </a:spcBef>
              <a:spcAft>
                <a:spcPct val="0"/>
              </a:spcAft>
              <a:defRPr/>
            </a:pPr>
            <a:r>
              <a:rPr lang="en-US" sz="1299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NERATION &amp; TRADING</a:t>
            </a:r>
            <a:endParaRPr lang="en-IE" sz="1299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" name="Text Box 48">
            <a:extLst>
              <a:ext uri="{FF2B5EF4-FFF2-40B4-BE49-F238E27FC236}">
                <a16:creationId xmlns:a16="http://schemas.microsoft.com/office/drawing/2014/main" id="{24A66B0F-109E-4D0E-83DC-1837A085986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87642" y="1228019"/>
            <a:ext cx="2760321" cy="324000"/>
          </a:xfrm>
          <a:prstGeom prst="rect">
            <a:avLst/>
          </a:prstGeom>
          <a:gradFill flip="none" rotWithShape="1">
            <a:gsLst>
              <a:gs pos="0">
                <a:srgbClr val="0B0829"/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rgbClr val="0098D3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tIns="46735" anchor="ctr"/>
          <a:lstStyle/>
          <a:p>
            <a:pPr algn="ctr" defTabSz="914377" eaLnBrk="0" fontAlgn="base" hangingPunct="0">
              <a:spcBef>
                <a:spcPct val="10000"/>
              </a:spcBef>
              <a:spcAft>
                <a:spcPct val="0"/>
              </a:spcAft>
              <a:defRPr/>
            </a:pPr>
            <a:r>
              <a:rPr lang="en-US" sz="1299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USTOMER SOLUTIONS</a:t>
            </a:r>
            <a:endParaRPr lang="en-IE" sz="1299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0" name="Picture 6" descr="Northern Ireland Electricity - Wikipedia">
            <a:extLst>
              <a:ext uri="{FF2B5EF4-FFF2-40B4-BE49-F238E27FC236}">
                <a16:creationId xmlns:a16="http://schemas.microsoft.com/office/drawing/2014/main" id="{81677E79-913C-EF95-3E51-FAE11A1647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1864" y="3158753"/>
            <a:ext cx="1132133" cy="4730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ESB Networks | Cable Joints Cable Terminations 11kV 33kV MV HV">
            <a:extLst>
              <a:ext uri="{FF2B5EF4-FFF2-40B4-BE49-F238E27FC236}">
                <a16:creationId xmlns:a16="http://schemas.microsoft.com/office/drawing/2014/main" id="{76BBC039-3EF4-FEB7-D5FA-825BF67259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284" y="3223540"/>
            <a:ext cx="1132133" cy="318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3A38CD7-4191-0B4E-011B-8B2D885CC0E9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15156" b="20026"/>
          <a:stretch/>
        </p:blipFill>
        <p:spPr>
          <a:xfrm>
            <a:off x="4732510" y="3136618"/>
            <a:ext cx="1196661" cy="516695"/>
          </a:xfrm>
          <a:prstGeom prst="rect">
            <a:avLst/>
          </a:prstGeom>
        </p:spPr>
      </p:pic>
      <p:pic>
        <p:nvPicPr>
          <p:cNvPr id="13" name="Picture 12" descr="Contact Us - Cahermurphy II Wind Farm">
            <a:extLst>
              <a:ext uri="{FF2B5EF4-FFF2-40B4-BE49-F238E27FC236}">
                <a16:creationId xmlns:a16="http://schemas.microsoft.com/office/drawing/2014/main" id="{E90D9404-8CE3-B5FB-7A20-B2217D831A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6315" y="3134028"/>
            <a:ext cx="1549559" cy="521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C06BA98D-259F-DAB9-60C5-94D42EB298D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504913" y="3135625"/>
            <a:ext cx="3321193" cy="124335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23F7484-92E2-71D4-F60F-0CF5B441F89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50080" y="3762646"/>
            <a:ext cx="1076325" cy="1276351"/>
          </a:xfrm>
          <a:prstGeom prst="rect">
            <a:avLst/>
          </a:prstGeom>
        </p:spPr>
      </p:pic>
      <p:pic>
        <p:nvPicPr>
          <p:cNvPr id="1026" name="Picture 2" descr="CAIN: Maps: Outline Map of Northern Ireland; counties">
            <a:extLst>
              <a:ext uri="{FF2B5EF4-FFF2-40B4-BE49-F238E27FC236}">
                <a16:creationId xmlns:a16="http://schemas.microsoft.com/office/drawing/2014/main" id="{5F0817D7-58F2-DC00-1A23-2D1E3C33DD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7732" y="3746875"/>
            <a:ext cx="670117" cy="6157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40FAB0-BD19-E862-DD10-61DF1430C29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471963" y="3631834"/>
            <a:ext cx="1247452" cy="1438449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6BDECC73-26C1-326D-031E-0AD84D1F4AB8}"/>
              </a:ext>
            </a:extLst>
          </p:cNvPr>
          <p:cNvSpPr/>
          <p:nvPr/>
        </p:nvSpPr>
        <p:spPr>
          <a:xfrm>
            <a:off x="815051" y="5239507"/>
            <a:ext cx="4856463" cy="889497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en-IE" sz="2000" b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ver €1billion </a:t>
            </a:r>
            <a:r>
              <a:rPr lang="en-IE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vested in infrastructure per year </a:t>
            </a:r>
          </a:p>
          <a:p>
            <a:pPr algn="ctr" defTabSz="914377"/>
            <a:endParaRPr lang="en-IE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9E089E7-10CA-E537-71EA-7C21F70C1946}"/>
              </a:ext>
            </a:extLst>
          </p:cNvPr>
          <p:cNvSpPr/>
          <p:nvPr/>
        </p:nvSpPr>
        <p:spPr>
          <a:xfrm>
            <a:off x="6268489" y="5239507"/>
            <a:ext cx="5279475" cy="889497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en-IE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ver </a:t>
            </a:r>
            <a:r>
              <a:rPr lang="en-IE" sz="2000" b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,000 employees</a:t>
            </a:r>
            <a:r>
              <a:rPr lang="en-IE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with </a:t>
            </a:r>
            <a:r>
              <a:rPr lang="en-IE" sz="2000" b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,000</a:t>
            </a:r>
            <a:r>
              <a:rPr lang="en-IE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dded over the past 2 years alone</a:t>
            </a:r>
          </a:p>
        </p:txBody>
      </p:sp>
    </p:spTree>
    <p:extLst>
      <p:ext uri="{BB962C8B-B14F-4D97-AF65-F5344CB8AC3E}">
        <p14:creationId xmlns:p14="http://schemas.microsoft.com/office/powerpoint/2010/main" val="28589921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group of people on a beach&#10;&#10;Description automatically generated with low confidence">
            <a:extLst>
              <a:ext uri="{FF2B5EF4-FFF2-40B4-BE49-F238E27FC236}">
                <a16:creationId xmlns:a16="http://schemas.microsoft.com/office/drawing/2014/main" id="{8A21B06A-1000-FB24-C7DD-096069E130A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668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17168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8E1780-7972-4250-73F3-D736E47162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DE6449-051B-78A2-A582-CA7E345C607F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87C02C5-8DEE-8411-20F5-B00B19780EBF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50047C-00BB-5B00-48D9-DFE3E5B705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035663-435F-854D-AEB6-B650BABD5FA4}" type="datetime1">
              <a:rPr lang="en-IE" smtClean="0"/>
              <a:t>11/04/2024</a:t>
            </a:fld>
            <a:endParaRPr lang="en-I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C98EA49-670F-BFEB-F49C-8255517DD1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725E4DE-C170-4E7E-E257-A41F22F941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4A13BAFD-C6E1-49C5-8C3D-26FF884B8F3D}" type="slidenum">
              <a:rPr lang="en-IE" smtClean="0"/>
              <a:pPr algn="l"/>
              <a:t>6</a:t>
            </a:fld>
            <a:endParaRPr lang="en-IE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2A389CFE-A3F0-B700-301B-F2D97A6BBA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482583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dark, bright&#10;&#10;Description automatically generated">
            <a:extLst>
              <a:ext uri="{FF2B5EF4-FFF2-40B4-BE49-F238E27FC236}">
                <a16:creationId xmlns:a16="http://schemas.microsoft.com/office/drawing/2014/main" id="{7ED27636-5419-9A4D-9189-F8220DE46C8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90620" y="-1899594"/>
            <a:ext cx="9901381" cy="8757595"/>
          </a:xfrm>
          <a:prstGeom prst="rect">
            <a:avLst/>
          </a:prstGeom>
        </p:spPr>
      </p:pic>
      <p:pic>
        <p:nvPicPr>
          <p:cNvPr id="5" name="Logo">
            <a:extLst>
              <a:ext uri="{FF2B5EF4-FFF2-40B4-BE49-F238E27FC236}">
                <a16:creationId xmlns:a16="http://schemas.microsoft.com/office/drawing/2014/main" id="{02BE1617-D26C-B546-BBE1-060AF5B64A6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20640" y="633791"/>
            <a:ext cx="3174743" cy="877745"/>
          </a:xfrm>
          <a:prstGeom prst="rect">
            <a:avLst/>
          </a:prstGeom>
        </p:spPr>
      </p:pic>
      <p:sp>
        <p:nvSpPr>
          <p:cNvPr id="6" name="Slide Number Placeholder 5 (FAST)">
            <a:extLst>
              <a:ext uri="{FF2B5EF4-FFF2-40B4-BE49-F238E27FC236}">
                <a16:creationId xmlns:a16="http://schemas.microsoft.com/office/drawing/2014/main" id="{B832F637-6512-6845-AFD9-91470EA38B60}"/>
              </a:ext>
            </a:extLst>
          </p:cNvPr>
          <p:cNvSpPr txBox="1">
            <a:spLocks/>
          </p:cNvSpPr>
          <p:nvPr/>
        </p:nvSpPr>
        <p:spPr>
          <a:xfrm>
            <a:off x="11294400" y="6406933"/>
            <a:ext cx="321600" cy="163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800" kern="1200" noProof="0" smtClean="0">
                <a:latin typeface="+mn-lt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lang="en-GB" sz="933" kern="120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7D2FA74-C8D4-8F46-A8D1-923F12386B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261" y="1792954"/>
            <a:ext cx="11040000" cy="3567729"/>
          </a:xfrm>
        </p:spPr>
        <p:txBody>
          <a:bodyPr/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DK" sz="3200">
                <a:solidFill>
                  <a:srgbClr val="8ECDC8"/>
                </a:solidFill>
              </a:rPr>
              <a:t>Our vision</a:t>
            </a:r>
            <a:br>
              <a:rPr lang="en-DK" sz="3200"/>
            </a:br>
            <a:r>
              <a:rPr lang="en-GB" sz="3200"/>
              <a:t>Let’s create a world </a:t>
            </a:r>
            <a:br>
              <a:rPr lang="en-GB" sz="3200"/>
            </a:br>
            <a:r>
              <a:rPr lang="en-GB" sz="3200"/>
              <a:t>that runs entirely </a:t>
            </a:r>
            <a:br>
              <a:rPr lang="en-GB" sz="3200"/>
            </a:br>
            <a:r>
              <a:rPr lang="en-GB" sz="3200"/>
              <a:t>on green energy</a:t>
            </a:r>
            <a:endParaRPr lang="en-DK" sz="320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F22DD641-E328-0D4C-9602-793119359E57}"/>
              </a:ext>
            </a:extLst>
          </p:cNvPr>
          <p:cNvSpPr txBox="1">
            <a:spLocks/>
          </p:cNvSpPr>
          <p:nvPr/>
        </p:nvSpPr>
        <p:spPr>
          <a:xfrm>
            <a:off x="9405253" y="6406933"/>
            <a:ext cx="1469601" cy="163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GB" sz="2177"/>
          </a:p>
        </p:txBody>
      </p:sp>
    </p:spTree>
    <p:extLst>
      <p:ext uri="{BB962C8B-B14F-4D97-AF65-F5344CB8AC3E}">
        <p14:creationId xmlns:p14="http://schemas.microsoft.com/office/powerpoint/2010/main" val="13643673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D02B98-291A-6A4F-977F-DE3A394556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668" y="168090"/>
            <a:ext cx="11040000" cy="768000"/>
          </a:xfrm>
        </p:spPr>
        <p:txBody>
          <a:bodyPr/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200">
                <a:solidFill>
                  <a:schemeClr val="accent1"/>
                </a:solidFill>
              </a:rPr>
              <a:t>Transforming the way we power the world</a:t>
            </a:r>
            <a:br>
              <a:rPr lang="en-GB" sz="2200">
                <a:solidFill>
                  <a:schemeClr val="accent1"/>
                </a:solidFill>
              </a:rPr>
            </a:br>
            <a:endParaRPr lang="en-DK" sz="2200">
              <a:solidFill>
                <a:schemeClr val="accent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EA2C1C9-CC15-AE42-B5F2-65ACAA0CD69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849"/>
          <a:stretch/>
        </p:blipFill>
        <p:spPr>
          <a:xfrm>
            <a:off x="576001" y="1369483"/>
            <a:ext cx="7799441" cy="471170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49C0542-1A83-A641-9349-BC24031D28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40418" y="1369483"/>
            <a:ext cx="2975583" cy="471170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8AAE9D74-DA7C-EB49-882B-9BBFBA090672}"/>
              </a:ext>
            </a:extLst>
          </p:cNvPr>
          <p:cNvSpPr/>
          <p:nvPr/>
        </p:nvSpPr>
        <p:spPr>
          <a:xfrm>
            <a:off x="943397" y="1562703"/>
            <a:ext cx="1329600" cy="4616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b="1">
                <a:solidFill>
                  <a:srgbClr val="3B4956"/>
                </a:solidFill>
                <a:latin typeface="Orsted Sans" pitchFamily="2" charset="77"/>
              </a:rPr>
              <a:t>Global no. 1 </a:t>
            </a:r>
            <a:br>
              <a:rPr lang="en-GB" sz="1200">
                <a:solidFill>
                  <a:srgbClr val="3B4956"/>
                </a:solidFill>
                <a:latin typeface="Orsted Sans" pitchFamily="2" charset="77"/>
              </a:rPr>
            </a:br>
            <a:r>
              <a:rPr lang="en-GB" sz="1200">
                <a:solidFill>
                  <a:srgbClr val="3B4956"/>
                </a:solidFill>
                <a:latin typeface="Orsted Sans" pitchFamily="2" charset="77"/>
              </a:rPr>
              <a:t>in Offshore </a:t>
            </a:r>
            <a:endParaRPr lang="en-GB" sz="1200">
              <a:solidFill>
                <a:srgbClr val="3B4956"/>
              </a:solidFill>
              <a:effectLst/>
              <a:latin typeface="Orsted Sans" pitchFamily="2" charset="77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D5C1508-4C8B-5E4B-9FAA-24ABDBE872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08197" y="2187887"/>
            <a:ext cx="50800" cy="12192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5579278-DDAC-3B4F-A9FE-ADC91A4523E4}"/>
              </a:ext>
            </a:extLst>
          </p:cNvPr>
          <p:cNvSpPr/>
          <p:nvPr/>
        </p:nvSpPr>
        <p:spPr>
          <a:xfrm>
            <a:off x="2559008" y="1565404"/>
            <a:ext cx="1535289" cy="4616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b="1">
                <a:solidFill>
                  <a:srgbClr val="3B4956"/>
                </a:solidFill>
                <a:latin typeface="Orsted Sans" pitchFamily="2" charset="77"/>
              </a:rPr>
              <a:t>Global top 10</a:t>
            </a:r>
            <a:r>
              <a:rPr lang="en-GB" sz="1200">
                <a:solidFill>
                  <a:srgbClr val="3B4956"/>
                </a:solidFill>
                <a:latin typeface="Orsted Sans" pitchFamily="2" charset="77"/>
              </a:rPr>
              <a:t> </a:t>
            </a:r>
            <a:br>
              <a:rPr lang="en-GB" sz="1200">
                <a:solidFill>
                  <a:srgbClr val="3B4956"/>
                </a:solidFill>
                <a:latin typeface="Orsted Sans" pitchFamily="2" charset="77"/>
              </a:rPr>
            </a:br>
            <a:r>
              <a:rPr lang="en-GB" sz="1200">
                <a:solidFill>
                  <a:srgbClr val="3B4956"/>
                </a:solidFill>
                <a:latin typeface="Orsted Sans" pitchFamily="2" charset="77"/>
              </a:rPr>
              <a:t>in Onshore </a:t>
            </a:r>
            <a:endParaRPr lang="en-GB" sz="1200">
              <a:solidFill>
                <a:srgbClr val="3B4956"/>
              </a:solidFill>
              <a:effectLst/>
              <a:latin typeface="Orsted Sans" pitchFamily="2" charset="77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565F585-B589-D44C-8A9F-D6FF2416A7F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01251" y="2187887"/>
            <a:ext cx="50800" cy="12192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EEB78470-F37E-FD4F-A4FA-58F6F85BC5D5}"/>
              </a:ext>
            </a:extLst>
          </p:cNvPr>
          <p:cNvSpPr/>
          <p:nvPr/>
        </p:nvSpPr>
        <p:spPr>
          <a:xfrm>
            <a:off x="4240363" y="1562703"/>
            <a:ext cx="6096000" cy="4616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b="1">
                <a:solidFill>
                  <a:srgbClr val="3B4956"/>
                </a:solidFill>
                <a:latin typeface="Orsted Sans" pitchFamily="2" charset="77"/>
              </a:rPr>
              <a:t>A global leader </a:t>
            </a:r>
            <a:br>
              <a:rPr lang="en-GB" sz="1200">
                <a:solidFill>
                  <a:srgbClr val="3B4956"/>
                </a:solidFill>
                <a:latin typeface="Orsted Sans" pitchFamily="2" charset="77"/>
              </a:rPr>
            </a:br>
            <a:r>
              <a:rPr lang="en-GB" sz="1200">
                <a:solidFill>
                  <a:srgbClr val="3B4956"/>
                </a:solidFill>
                <a:latin typeface="Orsted Sans" pitchFamily="2" charset="77"/>
              </a:rPr>
              <a:t>in PtX</a:t>
            </a:r>
            <a:endParaRPr lang="en-GB" sz="1200">
              <a:solidFill>
                <a:srgbClr val="3B4956"/>
              </a:solidFill>
              <a:effectLst/>
              <a:latin typeface="Orsted Sans" pitchFamily="2" charset="77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586EAE3-C054-044A-AD73-1B8729EADAF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84593" y="2187887"/>
            <a:ext cx="50800" cy="12192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BB50C726-E127-5E47-A5B5-4C1674EA9133}"/>
              </a:ext>
            </a:extLst>
          </p:cNvPr>
          <p:cNvSpPr/>
          <p:nvPr/>
        </p:nvSpPr>
        <p:spPr>
          <a:xfrm>
            <a:off x="8647076" y="1364797"/>
            <a:ext cx="2944215" cy="4719305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>
                <a:solidFill>
                  <a:schemeClr val="accent1"/>
                </a:solidFill>
                <a:latin typeface="Orsted Sans"/>
              </a:rPr>
              <a:t>Highlights</a:t>
            </a:r>
            <a:endParaRPr lang="en-GB" sz="1200">
              <a:solidFill>
                <a:schemeClr val="accent1"/>
              </a:solidFill>
              <a:latin typeface="Orsted Sans"/>
            </a:endParaRPr>
          </a:p>
          <a:p>
            <a:endParaRPr lang="en-GB" sz="867">
              <a:solidFill>
                <a:schemeClr val="accent1"/>
              </a:solidFill>
              <a:latin typeface="Orsted Sans" pitchFamily="2" charset="77"/>
            </a:endParaRPr>
          </a:p>
          <a:p>
            <a:r>
              <a:rPr lang="en-GB" sz="1000" b="1">
                <a:solidFill>
                  <a:schemeClr val="accent1"/>
                </a:solidFill>
                <a:latin typeface="Orsted Sans"/>
              </a:rPr>
              <a:t>Hornsea 2</a:t>
            </a:r>
            <a:endParaRPr lang="en-GB" sz="1000">
              <a:solidFill>
                <a:schemeClr val="accent1"/>
              </a:solidFill>
              <a:latin typeface="Orsted Sans"/>
            </a:endParaRPr>
          </a:p>
          <a:p>
            <a:r>
              <a:rPr lang="en-GB" sz="1000" b="1">
                <a:solidFill>
                  <a:schemeClr val="accent1"/>
                </a:solidFill>
                <a:latin typeface="Orsted Sans"/>
              </a:rPr>
              <a:t>1.3GW</a:t>
            </a:r>
            <a:endParaRPr lang="en-GB" sz="1000">
              <a:solidFill>
                <a:schemeClr val="accent1"/>
              </a:solidFill>
              <a:latin typeface="Orsted Sans"/>
            </a:endParaRPr>
          </a:p>
          <a:p>
            <a:r>
              <a:rPr lang="en-GB" sz="1000">
                <a:solidFill>
                  <a:schemeClr val="accent1"/>
                </a:solidFill>
                <a:latin typeface="Orsted Sans"/>
              </a:rPr>
              <a:t>Located of the coast of England. Ørsted is proud to operate the world’s largest offshore windfarm. </a:t>
            </a:r>
          </a:p>
          <a:p>
            <a:endParaRPr lang="en-GB" sz="1000">
              <a:solidFill>
                <a:schemeClr val="accent1"/>
              </a:solidFill>
              <a:latin typeface="Orsted Sans" pitchFamily="2" charset="77"/>
            </a:endParaRPr>
          </a:p>
          <a:p>
            <a:r>
              <a:rPr lang="en-GB" sz="1000" b="1">
                <a:solidFill>
                  <a:schemeClr val="accent1"/>
                </a:solidFill>
                <a:latin typeface="Orsted Sans"/>
              </a:rPr>
              <a:t>Lisheen 1, 2 &amp; 3</a:t>
            </a:r>
            <a:endParaRPr lang="en-GB" sz="1000">
              <a:solidFill>
                <a:schemeClr val="accent1"/>
              </a:solidFill>
              <a:latin typeface="Orsted Sans"/>
            </a:endParaRPr>
          </a:p>
          <a:p>
            <a:r>
              <a:rPr lang="en-GB" sz="1000" b="1">
                <a:solidFill>
                  <a:schemeClr val="accent1"/>
                </a:solidFill>
                <a:latin typeface="Orsted Sans"/>
              </a:rPr>
              <a:t>89MW</a:t>
            </a:r>
            <a:endParaRPr lang="en-GB" sz="1000">
              <a:solidFill>
                <a:schemeClr val="accent1"/>
              </a:solidFill>
              <a:latin typeface="Orsted Sans"/>
            </a:endParaRPr>
          </a:p>
          <a:p>
            <a:r>
              <a:rPr lang="en-GB" sz="1000">
                <a:solidFill>
                  <a:schemeClr val="accent1"/>
                </a:solidFill>
                <a:latin typeface="Orsted Sans"/>
              </a:rPr>
              <a:t>Spanning the counties of Tipperary, Laois and Kilkenny, this onshore windfarm is our largest in Ireland.  </a:t>
            </a:r>
            <a:br>
              <a:rPr lang="en-GB" sz="1000">
                <a:solidFill>
                  <a:schemeClr val="accent1"/>
                </a:solidFill>
                <a:latin typeface="Orsted Sans" pitchFamily="2" charset="77"/>
              </a:rPr>
            </a:br>
            <a:endParaRPr lang="en-GB" sz="1000">
              <a:solidFill>
                <a:schemeClr val="accent1"/>
              </a:solidFill>
              <a:latin typeface="Orsted Sans" pitchFamily="2" charset="77"/>
            </a:endParaRPr>
          </a:p>
          <a:p>
            <a:r>
              <a:rPr lang="en-GB" sz="1000" b="1">
                <a:solidFill>
                  <a:schemeClr val="accent1"/>
                </a:solidFill>
                <a:latin typeface="Orsted Sans"/>
              </a:rPr>
              <a:t>Old 300</a:t>
            </a:r>
            <a:endParaRPr lang="en-GB" sz="1000">
              <a:solidFill>
                <a:schemeClr val="accent1"/>
              </a:solidFill>
              <a:latin typeface="Orsted Sans"/>
            </a:endParaRPr>
          </a:p>
          <a:p>
            <a:r>
              <a:rPr lang="en-GB" sz="1000" b="1">
                <a:solidFill>
                  <a:schemeClr val="accent1"/>
                </a:solidFill>
                <a:latin typeface="Orsted Sans"/>
              </a:rPr>
              <a:t>430MW</a:t>
            </a:r>
            <a:r>
              <a:rPr lang="en-GB" sz="1000">
                <a:solidFill>
                  <a:schemeClr val="accent1"/>
                </a:solidFill>
                <a:latin typeface="Orsted Sans"/>
              </a:rPr>
              <a:t> </a:t>
            </a:r>
          </a:p>
          <a:p>
            <a:r>
              <a:rPr lang="en-GB" sz="1000">
                <a:solidFill>
                  <a:schemeClr val="accent1"/>
                </a:solidFill>
                <a:latin typeface="Orsted Sans"/>
              </a:rPr>
              <a:t>Located in Texas, US. Ørsted has recently  commissioned one of the largest solar farms in the USA.  </a:t>
            </a:r>
          </a:p>
          <a:p>
            <a:endParaRPr lang="en-GB" sz="1000">
              <a:solidFill>
                <a:schemeClr val="accent1"/>
              </a:solidFill>
              <a:latin typeface="Orsted Sans" pitchFamily="2" charset="77"/>
            </a:endParaRPr>
          </a:p>
          <a:p>
            <a:r>
              <a:rPr lang="en-GB" sz="1000" b="1">
                <a:solidFill>
                  <a:schemeClr val="accent1"/>
                </a:solidFill>
                <a:latin typeface="Orsted Sans"/>
              </a:rPr>
              <a:t>Carnegie Rd</a:t>
            </a:r>
            <a:endParaRPr lang="en-GB" sz="1000">
              <a:solidFill>
                <a:schemeClr val="accent1"/>
              </a:solidFill>
              <a:latin typeface="Orsted Sans"/>
            </a:endParaRPr>
          </a:p>
          <a:p>
            <a:r>
              <a:rPr lang="en-GB" sz="1000" b="1">
                <a:solidFill>
                  <a:schemeClr val="accent1"/>
                </a:solidFill>
                <a:latin typeface="Orsted Sans"/>
              </a:rPr>
              <a:t>20MW </a:t>
            </a:r>
            <a:endParaRPr lang="en-GB" sz="1000">
              <a:solidFill>
                <a:schemeClr val="accent1"/>
              </a:solidFill>
              <a:latin typeface="Orsted Sans"/>
            </a:endParaRPr>
          </a:p>
          <a:p>
            <a:r>
              <a:rPr lang="en-GB" sz="1000">
                <a:solidFill>
                  <a:schemeClr val="accent1"/>
                </a:solidFill>
                <a:latin typeface="Orsted Sans"/>
              </a:rPr>
              <a:t>Located in Liverpool, this was Ørsted’s first venture into Battery Energy Storage Systems (BESS). </a:t>
            </a:r>
          </a:p>
          <a:p>
            <a:endParaRPr lang="en-GB" sz="1000">
              <a:solidFill>
                <a:schemeClr val="accent1"/>
              </a:solidFill>
              <a:latin typeface="Orsted Sans" pitchFamily="2" charset="77"/>
            </a:endParaRPr>
          </a:p>
          <a:p>
            <a:r>
              <a:rPr lang="en-GB" sz="1000" b="1">
                <a:solidFill>
                  <a:schemeClr val="accent1"/>
                </a:solidFill>
                <a:latin typeface="Orsted Sans"/>
              </a:rPr>
              <a:t>Maersk</a:t>
            </a:r>
            <a:endParaRPr lang="en-GB" sz="1000">
              <a:solidFill>
                <a:schemeClr val="accent1"/>
              </a:solidFill>
              <a:latin typeface="Orsted Sans"/>
            </a:endParaRPr>
          </a:p>
          <a:p>
            <a:r>
              <a:rPr lang="en-GB" sz="1000" b="1">
                <a:solidFill>
                  <a:schemeClr val="accent1"/>
                </a:solidFill>
                <a:latin typeface="Orsted Sans"/>
              </a:rPr>
              <a:t>675MW</a:t>
            </a:r>
            <a:endParaRPr lang="en-GB" sz="1000">
              <a:solidFill>
                <a:schemeClr val="accent1"/>
              </a:solidFill>
              <a:latin typeface="Orsted Sans"/>
            </a:endParaRPr>
          </a:p>
          <a:p>
            <a:r>
              <a:rPr lang="en-GB" sz="1000">
                <a:solidFill>
                  <a:schemeClr val="accent1"/>
                </a:solidFill>
                <a:latin typeface="Orsted Sans"/>
              </a:rPr>
              <a:t>Located on the Gulf Coast, this landmark project will power the new Maersk shipping fleet with e-methanol.</a:t>
            </a:r>
            <a:endParaRPr lang="en-GB" sz="1000">
              <a:solidFill>
                <a:schemeClr val="accent1"/>
              </a:solidFill>
              <a:effectLst/>
              <a:latin typeface="Orsted Sans"/>
            </a:endParaRPr>
          </a:p>
        </p:txBody>
      </p:sp>
      <p:pic>
        <p:nvPicPr>
          <p:cNvPr id="16" name="Logo">
            <a:extLst>
              <a:ext uri="{FF2B5EF4-FFF2-40B4-BE49-F238E27FC236}">
                <a16:creationId xmlns:a16="http://schemas.microsoft.com/office/drawing/2014/main" id="{81C54317-9DBC-7249-96A7-D8CC14B4452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116068" y="334434"/>
            <a:ext cx="489600" cy="133889"/>
          </a:xfrm>
          <a:prstGeom prst="rect">
            <a:avLst/>
          </a:prstGeom>
        </p:spPr>
      </p:pic>
      <p:sp>
        <p:nvSpPr>
          <p:cNvPr id="17" name="Slide Number Placeholder 5 (FAST)">
            <a:extLst>
              <a:ext uri="{FF2B5EF4-FFF2-40B4-BE49-F238E27FC236}">
                <a16:creationId xmlns:a16="http://schemas.microsoft.com/office/drawing/2014/main" id="{28281649-25B1-4447-BD58-55FEB84F44E1}"/>
              </a:ext>
            </a:extLst>
          </p:cNvPr>
          <p:cNvSpPr txBox="1">
            <a:spLocks/>
          </p:cNvSpPr>
          <p:nvPr/>
        </p:nvSpPr>
        <p:spPr>
          <a:xfrm>
            <a:off x="11294400" y="6406933"/>
            <a:ext cx="321600" cy="163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8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lang="en-GB" sz="933" kern="1200" noProof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46A3BDCA-101A-494D-BB0F-99F18443C441}"/>
              </a:ext>
            </a:extLst>
          </p:cNvPr>
          <p:cNvSpPr txBox="1">
            <a:spLocks/>
          </p:cNvSpPr>
          <p:nvPr/>
        </p:nvSpPr>
        <p:spPr>
          <a:xfrm>
            <a:off x="9405253" y="6406933"/>
            <a:ext cx="1469601" cy="163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GB" sz="2177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09610A2-7A61-3A4F-A28C-CAA00A018678}"/>
              </a:ext>
            </a:extLst>
          </p:cNvPr>
          <p:cNvSpPr/>
          <p:nvPr/>
        </p:nvSpPr>
        <p:spPr>
          <a:xfrm>
            <a:off x="1102503" y="4888965"/>
            <a:ext cx="1011388" cy="246221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00" b="1">
                <a:solidFill>
                  <a:srgbClr val="0D134F"/>
                </a:solidFill>
                <a:latin typeface="Orsted Sans"/>
              </a:rPr>
              <a:t>Offshore wind</a:t>
            </a:r>
            <a:endParaRPr lang="en-GB" sz="1000">
              <a:solidFill>
                <a:srgbClr val="0D134F"/>
              </a:solidFill>
              <a:effectLst/>
              <a:latin typeface="Orsted San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54F2AA0-8545-4B46-858F-77FB1D923AA4}"/>
              </a:ext>
            </a:extLst>
          </p:cNvPr>
          <p:cNvSpPr/>
          <p:nvPr/>
        </p:nvSpPr>
        <p:spPr>
          <a:xfrm>
            <a:off x="2833346" y="4888965"/>
            <a:ext cx="992151" cy="246221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00" b="1">
                <a:solidFill>
                  <a:srgbClr val="0D134F"/>
                </a:solidFill>
                <a:latin typeface="Orsted Sans"/>
              </a:rPr>
              <a:t>Onshore wind</a:t>
            </a:r>
            <a:endParaRPr lang="en-GB" sz="1000">
              <a:solidFill>
                <a:srgbClr val="0D134F"/>
              </a:solidFill>
              <a:effectLst/>
              <a:latin typeface="Orsted San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8B9E68C-2101-2549-B72E-E7C911BF7B03}"/>
              </a:ext>
            </a:extLst>
          </p:cNvPr>
          <p:cNvSpPr/>
          <p:nvPr/>
        </p:nvSpPr>
        <p:spPr>
          <a:xfrm>
            <a:off x="4001293" y="4888965"/>
            <a:ext cx="712161" cy="246221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00" b="1">
                <a:solidFill>
                  <a:srgbClr val="0D134F"/>
                </a:solidFill>
                <a:latin typeface="Orsted Sans"/>
              </a:rPr>
              <a:t>Solar PV</a:t>
            </a:r>
            <a:endParaRPr lang="en-GB" sz="1000">
              <a:solidFill>
                <a:srgbClr val="0D134F"/>
              </a:solidFill>
              <a:effectLst/>
              <a:latin typeface="Orsted San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5630253-8B82-FE4A-9F40-556F10759FE5}"/>
              </a:ext>
            </a:extLst>
          </p:cNvPr>
          <p:cNvSpPr/>
          <p:nvPr/>
        </p:nvSpPr>
        <p:spPr>
          <a:xfrm>
            <a:off x="5073904" y="4888965"/>
            <a:ext cx="1069097" cy="246221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00" b="1">
                <a:solidFill>
                  <a:srgbClr val="0D134F"/>
                </a:solidFill>
                <a:latin typeface="Orsted Sans"/>
              </a:rPr>
              <a:t>Energy storage</a:t>
            </a:r>
            <a:endParaRPr lang="en-GB" sz="1000">
              <a:solidFill>
                <a:srgbClr val="0D134F"/>
              </a:solidFill>
              <a:effectLst/>
              <a:latin typeface="Orsted San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46B64CD-DC4C-2741-926D-D11036D2A308}"/>
              </a:ext>
            </a:extLst>
          </p:cNvPr>
          <p:cNvSpPr/>
          <p:nvPr/>
        </p:nvSpPr>
        <p:spPr>
          <a:xfrm>
            <a:off x="6407977" y="4888966"/>
            <a:ext cx="1967465" cy="861774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000" b="1">
                <a:solidFill>
                  <a:srgbClr val="0D134F"/>
                </a:solidFill>
                <a:latin typeface="Orsted Sans"/>
              </a:rPr>
              <a:t>PtX</a:t>
            </a:r>
            <a:br>
              <a:rPr lang="en-GB" sz="1000" b="1">
                <a:solidFill>
                  <a:srgbClr val="0D134F"/>
                </a:solidFill>
                <a:latin typeface="Orsted Sans" pitchFamily="2" charset="77"/>
              </a:rPr>
            </a:br>
            <a:r>
              <a:rPr lang="en-GB" sz="1000">
                <a:solidFill>
                  <a:srgbClr val="0D134F"/>
                </a:solidFill>
                <a:latin typeface="Orsted Sans"/>
              </a:rPr>
              <a:t>is Power to X, </a:t>
            </a:r>
            <a:endParaRPr lang="en-GB" sz="1000">
              <a:solidFill>
                <a:srgbClr val="0D134F"/>
              </a:solidFill>
              <a:latin typeface="Orsted Sans" pitchFamily="2" charset="77"/>
            </a:endParaRPr>
          </a:p>
          <a:p>
            <a:pPr algn="ctr"/>
            <a:r>
              <a:rPr lang="en-GB" sz="1000">
                <a:solidFill>
                  <a:srgbClr val="0D134F"/>
                </a:solidFill>
                <a:latin typeface="Orsted Sans"/>
              </a:rPr>
              <a:t>a term for converting green electricity into other forms of energy storage such as hydrogen</a:t>
            </a:r>
            <a:endParaRPr lang="en-GB" sz="1000">
              <a:solidFill>
                <a:srgbClr val="0D134F"/>
              </a:solidFill>
              <a:effectLst/>
              <a:latin typeface="Orsted San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5C8896F-0A9D-4982-8DDB-092C29BB7F46}"/>
              </a:ext>
            </a:extLst>
          </p:cNvPr>
          <p:cNvSpPr txBox="1"/>
          <p:nvPr/>
        </p:nvSpPr>
        <p:spPr>
          <a:xfrm>
            <a:off x="3724931" y="2407503"/>
            <a:ext cx="1594940" cy="46166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b="1">
                <a:solidFill>
                  <a:srgbClr val="3B4956"/>
                </a:solidFill>
                <a:latin typeface="Orsted Sans"/>
              </a:rPr>
              <a:t>1</a:t>
            </a:r>
            <a:r>
              <a:rPr lang="en-GB" sz="1200" b="1" baseline="30000">
                <a:solidFill>
                  <a:srgbClr val="3B4956"/>
                </a:solidFill>
                <a:latin typeface="Orsted Sans"/>
              </a:rPr>
              <a:t>st</a:t>
            </a:r>
            <a:r>
              <a:rPr lang="en-GB" sz="1200" b="1">
                <a:solidFill>
                  <a:srgbClr val="3B4956"/>
                </a:solidFill>
                <a:latin typeface="Orsted Sans"/>
              </a:rPr>
              <a:t> IE solar farm</a:t>
            </a:r>
            <a:r>
              <a:rPr lang="en-GB" sz="1200">
                <a:solidFill>
                  <a:srgbClr val="3B4956"/>
                </a:solidFill>
                <a:latin typeface="Orsted Sans"/>
              </a:rPr>
              <a:t> </a:t>
            </a:r>
            <a:br>
              <a:rPr lang="en-GB" sz="1200">
                <a:latin typeface="Orsted Sans" pitchFamily="2" charset="77"/>
              </a:rPr>
            </a:br>
            <a:r>
              <a:rPr lang="en-GB" sz="1200">
                <a:solidFill>
                  <a:srgbClr val="3B4956"/>
                </a:solidFill>
                <a:latin typeface="Orsted Sans"/>
              </a:rPr>
              <a:t>in </a:t>
            </a:r>
            <a:r>
              <a:rPr lang="en-GB" sz="1200" err="1">
                <a:solidFill>
                  <a:srgbClr val="3B4956"/>
                </a:solidFill>
                <a:latin typeface="Orsted Sans"/>
              </a:rPr>
              <a:t>Garreenleen</a:t>
            </a:r>
            <a:r>
              <a:rPr lang="en-GB" sz="1200">
                <a:solidFill>
                  <a:srgbClr val="3B4956"/>
                </a:solidFill>
                <a:latin typeface="Orsted Sans"/>
              </a:rPr>
              <a:t> </a:t>
            </a:r>
            <a:endParaRPr lang="en-GB" sz="1200">
              <a:solidFill>
                <a:srgbClr val="3B4956"/>
              </a:solidFill>
              <a:effectLst/>
              <a:latin typeface="Orsted Sans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A5E55F08-3AB7-442B-9756-CBB5310E769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71600" y="3026167"/>
            <a:ext cx="50800" cy="121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0078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aphic 1045">
            <a:extLst>
              <a:ext uri="{FF2B5EF4-FFF2-40B4-BE49-F238E27FC236}">
                <a16:creationId xmlns:a16="http://schemas.microsoft.com/office/drawing/2014/main" id="{5A1C67B1-BCF1-AA9F-D1E1-ADC2BF5CAD0F}"/>
              </a:ext>
            </a:extLst>
          </p:cNvPr>
          <p:cNvGrpSpPr>
            <a:grpSpLocks/>
          </p:cNvGrpSpPr>
          <p:nvPr/>
        </p:nvGrpSpPr>
        <p:grpSpPr>
          <a:xfrm>
            <a:off x="2598502" y="-965690"/>
            <a:ext cx="6786877" cy="7863729"/>
            <a:chOff x="1948876" y="-724268"/>
            <a:chExt cx="5090158" cy="5897797"/>
          </a:xfrm>
          <a:solidFill>
            <a:srgbClr val="DBD6D2"/>
          </a:solidFill>
        </p:grpSpPr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FBA60AF1-F25D-65B3-76A3-E8A5DC7C6313}"/>
                </a:ext>
              </a:extLst>
            </p:cNvPr>
            <p:cNvSpPr/>
            <p:nvPr/>
          </p:nvSpPr>
          <p:spPr>
            <a:xfrm>
              <a:off x="2059296" y="1422778"/>
              <a:ext cx="2048795" cy="2340874"/>
            </a:xfrm>
            <a:custGeom>
              <a:avLst/>
              <a:gdLst>
                <a:gd name="connsiteX0" fmla="*/ 1679329 w 2048795"/>
                <a:gd name="connsiteY0" fmla="*/ 136745 h 2340874"/>
                <a:gd name="connsiteX1" fmla="*/ 1690319 w 2048795"/>
                <a:gd name="connsiteY1" fmla="*/ 164182 h 2340874"/>
                <a:gd name="connsiteX2" fmla="*/ 1679329 w 2048795"/>
                <a:gd name="connsiteY2" fmla="*/ 197106 h 2340874"/>
                <a:gd name="connsiteX3" fmla="*/ 1674933 w 2048795"/>
                <a:gd name="connsiteY3" fmla="*/ 219056 h 2340874"/>
                <a:gd name="connsiteX4" fmla="*/ 1630975 w 2048795"/>
                <a:gd name="connsiteY4" fmla="*/ 236615 h 2340874"/>
                <a:gd name="connsiteX5" fmla="*/ 1602403 w 2048795"/>
                <a:gd name="connsiteY5" fmla="*/ 253078 h 2340874"/>
                <a:gd name="connsiteX6" fmla="*/ 1612293 w 2048795"/>
                <a:gd name="connsiteY6" fmla="*/ 225641 h 2340874"/>
                <a:gd name="connsiteX7" fmla="*/ 1638668 w 2048795"/>
                <a:gd name="connsiteY7" fmla="*/ 198204 h 2340874"/>
                <a:gd name="connsiteX8" fmla="*/ 1647459 w 2048795"/>
                <a:gd name="connsiteY8" fmla="*/ 171864 h 2340874"/>
                <a:gd name="connsiteX9" fmla="*/ 1666142 w 2048795"/>
                <a:gd name="connsiteY9" fmla="*/ 148817 h 2340874"/>
                <a:gd name="connsiteX10" fmla="*/ 1652954 w 2048795"/>
                <a:gd name="connsiteY10" fmla="*/ 115892 h 2340874"/>
                <a:gd name="connsiteX11" fmla="*/ 1648558 w 2048795"/>
                <a:gd name="connsiteY11" fmla="*/ 53336 h 2340874"/>
                <a:gd name="connsiteX12" fmla="*/ 1615590 w 2048795"/>
                <a:gd name="connsiteY12" fmla="*/ 51141 h 2340874"/>
                <a:gd name="connsiteX13" fmla="*/ 1580424 w 2048795"/>
                <a:gd name="connsiteY13" fmla="*/ 58823 h 2340874"/>
                <a:gd name="connsiteX14" fmla="*/ 1563939 w 2048795"/>
                <a:gd name="connsiteY14" fmla="*/ 82968 h 2340874"/>
                <a:gd name="connsiteX15" fmla="*/ 1603501 w 2048795"/>
                <a:gd name="connsiteY15" fmla="*/ 101625 h 2340874"/>
                <a:gd name="connsiteX16" fmla="*/ 1602403 w 2048795"/>
                <a:gd name="connsiteY16" fmla="*/ 154304 h 2340874"/>
                <a:gd name="connsiteX17" fmla="*/ 1584819 w 2048795"/>
                <a:gd name="connsiteY17" fmla="*/ 114795 h 2340874"/>
                <a:gd name="connsiteX18" fmla="*/ 1545257 w 2048795"/>
                <a:gd name="connsiteY18" fmla="*/ 98333 h 2340874"/>
                <a:gd name="connsiteX19" fmla="*/ 1523278 w 2048795"/>
                <a:gd name="connsiteY19" fmla="*/ 68700 h 2340874"/>
                <a:gd name="connsiteX20" fmla="*/ 1494705 w 2048795"/>
                <a:gd name="connsiteY20" fmla="*/ 58823 h 2340874"/>
                <a:gd name="connsiteX21" fmla="*/ 1478221 w 2048795"/>
                <a:gd name="connsiteY21" fmla="*/ 80773 h 2340874"/>
                <a:gd name="connsiteX22" fmla="*/ 1432066 w 2048795"/>
                <a:gd name="connsiteY22" fmla="*/ 89553 h 2340874"/>
                <a:gd name="connsiteX23" fmla="*/ 1388108 w 2048795"/>
                <a:gd name="connsiteY23" fmla="*/ 70896 h 2340874"/>
                <a:gd name="connsiteX24" fmla="*/ 1371623 w 2048795"/>
                <a:gd name="connsiteY24" fmla="*/ 111502 h 2340874"/>
                <a:gd name="connsiteX25" fmla="*/ 1358436 w 2048795"/>
                <a:gd name="connsiteY25" fmla="*/ 138939 h 2340874"/>
                <a:gd name="connsiteX26" fmla="*/ 1336457 w 2048795"/>
                <a:gd name="connsiteY26" fmla="*/ 144427 h 2340874"/>
                <a:gd name="connsiteX27" fmla="*/ 1308983 w 2048795"/>
                <a:gd name="connsiteY27" fmla="*/ 157597 h 2340874"/>
                <a:gd name="connsiteX28" fmla="*/ 1310082 w 2048795"/>
                <a:gd name="connsiteY28" fmla="*/ 185034 h 2340874"/>
                <a:gd name="connsiteX29" fmla="*/ 1311181 w 2048795"/>
                <a:gd name="connsiteY29" fmla="*/ 203691 h 2340874"/>
                <a:gd name="connsiteX30" fmla="*/ 1301290 w 2048795"/>
                <a:gd name="connsiteY30" fmla="*/ 227836 h 2340874"/>
                <a:gd name="connsiteX31" fmla="*/ 1328764 w 2048795"/>
                <a:gd name="connsiteY31" fmla="*/ 233323 h 2340874"/>
                <a:gd name="connsiteX32" fmla="*/ 1314478 w 2048795"/>
                <a:gd name="connsiteY32" fmla="*/ 249785 h 2340874"/>
                <a:gd name="connsiteX33" fmla="*/ 1310082 w 2048795"/>
                <a:gd name="connsiteY33" fmla="*/ 267345 h 2340874"/>
                <a:gd name="connsiteX34" fmla="*/ 1301290 w 2048795"/>
                <a:gd name="connsiteY34" fmla="*/ 277222 h 2340874"/>
                <a:gd name="connsiteX35" fmla="*/ 1269421 w 2048795"/>
                <a:gd name="connsiteY35" fmla="*/ 257468 h 2340874"/>
                <a:gd name="connsiteX36" fmla="*/ 1238650 w 2048795"/>
                <a:gd name="connsiteY36" fmla="*/ 265150 h 2340874"/>
                <a:gd name="connsiteX37" fmla="*/ 1265025 w 2048795"/>
                <a:gd name="connsiteY37" fmla="*/ 298075 h 2340874"/>
                <a:gd name="connsiteX38" fmla="*/ 1232057 w 2048795"/>
                <a:gd name="connsiteY38" fmla="*/ 289295 h 2340874"/>
                <a:gd name="connsiteX39" fmla="*/ 1155130 w 2048795"/>
                <a:gd name="connsiteY39" fmla="*/ 296977 h 2340874"/>
                <a:gd name="connsiteX40" fmla="*/ 1122162 w 2048795"/>
                <a:gd name="connsiteY40" fmla="*/ 323317 h 2340874"/>
                <a:gd name="connsiteX41" fmla="*/ 1141943 w 2048795"/>
                <a:gd name="connsiteY41" fmla="*/ 358436 h 2340874"/>
                <a:gd name="connsiteX42" fmla="*/ 1166120 w 2048795"/>
                <a:gd name="connsiteY42" fmla="*/ 390263 h 2340874"/>
                <a:gd name="connsiteX43" fmla="*/ 1215572 w 2048795"/>
                <a:gd name="connsiteY43" fmla="*/ 397945 h 2340874"/>
                <a:gd name="connsiteX44" fmla="*/ 1240848 w 2048795"/>
                <a:gd name="connsiteY44" fmla="*/ 406725 h 2340874"/>
                <a:gd name="connsiteX45" fmla="*/ 1265025 w 2048795"/>
                <a:gd name="connsiteY45" fmla="*/ 390263 h 2340874"/>
                <a:gd name="connsiteX46" fmla="*/ 1249640 w 2048795"/>
                <a:gd name="connsiteY46" fmla="*/ 420993 h 2340874"/>
                <a:gd name="connsiteX47" fmla="*/ 1250739 w 2048795"/>
                <a:gd name="connsiteY47" fmla="*/ 437455 h 2340874"/>
                <a:gd name="connsiteX48" fmla="*/ 1291400 w 2048795"/>
                <a:gd name="connsiteY48" fmla="*/ 422090 h 2340874"/>
                <a:gd name="connsiteX49" fmla="*/ 1318874 w 2048795"/>
                <a:gd name="connsiteY49" fmla="*/ 408920 h 2340874"/>
                <a:gd name="connsiteX50" fmla="*/ 1334259 w 2048795"/>
                <a:gd name="connsiteY50" fmla="*/ 419895 h 2340874"/>
                <a:gd name="connsiteX51" fmla="*/ 1370524 w 2048795"/>
                <a:gd name="connsiteY51" fmla="*/ 415505 h 2340874"/>
                <a:gd name="connsiteX52" fmla="*/ 1335358 w 2048795"/>
                <a:gd name="connsiteY52" fmla="*/ 450625 h 2340874"/>
                <a:gd name="connsiteX53" fmla="*/ 1318874 w 2048795"/>
                <a:gd name="connsiteY53" fmla="*/ 478062 h 2340874"/>
                <a:gd name="connsiteX54" fmla="*/ 1301290 w 2048795"/>
                <a:gd name="connsiteY54" fmla="*/ 500011 h 2340874"/>
                <a:gd name="connsiteX55" fmla="*/ 1257332 w 2048795"/>
                <a:gd name="connsiteY55" fmla="*/ 501109 h 2340874"/>
                <a:gd name="connsiteX56" fmla="*/ 1232057 w 2048795"/>
                <a:gd name="connsiteY56" fmla="*/ 509889 h 2340874"/>
                <a:gd name="connsiteX57" fmla="*/ 1203484 w 2048795"/>
                <a:gd name="connsiteY57" fmla="*/ 508791 h 2340874"/>
                <a:gd name="connsiteX58" fmla="*/ 1185901 w 2048795"/>
                <a:gd name="connsiteY58" fmla="*/ 528546 h 2340874"/>
                <a:gd name="connsiteX59" fmla="*/ 1114469 w 2048795"/>
                <a:gd name="connsiteY59" fmla="*/ 553788 h 2340874"/>
                <a:gd name="connsiteX60" fmla="*/ 1143042 w 2048795"/>
                <a:gd name="connsiteY60" fmla="*/ 580128 h 2340874"/>
                <a:gd name="connsiteX61" fmla="*/ 1152932 w 2048795"/>
                <a:gd name="connsiteY61" fmla="*/ 603175 h 2340874"/>
                <a:gd name="connsiteX62" fmla="*/ 1174911 w 2048795"/>
                <a:gd name="connsiteY62" fmla="*/ 620735 h 2340874"/>
                <a:gd name="connsiteX63" fmla="*/ 1135349 w 2048795"/>
                <a:gd name="connsiteY63" fmla="*/ 619637 h 2340874"/>
                <a:gd name="connsiteX64" fmla="*/ 1140844 w 2048795"/>
                <a:gd name="connsiteY64" fmla="*/ 647074 h 2340874"/>
                <a:gd name="connsiteX65" fmla="*/ 1110073 w 2048795"/>
                <a:gd name="connsiteY65" fmla="*/ 637197 h 2340874"/>
                <a:gd name="connsiteX66" fmla="*/ 1096886 w 2048795"/>
                <a:gd name="connsiteY66" fmla="*/ 611955 h 2340874"/>
                <a:gd name="connsiteX67" fmla="*/ 1036444 w 2048795"/>
                <a:gd name="connsiteY67" fmla="*/ 602077 h 2340874"/>
                <a:gd name="connsiteX68" fmla="*/ 1004574 w 2048795"/>
                <a:gd name="connsiteY68" fmla="*/ 577933 h 2340874"/>
                <a:gd name="connsiteX69" fmla="*/ 958418 w 2048795"/>
                <a:gd name="connsiteY69" fmla="*/ 572445 h 2340874"/>
                <a:gd name="connsiteX70" fmla="*/ 913361 w 2048795"/>
                <a:gd name="connsiteY70" fmla="*/ 609760 h 2340874"/>
                <a:gd name="connsiteX71" fmla="*/ 897976 w 2048795"/>
                <a:gd name="connsiteY71" fmla="*/ 637197 h 2340874"/>
                <a:gd name="connsiteX72" fmla="*/ 895778 w 2048795"/>
                <a:gd name="connsiteY72" fmla="*/ 595492 h 2340874"/>
                <a:gd name="connsiteX73" fmla="*/ 904570 w 2048795"/>
                <a:gd name="connsiteY73" fmla="*/ 565860 h 2340874"/>
                <a:gd name="connsiteX74" fmla="*/ 873799 w 2048795"/>
                <a:gd name="connsiteY74" fmla="*/ 513181 h 2340874"/>
                <a:gd name="connsiteX75" fmla="*/ 837534 w 2048795"/>
                <a:gd name="connsiteY75" fmla="*/ 524156 h 2340874"/>
                <a:gd name="connsiteX76" fmla="*/ 811159 w 2048795"/>
                <a:gd name="connsiteY76" fmla="*/ 507694 h 2340874"/>
                <a:gd name="connsiteX77" fmla="*/ 729837 w 2048795"/>
                <a:gd name="connsiteY77" fmla="*/ 471477 h 2340874"/>
                <a:gd name="connsiteX78" fmla="*/ 685879 w 2048795"/>
                <a:gd name="connsiteY78" fmla="*/ 448430 h 2340874"/>
                <a:gd name="connsiteX79" fmla="*/ 673790 w 2048795"/>
                <a:gd name="connsiteY79" fmla="*/ 479159 h 2340874"/>
                <a:gd name="connsiteX80" fmla="*/ 684780 w 2048795"/>
                <a:gd name="connsiteY80" fmla="*/ 495622 h 2340874"/>
                <a:gd name="connsiteX81" fmla="*/ 635327 w 2048795"/>
                <a:gd name="connsiteY81" fmla="*/ 495622 h 2340874"/>
                <a:gd name="connsiteX82" fmla="*/ 606755 w 2048795"/>
                <a:gd name="connsiteY82" fmla="*/ 515376 h 2340874"/>
                <a:gd name="connsiteX83" fmla="*/ 599062 w 2048795"/>
                <a:gd name="connsiteY83" fmla="*/ 555983 h 2340874"/>
                <a:gd name="connsiteX84" fmla="*/ 594666 w 2048795"/>
                <a:gd name="connsiteY84" fmla="*/ 569153 h 2340874"/>
                <a:gd name="connsiteX85" fmla="*/ 583677 w 2048795"/>
                <a:gd name="connsiteY85" fmla="*/ 604272 h 2340874"/>
                <a:gd name="connsiteX86" fmla="*/ 608952 w 2048795"/>
                <a:gd name="connsiteY86" fmla="*/ 587810 h 2340874"/>
                <a:gd name="connsiteX87" fmla="*/ 630931 w 2048795"/>
                <a:gd name="connsiteY87" fmla="*/ 582323 h 2340874"/>
                <a:gd name="connsiteX88" fmla="*/ 615546 w 2048795"/>
                <a:gd name="connsiteY88" fmla="*/ 617442 h 2340874"/>
                <a:gd name="connsiteX89" fmla="*/ 599062 w 2048795"/>
                <a:gd name="connsiteY89" fmla="*/ 640489 h 2340874"/>
                <a:gd name="connsiteX90" fmla="*/ 606755 w 2048795"/>
                <a:gd name="connsiteY90" fmla="*/ 669024 h 2340874"/>
                <a:gd name="connsiteX91" fmla="*/ 614447 w 2048795"/>
                <a:gd name="connsiteY91" fmla="*/ 692071 h 2340874"/>
                <a:gd name="connsiteX92" fmla="*/ 608952 w 2048795"/>
                <a:gd name="connsiteY92" fmla="*/ 706338 h 2340874"/>
                <a:gd name="connsiteX93" fmla="*/ 575984 w 2048795"/>
                <a:gd name="connsiteY93" fmla="*/ 692071 h 2340874"/>
                <a:gd name="connsiteX94" fmla="*/ 573786 w 2048795"/>
                <a:gd name="connsiteY94" fmla="*/ 665732 h 2340874"/>
                <a:gd name="connsiteX95" fmla="*/ 557302 w 2048795"/>
                <a:gd name="connsiteY95" fmla="*/ 629515 h 2340874"/>
                <a:gd name="connsiteX96" fmla="*/ 516641 w 2048795"/>
                <a:gd name="connsiteY96" fmla="*/ 618540 h 2340874"/>
                <a:gd name="connsiteX97" fmla="*/ 480375 w 2048795"/>
                <a:gd name="connsiteY97" fmla="*/ 617442 h 2340874"/>
                <a:gd name="connsiteX98" fmla="*/ 458396 w 2048795"/>
                <a:gd name="connsiteY98" fmla="*/ 640489 h 2340874"/>
                <a:gd name="connsiteX99" fmla="*/ 508948 w 2048795"/>
                <a:gd name="connsiteY99" fmla="*/ 660244 h 2340874"/>
                <a:gd name="connsiteX100" fmla="*/ 522135 w 2048795"/>
                <a:gd name="connsiteY100" fmla="*/ 688779 h 2340874"/>
                <a:gd name="connsiteX101" fmla="*/ 536422 w 2048795"/>
                <a:gd name="connsiteY101" fmla="*/ 717313 h 2340874"/>
                <a:gd name="connsiteX102" fmla="*/ 556203 w 2048795"/>
                <a:gd name="connsiteY102" fmla="*/ 718411 h 2340874"/>
                <a:gd name="connsiteX103" fmla="*/ 568291 w 2048795"/>
                <a:gd name="connsiteY103" fmla="*/ 712923 h 2340874"/>
                <a:gd name="connsiteX104" fmla="*/ 568291 w 2048795"/>
                <a:gd name="connsiteY104" fmla="*/ 737068 h 2340874"/>
                <a:gd name="connsiteX105" fmla="*/ 588072 w 2048795"/>
                <a:gd name="connsiteY105" fmla="*/ 753530 h 2340874"/>
                <a:gd name="connsiteX106" fmla="*/ 614447 w 2048795"/>
                <a:gd name="connsiteY106" fmla="*/ 745848 h 2340874"/>
                <a:gd name="connsiteX107" fmla="*/ 629832 w 2048795"/>
                <a:gd name="connsiteY107" fmla="*/ 730483 h 2340874"/>
                <a:gd name="connsiteX108" fmla="*/ 647416 w 2048795"/>
                <a:gd name="connsiteY108" fmla="*/ 745848 h 2340874"/>
                <a:gd name="connsiteX109" fmla="*/ 674889 w 2048795"/>
                <a:gd name="connsiteY109" fmla="*/ 750238 h 2340874"/>
                <a:gd name="connsiteX110" fmla="*/ 694671 w 2048795"/>
                <a:gd name="connsiteY110" fmla="*/ 768895 h 2340874"/>
                <a:gd name="connsiteX111" fmla="*/ 674889 w 2048795"/>
                <a:gd name="connsiteY111" fmla="*/ 787552 h 2340874"/>
                <a:gd name="connsiteX112" fmla="*/ 670494 w 2048795"/>
                <a:gd name="connsiteY112" fmla="*/ 813892 h 2340874"/>
                <a:gd name="connsiteX113" fmla="*/ 641921 w 2048795"/>
                <a:gd name="connsiteY113" fmla="*/ 817184 h 2340874"/>
                <a:gd name="connsiteX114" fmla="*/ 596864 w 2048795"/>
                <a:gd name="connsiteY114" fmla="*/ 817184 h 2340874"/>
                <a:gd name="connsiteX115" fmla="*/ 554005 w 2048795"/>
                <a:gd name="connsiteY115" fmla="*/ 808404 h 2340874"/>
                <a:gd name="connsiteX116" fmla="*/ 540818 w 2048795"/>
                <a:gd name="connsiteY116" fmla="*/ 840231 h 2340874"/>
                <a:gd name="connsiteX117" fmla="*/ 528729 w 2048795"/>
                <a:gd name="connsiteY117" fmla="*/ 870961 h 2340874"/>
                <a:gd name="connsiteX118" fmla="*/ 536422 w 2048795"/>
                <a:gd name="connsiteY118" fmla="*/ 895105 h 2340874"/>
                <a:gd name="connsiteX119" fmla="*/ 564995 w 2048795"/>
                <a:gd name="connsiteY119" fmla="*/ 910470 h 2340874"/>
                <a:gd name="connsiteX120" fmla="*/ 578182 w 2048795"/>
                <a:gd name="connsiteY120" fmla="*/ 934615 h 2340874"/>
                <a:gd name="connsiteX121" fmla="*/ 519938 w 2048795"/>
                <a:gd name="connsiteY121" fmla="*/ 908275 h 2340874"/>
                <a:gd name="connsiteX122" fmla="*/ 490266 w 2048795"/>
                <a:gd name="connsiteY122" fmla="*/ 898398 h 2340874"/>
                <a:gd name="connsiteX123" fmla="*/ 466089 w 2048795"/>
                <a:gd name="connsiteY123" fmla="*/ 895105 h 2340874"/>
                <a:gd name="connsiteX124" fmla="*/ 473782 w 2048795"/>
                <a:gd name="connsiteY124" fmla="*/ 930225 h 2340874"/>
                <a:gd name="connsiteX125" fmla="*/ 432022 w 2048795"/>
                <a:gd name="connsiteY125" fmla="*/ 903885 h 2340874"/>
                <a:gd name="connsiteX126" fmla="*/ 399053 w 2048795"/>
                <a:gd name="connsiteY126" fmla="*/ 908275 h 2340874"/>
                <a:gd name="connsiteX127" fmla="*/ 415537 w 2048795"/>
                <a:gd name="connsiteY127" fmla="*/ 937907 h 2340874"/>
                <a:gd name="connsiteX128" fmla="*/ 419933 w 2048795"/>
                <a:gd name="connsiteY128" fmla="*/ 964247 h 2340874"/>
                <a:gd name="connsiteX129" fmla="*/ 443011 w 2048795"/>
                <a:gd name="connsiteY129" fmla="*/ 987294 h 2340874"/>
                <a:gd name="connsiteX130" fmla="*/ 404548 w 2048795"/>
                <a:gd name="connsiteY130" fmla="*/ 987294 h 2340874"/>
                <a:gd name="connsiteX131" fmla="*/ 379272 w 2048795"/>
                <a:gd name="connsiteY131" fmla="*/ 999366 h 2340874"/>
                <a:gd name="connsiteX132" fmla="*/ 412240 w 2048795"/>
                <a:gd name="connsiteY132" fmla="*/ 1021316 h 2340874"/>
                <a:gd name="connsiteX133" fmla="*/ 436417 w 2048795"/>
                <a:gd name="connsiteY133" fmla="*/ 1041071 h 2340874"/>
                <a:gd name="connsiteX134" fmla="*/ 474881 w 2048795"/>
                <a:gd name="connsiteY134" fmla="*/ 1052046 h 2340874"/>
                <a:gd name="connsiteX135" fmla="*/ 497959 w 2048795"/>
                <a:gd name="connsiteY135" fmla="*/ 1019121 h 2340874"/>
                <a:gd name="connsiteX136" fmla="*/ 508948 w 2048795"/>
                <a:gd name="connsiteY136" fmla="*/ 1048753 h 2340874"/>
                <a:gd name="connsiteX137" fmla="*/ 540818 w 2048795"/>
                <a:gd name="connsiteY137" fmla="*/ 1044363 h 2340874"/>
                <a:gd name="connsiteX138" fmla="*/ 516641 w 2048795"/>
                <a:gd name="connsiteY138" fmla="*/ 1072898 h 2340874"/>
                <a:gd name="connsiteX139" fmla="*/ 475980 w 2048795"/>
                <a:gd name="connsiteY139" fmla="*/ 1080580 h 2340874"/>
                <a:gd name="connsiteX140" fmla="*/ 493563 w 2048795"/>
                <a:gd name="connsiteY140" fmla="*/ 1111310 h 2340874"/>
                <a:gd name="connsiteX141" fmla="*/ 544114 w 2048795"/>
                <a:gd name="connsiteY141" fmla="*/ 1106920 h 2340874"/>
                <a:gd name="connsiteX142" fmla="*/ 573786 w 2048795"/>
                <a:gd name="connsiteY142" fmla="*/ 1070703 h 2340874"/>
                <a:gd name="connsiteX143" fmla="*/ 575984 w 2048795"/>
                <a:gd name="connsiteY143" fmla="*/ 1101432 h 2340874"/>
                <a:gd name="connsiteX144" fmla="*/ 600161 w 2048795"/>
                <a:gd name="connsiteY144" fmla="*/ 1102530 h 2340874"/>
                <a:gd name="connsiteX145" fmla="*/ 602359 w 2048795"/>
                <a:gd name="connsiteY145" fmla="*/ 1120090 h 2340874"/>
                <a:gd name="connsiteX146" fmla="*/ 574885 w 2048795"/>
                <a:gd name="connsiteY146" fmla="*/ 1146429 h 2340874"/>
                <a:gd name="connsiteX147" fmla="*/ 590270 w 2048795"/>
                <a:gd name="connsiteY147" fmla="*/ 1182646 h 2340874"/>
                <a:gd name="connsiteX148" fmla="*/ 625437 w 2048795"/>
                <a:gd name="connsiteY148" fmla="*/ 1207888 h 2340874"/>
                <a:gd name="connsiteX149" fmla="*/ 699066 w 2048795"/>
                <a:gd name="connsiteY149" fmla="*/ 1207888 h 2340874"/>
                <a:gd name="connsiteX150" fmla="*/ 766102 w 2048795"/>
                <a:gd name="connsiteY150" fmla="*/ 1215571 h 2340874"/>
                <a:gd name="connsiteX151" fmla="*/ 812258 w 2048795"/>
                <a:gd name="connsiteY151" fmla="*/ 1248495 h 2340874"/>
                <a:gd name="connsiteX152" fmla="*/ 793576 w 2048795"/>
                <a:gd name="connsiteY152" fmla="*/ 1274835 h 2340874"/>
                <a:gd name="connsiteX153" fmla="*/ 761707 w 2048795"/>
                <a:gd name="connsiteY153" fmla="*/ 1298979 h 2340874"/>
                <a:gd name="connsiteX154" fmla="*/ 732035 w 2048795"/>
                <a:gd name="connsiteY154" fmla="*/ 1288005 h 2340874"/>
                <a:gd name="connsiteX155" fmla="*/ 673790 w 2048795"/>
                <a:gd name="connsiteY155" fmla="*/ 1288005 h 2340874"/>
                <a:gd name="connsiteX156" fmla="*/ 643020 w 2048795"/>
                <a:gd name="connsiteY156" fmla="*/ 1331904 h 2340874"/>
                <a:gd name="connsiteX157" fmla="*/ 583677 w 2048795"/>
                <a:gd name="connsiteY157" fmla="*/ 1375803 h 2340874"/>
                <a:gd name="connsiteX158" fmla="*/ 592468 w 2048795"/>
                <a:gd name="connsiteY158" fmla="*/ 1413118 h 2340874"/>
                <a:gd name="connsiteX159" fmla="*/ 570489 w 2048795"/>
                <a:gd name="connsiteY159" fmla="*/ 1444945 h 2340874"/>
                <a:gd name="connsiteX160" fmla="*/ 504552 w 2048795"/>
                <a:gd name="connsiteY160" fmla="*/ 1491039 h 2340874"/>
                <a:gd name="connsiteX161" fmla="*/ 428725 w 2048795"/>
                <a:gd name="connsiteY161" fmla="*/ 1545913 h 2340874"/>
                <a:gd name="connsiteX162" fmla="*/ 333116 w 2048795"/>
                <a:gd name="connsiteY162" fmla="*/ 1581033 h 2340874"/>
                <a:gd name="connsiteX163" fmla="*/ 470485 w 2048795"/>
                <a:gd name="connsiteY163" fmla="*/ 1575545 h 2340874"/>
                <a:gd name="connsiteX164" fmla="*/ 530927 w 2048795"/>
                <a:gd name="connsiteY164" fmla="*/ 1599690 h 2340874"/>
                <a:gd name="connsiteX165" fmla="*/ 599062 w 2048795"/>
                <a:gd name="connsiteY165" fmla="*/ 1615054 h 2340874"/>
                <a:gd name="connsiteX166" fmla="*/ 655108 w 2048795"/>
                <a:gd name="connsiteY166" fmla="*/ 1599690 h 2340874"/>
                <a:gd name="connsiteX167" fmla="*/ 710056 w 2048795"/>
                <a:gd name="connsiteY167" fmla="*/ 1550303 h 2340874"/>
                <a:gd name="connsiteX168" fmla="*/ 752915 w 2048795"/>
                <a:gd name="connsiteY168" fmla="*/ 1557986 h 2340874"/>
                <a:gd name="connsiteX169" fmla="*/ 740826 w 2048795"/>
                <a:gd name="connsiteY169" fmla="*/ 1594202 h 2340874"/>
                <a:gd name="connsiteX170" fmla="*/ 792477 w 2048795"/>
                <a:gd name="connsiteY170" fmla="*/ 1617250 h 2340874"/>
                <a:gd name="connsiteX171" fmla="*/ 761707 w 2048795"/>
                <a:gd name="connsiteY171" fmla="*/ 1649077 h 2340874"/>
                <a:gd name="connsiteX172" fmla="*/ 678186 w 2048795"/>
                <a:gd name="connsiteY172" fmla="*/ 1628224 h 2340874"/>
                <a:gd name="connsiteX173" fmla="*/ 554005 w 2048795"/>
                <a:gd name="connsiteY173" fmla="*/ 1640297 h 2340874"/>
                <a:gd name="connsiteX174" fmla="*/ 436417 w 2048795"/>
                <a:gd name="connsiteY174" fmla="*/ 1618347 h 2340874"/>
                <a:gd name="connsiteX175" fmla="*/ 379272 w 2048795"/>
                <a:gd name="connsiteY175" fmla="*/ 1660051 h 2340874"/>
                <a:gd name="connsiteX176" fmla="*/ 308939 w 2048795"/>
                <a:gd name="connsiteY176" fmla="*/ 1658954 h 2340874"/>
                <a:gd name="connsiteX177" fmla="*/ 308939 w 2048795"/>
                <a:gd name="connsiteY177" fmla="*/ 1713828 h 2340874"/>
                <a:gd name="connsiteX178" fmla="*/ 275971 w 2048795"/>
                <a:gd name="connsiteY178" fmla="*/ 1752240 h 2340874"/>
                <a:gd name="connsiteX179" fmla="*/ 316632 w 2048795"/>
                <a:gd name="connsiteY179" fmla="*/ 1780775 h 2340874"/>
                <a:gd name="connsiteX180" fmla="*/ 240804 w 2048795"/>
                <a:gd name="connsiteY180" fmla="*/ 1770897 h 2340874"/>
                <a:gd name="connsiteX181" fmla="*/ 227617 w 2048795"/>
                <a:gd name="connsiteY181" fmla="*/ 1716023 h 2340874"/>
                <a:gd name="connsiteX182" fmla="*/ 191352 w 2048795"/>
                <a:gd name="connsiteY182" fmla="*/ 1752240 h 2340874"/>
                <a:gd name="connsiteX183" fmla="*/ 133107 w 2048795"/>
                <a:gd name="connsiteY183" fmla="*/ 1728095 h 2340874"/>
                <a:gd name="connsiteX184" fmla="*/ 88050 w 2048795"/>
                <a:gd name="connsiteY184" fmla="*/ 1755533 h 2340874"/>
                <a:gd name="connsiteX185" fmla="*/ 15520 w 2048795"/>
                <a:gd name="connsiteY185" fmla="*/ 1790652 h 2340874"/>
                <a:gd name="connsiteX186" fmla="*/ 46291 w 2048795"/>
                <a:gd name="connsiteY186" fmla="*/ 1825771 h 2340874"/>
                <a:gd name="connsiteX187" fmla="*/ 135305 w 2048795"/>
                <a:gd name="connsiteY187" fmla="*/ 1838941 h 2340874"/>
                <a:gd name="connsiteX188" fmla="*/ 201242 w 2048795"/>
                <a:gd name="connsiteY188" fmla="*/ 1836746 h 2340874"/>
                <a:gd name="connsiteX189" fmla="*/ 257289 w 2048795"/>
                <a:gd name="connsiteY189" fmla="*/ 1848819 h 2340874"/>
                <a:gd name="connsiteX190" fmla="*/ 289158 w 2048795"/>
                <a:gd name="connsiteY190" fmla="*/ 1870768 h 2340874"/>
                <a:gd name="connsiteX191" fmla="*/ 216628 w 2048795"/>
                <a:gd name="connsiteY191" fmla="*/ 1876256 h 2340874"/>
                <a:gd name="connsiteX192" fmla="*/ 172670 w 2048795"/>
                <a:gd name="connsiteY192" fmla="*/ 1898205 h 2340874"/>
                <a:gd name="connsiteX193" fmla="*/ 102337 w 2048795"/>
                <a:gd name="connsiteY193" fmla="*/ 1894913 h 2340874"/>
                <a:gd name="connsiteX194" fmla="*/ 52884 w 2048795"/>
                <a:gd name="connsiteY194" fmla="*/ 1920155 h 2340874"/>
                <a:gd name="connsiteX195" fmla="*/ 51785 w 2048795"/>
                <a:gd name="connsiteY195" fmla="*/ 1965152 h 2340874"/>
                <a:gd name="connsiteX196" fmla="*/ 1234 w 2048795"/>
                <a:gd name="connsiteY196" fmla="*/ 1996979 h 2340874"/>
                <a:gd name="connsiteX197" fmla="*/ 21015 w 2048795"/>
                <a:gd name="connsiteY197" fmla="*/ 2039781 h 2340874"/>
                <a:gd name="connsiteX198" fmla="*/ 74863 w 2048795"/>
                <a:gd name="connsiteY198" fmla="*/ 2009051 h 2340874"/>
                <a:gd name="connsiteX199" fmla="*/ 93545 w 2048795"/>
                <a:gd name="connsiteY199" fmla="*/ 2058438 h 2340874"/>
                <a:gd name="connsiteX200" fmla="*/ 196847 w 2048795"/>
                <a:gd name="connsiteY200" fmla="*/ 2049658 h 2340874"/>
                <a:gd name="connsiteX201" fmla="*/ 269377 w 2048795"/>
                <a:gd name="connsiteY201" fmla="*/ 2040878 h 2340874"/>
                <a:gd name="connsiteX202" fmla="*/ 315533 w 2048795"/>
                <a:gd name="connsiteY202" fmla="*/ 2055145 h 2340874"/>
                <a:gd name="connsiteX203" fmla="*/ 224320 w 2048795"/>
                <a:gd name="connsiteY203" fmla="*/ 2083680 h 2340874"/>
                <a:gd name="connsiteX204" fmla="*/ 153987 w 2048795"/>
                <a:gd name="connsiteY204" fmla="*/ 2106727 h 2340874"/>
                <a:gd name="connsiteX205" fmla="*/ 108931 w 2048795"/>
                <a:gd name="connsiteY205" fmla="*/ 2134164 h 2340874"/>
                <a:gd name="connsiteX206" fmla="*/ 50686 w 2048795"/>
                <a:gd name="connsiteY206" fmla="*/ 2152821 h 2340874"/>
                <a:gd name="connsiteX207" fmla="*/ 89149 w 2048795"/>
                <a:gd name="connsiteY207" fmla="*/ 2185746 h 2340874"/>
                <a:gd name="connsiteX208" fmla="*/ 175966 w 2048795"/>
                <a:gd name="connsiteY208" fmla="*/ 2175869 h 2340874"/>
                <a:gd name="connsiteX209" fmla="*/ 257289 w 2048795"/>
                <a:gd name="connsiteY209" fmla="*/ 2159406 h 2340874"/>
                <a:gd name="connsiteX210" fmla="*/ 317731 w 2048795"/>
                <a:gd name="connsiteY210" fmla="*/ 2157212 h 2340874"/>
                <a:gd name="connsiteX211" fmla="*/ 357293 w 2048795"/>
                <a:gd name="connsiteY211" fmla="*/ 2148432 h 2340874"/>
                <a:gd name="connsiteX212" fmla="*/ 328720 w 2048795"/>
                <a:gd name="connsiteY212" fmla="*/ 2190136 h 2340874"/>
                <a:gd name="connsiteX213" fmla="*/ 292455 w 2048795"/>
                <a:gd name="connsiteY213" fmla="*/ 2210988 h 2340874"/>
                <a:gd name="connsiteX214" fmla="*/ 214430 w 2048795"/>
                <a:gd name="connsiteY214" fmla="*/ 2232938 h 2340874"/>
                <a:gd name="connsiteX215" fmla="*/ 148493 w 2048795"/>
                <a:gd name="connsiteY215" fmla="*/ 2249400 h 2340874"/>
                <a:gd name="connsiteX216" fmla="*/ 225419 w 2048795"/>
                <a:gd name="connsiteY216" fmla="*/ 2251595 h 2340874"/>
                <a:gd name="connsiteX217" fmla="*/ 278169 w 2048795"/>
                <a:gd name="connsiteY217" fmla="*/ 2250498 h 2340874"/>
                <a:gd name="connsiteX218" fmla="*/ 219924 w 2048795"/>
                <a:gd name="connsiteY218" fmla="*/ 2293299 h 2340874"/>
                <a:gd name="connsiteX219" fmla="*/ 168274 w 2048795"/>
                <a:gd name="connsiteY219" fmla="*/ 2308664 h 2340874"/>
                <a:gd name="connsiteX220" fmla="*/ 269377 w 2048795"/>
                <a:gd name="connsiteY220" fmla="*/ 2310859 h 2340874"/>
                <a:gd name="connsiteX221" fmla="*/ 340809 w 2048795"/>
                <a:gd name="connsiteY221" fmla="*/ 2293299 h 2340874"/>
                <a:gd name="connsiteX222" fmla="*/ 380371 w 2048795"/>
                <a:gd name="connsiteY222" fmla="*/ 2332809 h 2340874"/>
                <a:gd name="connsiteX223" fmla="*/ 446308 w 2048795"/>
                <a:gd name="connsiteY223" fmla="*/ 2322931 h 2340874"/>
                <a:gd name="connsiteX224" fmla="*/ 485870 w 2048795"/>
                <a:gd name="connsiteY224" fmla="*/ 2324029 h 2340874"/>
                <a:gd name="connsiteX225" fmla="*/ 500156 w 2048795"/>
                <a:gd name="connsiteY225" fmla="*/ 2285617 h 2340874"/>
                <a:gd name="connsiteX226" fmla="*/ 513344 w 2048795"/>
                <a:gd name="connsiteY226" fmla="*/ 2327322 h 2340874"/>
                <a:gd name="connsiteX227" fmla="*/ 548510 w 2048795"/>
                <a:gd name="connsiteY227" fmla="*/ 2327322 h 2340874"/>
                <a:gd name="connsiteX228" fmla="*/ 593567 w 2048795"/>
                <a:gd name="connsiteY228" fmla="*/ 2328419 h 2340874"/>
                <a:gd name="connsiteX229" fmla="*/ 618843 w 2048795"/>
                <a:gd name="connsiteY229" fmla="*/ 2299884 h 2340874"/>
                <a:gd name="connsiteX230" fmla="*/ 651811 w 2048795"/>
                <a:gd name="connsiteY230" fmla="*/ 2295494 h 2340874"/>
                <a:gd name="connsiteX231" fmla="*/ 655108 w 2048795"/>
                <a:gd name="connsiteY231" fmla="*/ 2330614 h 2340874"/>
                <a:gd name="connsiteX232" fmla="*/ 728738 w 2048795"/>
                <a:gd name="connsiteY232" fmla="*/ 2308664 h 2340874"/>
                <a:gd name="connsiteX233" fmla="*/ 768300 w 2048795"/>
                <a:gd name="connsiteY233" fmla="*/ 2271350 h 2340874"/>
                <a:gd name="connsiteX234" fmla="*/ 826544 w 2048795"/>
                <a:gd name="connsiteY234" fmla="*/ 2255985 h 2340874"/>
                <a:gd name="connsiteX235" fmla="*/ 817753 w 2048795"/>
                <a:gd name="connsiteY235" fmla="*/ 2207696 h 2340874"/>
                <a:gd name="connsiteX236" fmla="*/ 830940 w 2048795"/>
                <a:gd name="connsiteY236" fmla="*/ 2163796 h 2340874"/>
                <a:gd name="connsiteX237" fmla="*/ 875997 w 2048795"/>
                <a:gd name="connsiteY237" fmla="*/ 2187941 h 2340874"/>
                <a:gd name="connsiteX238" fmla="*/ 903471 w 2048795"/>
                <a:gd name="connsiteY238" fmla="*/ 2212086 h 2340874"/>
                <a:gd name="connsiteX239" fmla="*/ 849622 w 2048795"/>
                <a:gd name="connsiteY239" fmla="*/ 2258180 h 2340874"/>
                <a:gd name="connsiteX240" fmla="*/ 938637 w 2048795"/>
                <a:gd name="connsiteY240" fmla="*/ 2261473 h 2340874"/>
                <a:gd name="connsiteX241" fmla="*/ 995783 w 2048795"/>
                <a:gd name="connsiteY241" fmla="*/ 2220866 h 2340874"/>
                <a:gd name="connsiteX242" fmla="*/ 1036444 w 2048795"/>
                <a:gd name="connsiteY242" fmla="*/ 2212086 h 2340874"/>
                <a:gd name="connsiteX243" fmla="*/ 1050730 w 2048795"/>
                <a:gd name="connsiteY243" fmla="*/ 2174771 h 2340874"/>
                <a:gd name="connsiteX244" fmla="*/ 1076006 w 2048795"/>
                <a:gd name="connsiteY244" fmla="*/ 2204403 h 2340874"/>
                <a:gd name="connsiteX245" fmla="*/ 1114469 w 2048795"/>
                <a:gd name="connsiteY245" fmla="*/ 2191233 h 2340874"/>
                <a:gd name="connsiteX246" fmla="*/ 1159526 w 2048795"/>
                <a:gd name="connsiteY246" fmla="*/ 2169284 h 2340874"/>
                <a:gd name="connsiteX247" fmla="*/ 1147437 w 2048795"/>
                <a:gd name="connsiteY247" fmla="*/ 2119897 h 2340874"/>
                <a:gd name="connsiteX248" fmla="*/ 1178208 w 2048795"/>
                <a:gd name="connsiteY248" fmla="*/ 2107825 h 2340874"/>
                <a:gd name="connsiteX249" fmla="*/ 1228760 w 2048795"/>
                <a:gd name="connsiteY249" fmla="*/ 2126482 h 2340874"/>
                <a:gd name="connsiteX250" fmla="*/ 1325467 w 2048795"/>
                <a:gd name="connsiteY250" fmla="*/ 2136359 h 2340874"/>
                <a:gd name="connsiteX251" fmla="*/ 1380415 w 2048795"/>
                <a:gd name="connsiteY251" fmla="*/ 2114409 h 2340874"/>
                <a:gd name="connsiteX252" fmla="*/ 1415581 w 2048795"/>
                <a:gd name="connsiteY252" fmla="*/ 2145139 h 2340874"/>
                <a:gd name="connsiteX253" fmla="*/ 1419977 w 2048795"/>
                <a:gd name="connsiteY253" fmla="*/ 2067218 h 2340874"/>
                <a:gd name="connsiteX254" fmla="*/ 1444154 w 2048795"/>
                <a:gd name="connsiteY254" fmla="*/ 2104532 h 2340874"/>
                <a:gd name="connsiteX255" fmla="*/ 1454045 w 2048795"/>
                <a:gd name="connsiteY255" fmla="*/ 2160504 h 2340874"/>
                <a:gd name="connsiteX256" fmla="*/ 1492508 w 2048795"/>
                <a:gd name="connsiteY256" fmla="*/ 2118800 h 2340874"/>
                <a:gd name="connsiteX257" fmla="*/ 1530971 w 2048795"/>
                <a:gd name="connsiteY257" fmla="*/ 2104532 h 2340874"/>
                <a:gd name="connsiteX258" fmla="*/ 1546356 w 2048795"/>
                <a:gd name="connsiteY258" fmla="*/ 2147334 h 2340874"/>
                <a:gd name="connsiteX259" fmla="*/ 1599106 w 2048795"/>
                <a:gd name="connsiteY259" fmla="*/ 2165991 h 2340874"/>
                <a:gd name="connsiteX260" fmla="*/ 1647459 w 2048795"/>
                <a:gd name="connsiteY260" fmla="*/ 2162699 h 2340874"/>
                <a:gd name="connsiteX261" fmla="*/ 1683725 w 2048795"/>
                <a:gd name="connsiteY261" fmla="*/ 2170381 h 2340874"/>
                <a:gd name="connsiteX262" fmla="*/ 1693615 w 2048795"/>
                <a:gd name="connsiteY262" fmla="*/ 2120994 h 2340874"/>
                <a:gd name="connsiteX263" fmla="*/ 1661746 w 2048795"/>
                <a:gd name="connsiteY263" fmla="*/ 2091363 h 2340874"/>
                <a:gd name="connsiteX264" fmla="*/ 1651855 w 2048795"/>
                <a:gd name="connsiteY264" fmla="*/ 2058438 h 2340874"/>
                <a:gd name="connsiteX265" fmla="*/ 1670537 w 2048795"/>
                <a:gd name="connsiteY265" fmla="*/ 2043073 h 2340874"/>
                <a:gd name="connsiteX266" fmla="*/ 1681527 w 2048795"/>
                <a:gd name="connsiteY266" fmla="*/ 2072705 h 2340874"/>
                <a:gd name="connsiteX267" fmla="*/ 1693615 w 2048795"/>
                <a:gd name="connsiteY267" fmla="*/ 2094655 h 2340874"/>
                <a:gd name="connsiteX268" fmla="*/ 1707901 w 2048795"/>
                <a:gd name="connsiteY268" fmla="*/ 2052951 h 2340874"/>
                <a:gd name="connsiteX269" fmla="*/ 1721089 w 2048795"/>
                <a:gd name="connsiteY269" fmla="*/ 2027708 h 2340874"/>
                <a:gd name="connsiteX270" fmla="*/ 1781531 w 2048795"/>
                <a:gd name="connsiteY270" fmla="*/ 1972834 h 2340874"/>
                <a:gd name="connsiteX271" fmla="*/ 1794719 w 2048795"/>
                <a:gd name="connsiteY271" fmla="*/ 1900400 h 2340874"/>
                <a:gd name="connsiteX272" fmla="*/ 1843072 w 2048795"/>
                <a:gd name="connsiteY272" fmla="*/ 1843331 h 2340874"/>
                <a:gd name="connsiteX273" fmla="*/ 1899119 w 2048795"/>
                <a:gd name="connsiteY273" fmla="*/ 1764312 h 2340874"/>
                <a:gd name="connsiteX274" fmla="*/ 1934285 w 2048795"/>
                <a:gd name="connsiteY274" fmla="*/ 1700658 h 2340874"/>
                <a:gd name="connsiteX275" fmla="*/ 1932087 w 2048795"/>
                <a:gd name="connsiteY275" fmla="*/ 1634809 h 2340874"/>
                <a:gd name="connsiteX276" fmla="*/ 1935384 w 2048795"/>
                <a:gd name="connsiteY276" fmla="*/ 1596397 h 2340874"/>
                <a:gd name="connsiteX277" fmla="*/ 1940879 w 2048795"/>
                <a:gd name="connsiteY277" fmla="*/ 1522866 h 2340874"/>
                <a:gd name="connsiteX278" fmla="*/ 1936483 w 2048795"/>
                <a:gd name="connsiteY278" fmla="*/ 1473479 h 2340874"/>
                <a:gd name="connsiteX279" fmla="*/ 1898020 w 2048795"/>
                <a:gd name="connsiteY279" fmla="*/ 1443847 h 2340874"/>
                <a:gd name="connsiteX280" fmla="*/ 1930988 w 2048795"/>
                <a:gd name="connsiteY280" fmla="*/ 1427385 h 2340874"/>
                <a:gd name="connsiteX281" fmla="*/ 1980441 w 2048795"/>
                <a:gd name="connsiteY281" fmla="*/ 1431775 h 2340874"/>
                <a:gd name="connsiteX282" fmla="*/ 1954066 w 2048795"/>
                <a:gd name="connsiteY282" fmla="*/ 1380193 h 2340874"/>
                <a:gd name="connsiteX283" fmla="*/ 1969452 w 2048795"/>
                <a:gd name="connsiteY283" fmla="*/ 1345074 h 2340874"/>
                <a:gd name="connsiteX284" fmla="*/ 1985936 w 2048795"/>
                <a:gd name="connsiteY284" fmla="*/ 1295687 h 2340874"/>
                <a:gd name="connsiteX285" fmla="*/ 1954066 w 2048795"/>
                <a:gd name="connsiteY285" fmla="*/ 1247398 h 2340874"/>
                <a:gd name="connsiteX286" fmla="*/ 1944176 w 2048795"/>
                <a:gd name="connsiteY286" fmla="*/ 1173866 h 2340874"/>
                <a:gd name="connsiteX287" fmla="*/ 1969452 w 2048795"/>
                <a:gd name="connsiteY287" fmla="*/ 1113505 h 2340874"/>
                <a:gd name="connsiteX288" fmla="*/ 1927691 w 2048795"/>
                <a:gd name="connsiteY288" fmla="*/ 1064118 h 2340874"/>
                <a:gd name="connsiteX289" fmla="*/ 1968353 w 2048795"/>
                <a:gd name="connsiteY289" fmla="*/ 997171 h 2340874"/>
                <a:gd name="connsiteX290" fmla="*/ 2009014 w 2048795"/>
                <a:gd name="connsiteY290" fmla="*/ 1024609 h 2340874"/>
                <a:gd name="connsiteX291" fmla="*/ 2044180 w 2048795"/>
                <a:gd name="connsiteY291" fmla="*/ 1008146 h 2340874"/>
                <a:gd name="connsiteX292" fmla="*/ 2001321 w 2048795"/>
                <a:gd name="connsiteY292" fmla="*/ 960954 h 2340874"/>
                <a:gd name="connsiteX293" fmla="*/ 1928790 w 2048795"/>
                <a:gd name="connsiteY293" fmla="*/ 942297 h 2340874"/>
                <a:gd name="connsiteX294" fmla="*/ 1902416 w 2048795"/>
                <a:gd name="connsiteY294" fmla="*/ 947785 h 2340874"/>
                <a:gd name="connsiteX295" fmla="*/ 1855161 w 2048795"/>
                <a:gd name="connsiteY295" fmla="*/ 934615 h 2340874"/>
                <a:gd name="connsiteX296" fmla="*/ 1862853 w 2048795"/>
                <a:gd name="connsiteY296" fmla="*/ 902788 h 2340874"/>
                <a:gd name="connsiteX297" fmla="*/ 1869447 w 2048795"/>
                <a:gd name="connsiteY297" fmla="*/ 877546 h 2340874"/>
                <a:gd name="connsiteX298" fmla="*/ 1847468 w 2048795"/>
                <a:gd name="connsiteY298" fmla="*/ 853401 h 2340874"/>
                <a:gd name="connsiteX299" fmla="*/ 1818895 w 2048795"/>
                <a:gd name="connsiteY299" fmla="*/ 825964 h 2340874"/>
                <a:gd name="connsiteX300" fmla="*/ 1813401 w 2048795"/>
                <a:gd name="connsiteY300" fmla="*/ 789747 h 2340874"/>
                <a:gd name="connsiteX301" fmla="*/ 1809005 w 2048795"/>
                <a:gd name="connsiteY301" fmla="*/ 766700 h 2340874"/>
                <a:gd name="connsiteX302" fmla="*/ 1801312 w 2048795"/>
                <a:gd name="connsiteY302" fmla="*/ 737068 h 2340874"/>
                <a:gd name="connsiteX303" fmla="*/ 1801312 w 2048795"/>
                <a:gd name="connsiteY303" fmla="*/ 719508 h 2340874"/>
                <a:gd name="connsiteX304" fmla="*/ 1789224 w 2048795"/>
                <a:gd name="connsiteY304" fmla="*/ 703046 h 2340874"/>
                <a:gd name="connsiteX305" fmla="*/ 1773838 w 2048795"/>
                <a:gd name="connsiteY305" fmla="*/ 687681 h 2340874"/>
                <a:gd name="connsiteX306" fmla="*/ 1756256 w 2048795"/>
                <a:gd name="connsiteY306" fmla="*/ 675609 h 2340874"/>
                <a:gd name="connsiteX307" fmla="*/ 1756256 w 2048795"/>
                <a:gd name="connsiteY307" fmla="*/ 675609 h 2340874"/>
                <a:gd name="connsiteX308" fmla="*/ 1740870 w 2048795"/>
                <a:gd name="connsiteY308" fmla="*/ 685486 h 2340874"/>
                <a:gd name="connsiteX309" fmla="*/ 1718891 w 2048795"/>
                <a:gd name="connsiteY309" fmla="*/ 696461 h 2340874"/>
                <a:gd name="connsiteX310" fmla="*/ 1700209 w 2048795"/>
                <a:gd name="connsiteY310" fmla="*/ 701948 h 2340874"/>
                <a:gd name="connsiteX311" fmla="*/ 1688121 w 2048795"/>
                <a:gd name="connsiteY311" fmla="*/ 717313 h 2340874"/>
                <a:gd name="connsiteX312" fmla="*/ 1694714 w 2048795"/>
                <a:gd name="connsiteY312" fmla="*/ 745848 h 2340874"/>
                <a:gd name="connsiteX313" fmla="*/ 1699110 w 2048795"/>
                <a:gd name="connsiteY313" fmla="*/ 777675 h 2340874"/>
                <a:gd name="connsiteX314" fmla="*/ 1674933 w 2048795"/>
                <a:gd name="connsiteY314" fmla="*/ 791942 h 2340874"/>
                <a:gd name="connsiteX315" fmla="*/ 1654053 w 2048795"/>
                <a:gd name="connsiteY315" fmla="*/ 808404 h 2340874"/>
                <a:gd name="connsiteX316" fmla="*/ 1626579 w 2048795"/>
                <a:gd name="connsiteY316" fmla="*/ 833647 h 2340874"/>
                <a:gd name="connsiteX317" fmla="*/ 1589215 w 2048795"/>
                <a:gd name="connsiteY317" fmla="*/ 825964 h 2340874"/>
                <a:gd name="connsiteX318" fmla="*/ 1570533 w 2048795"/>
                <a:gd name="connsiteY318" fmla="*/ 814989 h 2340874"/>
                <a:gd name="connsiteX319" fmla="*/ 1549653 w 2048795"/>
                <a:gd name="connsiteY319" fmla="*/ 818282 h 2340874"/>
                <a:gd name="connsiteX320" fmla="*/ 1514487 w 2048795"/>
                <a:gd name="connsiteY320" fmla="*/ 808404 h 2340874"/>
                <a:gd name="connsiteX321" fmla="*/ 1446352 w 2048795"/>
                <a:gd name="connsiteY321" fmla="*/ 745848 h 2340874"/>
                <a:gd name="connsiteX322" fmla="*/ 1412284 w 2048795"/>
                <a:gd name="connsiteY322" fmla="*/ 697558 h 2340874"/>
                <a:gd name="connsiteX323" fmla="*/ 1412284 w 2048795"/>
                <a:gd name="connsiteY323" fmla="*/ 694266 h 2340874"/>
                <a:gd name="connsiteX324" fmla="*/ 1395800 w 2048795"/>
                <a:gd name="connsiteY324" fmla="*/ 651464 h 2340874"/>
                <a:gd name="connsiteX325" fmla="*/ 1391404 w 2048795"/>
                <a:gd name="connsiteY325" fmla="*/ 645977 h 2340874"/>
                <a:gd name="connsiteX326" fmla="*/ 1384811 w 2048795"/>
                <a:gd name="connsiteY326" fmla="*/ 638294 h 2340874"/>
                <a:gd name="connsiteX327" fmla="*/ 1343051 w 2048795"/>
                <a:gd name="connsiteY327" fmla="*/ 541716 h 2340874"/>
                <a:gd name="connsiteX328" fmla="*/ 1372722 w 2048795"/>
                <a:gd name="connsiteY328" fmla="*/ 520864 h 2340874"/>
                <a:gd name="connsiteX329" fmla="*/ 1395800 w 2048795"/>
                <a:gd name="connsiteY329" fmla="*/ 505499 h 2340874"/>
                <a:gd name="connsiteX330" fmla="*/ 1399097 w 2048795"/>
                <a:gd name="connsiteY330" fmla="*/ 500011 h 2340874"/>
                <a:gd name="connsiteX331" fmla="*/ 1447451 w 2048795"/>
                <a:gd name="connsiteY331" fmla="*/ 482452 h 2340874"/>
                <a:gd name="connsiteX332" fmla="*/ 1472726 w 2048795"/>
                <a:gd name="connsiteY332" fmla="*/ 482452 h 2340874"/>
                <a:gd name="connsiteX333" fmla="*/ 1505695 w 2048795"/>
                <a:gd name="connsiteY333" fmla="*/ 475867 h 2340874"/>
                <a:gd name="connsiteX334" fmla="*/ 1543059 w 2048795"/>
                <a:gd name="connsiteY334" fmla="*/ 469282 h 2340874"/>
                <a:gd name="connsiteX335" fmla="*/ 1535367 w 2048795"/>
                <a:gd name="connsiteY335" fmla="*/ 455015 h 2340874"/>
                <a:gd name="connsiteX336" fmla="*/ 1495804 w 2048795"/>
                <a:gd name="connsiteY336" fmla="*/ 427578 h 2340874"/>
                <a:gd name="connsiteX337" fmla="*/ 1463935 w 2048795"/>
                <a:gd name="connsiteY337" fmla="*/ 400141 h 2340874"/>
                <a:gd name="connsiteX338" fmla="*/ 1469430 w 2048795"/>
                <a:gd name="connsiteY338" fmla="*/ 389166 h 2340874"/>
                <a:gd name="connsiteX339" fmla="*/ 1540861 w 2048795"/>
                <a:gd name="connsiteY339" fmla="*/ 378191 h 2340874"/>
                <a:gd name="connsiteX340" fmla="*/ 1592512 w 2048795"/>
                <a:gd name="connsiteY340" fmla="*/ 392458 h 2340874"/>
                <a:gd name="connsiteX341" fmla="*/ 1606798 w 2048795"/>
                <a:gd name="connsiteY341" fmla="*/ 382581 h 2340874"/>
                <a:gd name="connsiteX342" fmla="*/ 1701308 w 2048795"/>
                <a:gd name="connsiteY342" fmla="*/ 288197 h 2340874"/>
                <a:gd name="connsiteX343" fmla="*/ 1765047 w 2048795"/>
                <a:gd name="connsiteY343" fmla="*/ 224543 h 2340874"/>
                <a:gd name="connsiteX344" fmla="*/ 1773838 w 2048795"/>
                <a:gd name="connsiteY344" fmla="*/ 211373 h 2340874"/>
                <a:gd name="connsiteX345" fmla="*/ 1840874 w 2048795"/>
                <a:gd name="connsiteY345" fmla="*/ 180644 h 2340874"/>
                <a:gd name="connsiteX346" fmla="*/ 1901317 w 2048795"/>
                <a:gd name="connsiteY346" fmla="*/ 151012 h 2340874"/>
                <a:gd name="connsiteX347" fmla="*/ 1858458 w 2048795"/>
                <a:gd name="connsiteY347" fmla="*/ 93943 h 2340874"/>
                <a:gd name="connsiteX348" fmla="*/ 1841973 w 2048795"/>
                <a:gd name="connsiteY348" fmla="*/ 67603 h 2340874"/>
                <a:gd name="connsiteX349" fmla="*/ 1815599 w 2048795"/>
                <a:gd name="connsiteY349" fmla="*/ 39068 h 2340874"/>
                <a:gd name="connsiteX350" fmla="*/ 1785927 w 2048795"/>
                <a:gd name="connsiteY350" fmla="*/ 22606 h 2340874"/>
                <a:gd name="connsiteX351" fmla="*/ 1767245 w 2048795"/>
                <a:gd name="connsiteY351" fmla="*/ 6144 h 2340874"/>
                <a:gd name="connsiteX352" fmla="*/ 1766146 w 2048795"/>
                <a:gd name="connsiteY352" fmla="*/ 42361 h 2340874"/>
                <a:gd name="connsiteX353" fmla="*/ 1780432 w 2048795"/>
                <a:gd name="connsiteY353" fmla="*/ 67603 h 2340874"/>
                <a:gd name="connsiteX354" fmla="*/ 1774937 w 2048795"/>
                <a:gd name="connsiteY354" fmla="*/ 84065 h 2340874"/>
                <a:gd name="connsiteX355" fmla="*/ 1752958 w 2048795"/>
                <a:gd name="connsiteY355" fmla="*/ 65408 h 2340874"/>
                <a:gd name="connsiteX356" fmla="*/ 1710100 w 2048795"/>
                <a:gd name="connsiteY356" fmla="*/ 64311 h 2340874"/>
                <a:gd name="connsiteX357" fmla="*/ 1692516 w 2048795"/>
                <a:gd name="connsiteY357" fmla="*/ 101625 h 2340874"/>
                <a:gd name="connsiteX358" fmla="*/ 1679329 w 2048795"/>
                <a:gd name="connsiteY358" fmla="*/ 136745 h 2340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</a:cxnLst>
              <a:rect l="l" t="t" r="r" b="b"/>
              <a:pathLst>
                <a:path w="2048795" h="2340874">
                  <a:moveTo>
                    <a:pt x="1679329" y="136745"/>
                  </a:moveTo>
                  <a:cubicBezTo>
                    <a:pt x="1683725" y="145524"/>
                    <a:pt x="1695813" y="154304"/>
                    <a:pt x="1690319" y="164182"/>
                  </a:cubicBezTo>
                  <a:cubicBezTo>
                    <a:pt x="1684824" y="175156"/>
                    <a:pt x="1677131" y="189424"/>
                    <a:pt x="1679329" y="197106"/>
                  </a:cubicBezTo>
                  <a:cubicBezTo>
                    <a:pt x="1681527" y="205886"/>
                    <a:pt x="1689220" y="211373"/>
                    <a:pt x="1674933" y="219056"/>
                  </a:cubicBezTo>
                  <a:cubicBezTo>
                    <a:pt x="1660647" y="226738"/>
                    <a:pt x="1641965" y="228933"/>
                    <a:pt x="1630975" y="236615"/>
                  </a:cubicBezTo>
                  <a:cubicBezTo>
                    <a:pt x="1618887" y="245395"/>
                    <a:pt x="1605699" y="265150"/>
                    <a:pt x="1602403" y="253078"/>
                  </a:cubicBezTo>
                  <a:cubicBezTo>
                    <a:pt x="1599106" y="241005"/>
                    <a:pt x="1599106" y="232226"/>
                    <a:pt x="1612293" y="225641"/>
                  </a:cubicBezTo>
                  <a:cubicBezTo>
                    <a:pt x="1626579" y="220153"/>
                    <a:pt x="1644163" y="213568"/>
                    <a:pt x="1638668" y="198204"/>
                  </a:cubicBezTo>
                  <a:cubicBezTo>
                    <a:pt x="1634272" y="181741"/>
                    <a:pt x="1637569" y="178449"/>
                    <a:pt x="1647459" y="171864"/>
                  </a:cubicBezTo>
                  <a:cubicBezTo>
                    <a:pt x="1657350" y="167474"/>
                    <a:pt x="1671636" y="169669"/>
                    <a:pt x="1666142" y="148817"/>
                  </a:cubicBezTo>
                  <a:cubicBezTo>
                    <a:pt x="1661746" y="130160"/>
                    <a:pt x="1649657" y="138939"/>
                    <a:pt x="1652954" y="115892"/>
                  </a:cubicBezTo>
                  <a:cubicBezTo>
                    <a:pt x="1655152" y="91748"/>
                    <a:pt x="1661746" y="65408"/>
                    <a:pt x="1648558" y="53336"/>
                  </a:cubicBezTo>
                  <a:cubicBezTo>
                    <a:pt x="1635371" y="41263"/>
                    <a:pt x="1634272" y="47848"/>
                    <a:pt x="1615590" y="51141"/>
                  </a:cubicBezTo>
                  <a:cubicBezTo>
                    <a:pt x="1598007" y="55531"/>
                    <a:pt x="1591413" y="51141"/>
                    <a:pt x="1580424" y="58823"/>
                  </a:cubicBezTo>
                  <a:cubicBezTo>
                    <a:pt x="1570533" y="66505"/>
                    <a:pt x="1552950" y="64311"/>
                    <a:pt x="1563939" y="82968"/>
                  </a:cubicBezTo>
                  <a:cubicBezTo>
                    <a:pt x="1574929" y="100528"/>
                    <a:pt x="1593611" y="91748"/>
                    <a:pt x="1603501" y="101625"/>
                  </a:cubicBezTo>
                  <a:cubicBezTo>
                    <a:pt x="1613392" y="112600"/>
                    <a:pt x="1611194" y="168571"/>
                    <a:pt x="1602403" y="154304"/>
                  </a:cubicBezTo>
                  <a:cubicBezTo>
                    <a:pt x="1592512" y="140037"/>
                    <a:pt x="1584819" y="114795"/>
                    <a:pt x="1584819" y="114795"/>
                  </a:cubicBezTo>
                  <a:cubicBezTo>
                    <a:pt x="1584819" y="114795"/>
                    <a:pt x="1561741" y="96138"/>
                    <a:pt x="1545257" y="98333"/>
                  </a:cubicBezTo>
                  <a:cubicBezTo>
                    <a:pt x="1528773" y="100528"/>
                    <a:pt x="1522179" y="84065"/>
                    <a:pt x="1523278" y="68700"/>
                  </a:cubicBezTo>
                  <a:cubicBezTo>
                    <a:pt x="1524377" y="52238"/>
                    <a:pt x="1503497" y="43458"/>
                    <a:pt x="1494705" y="58823"/>
                  </a:cubicBezTo>
                  <a:cubicBezTo>
                    <a:pt x="1487013" y="73090"/>
                    <a:pt x="1490310" y="71993"/>
                    <a:pt x="1478221" y="80773"/>
                  </a:cubicBezTo>
                  <a:cubicBezTo>
                    <a:pt x="1466133" y="89553"/>
                    <a:pt x="1446352" y="89553"/>
                    <a:pt x="1432066" y="89553"/>
                  </a:cubicBezTo>
                  <a:cubicBezTo>
                    <a:pt x="1417779" y="89553"/>
                    <a:pt x="1402394" y="59921"/>
                    <a:pt x="1388108" y="70896"/>
                  </a:cubicBezTo>
                  <a:cubicBezTo>
                    <a:pt x="1374920" y="82968"/>
                    <a:pt x="1385910" y="101625"/>
                    <a:pt x="1371623" y="111502"/>
                  </a:cubicBezTo>
                  <a:cubicBezTo>
                    <a:pt x="1358436" y="120282"/>
                    <a:pt x="1361733" y="130160"/>
                    <a:pt x="1358436" y="138939"/>
                  </a:cubicBezTo>
                  <a:cubicBezTo>
                    <a:pt x="1355139" y="148817"/>
                    <a:pt x="1350743" y="141134"/>
                    <a:pt x="1336457" y="144427"/>
                  </a:cubicBezTo>
                  <a:cubicBezTo>
                    <a:pt x="1322171" y="147719"/>
                    <a:pt x="1314478" y="146622"/>
                    <a:pt x="1308983" y="157597"/>
                  </a:cubicBezTo>
                  <a:cubicBezTo>
                    <a:pt x="1304587" y="169669"/>
                    <a:pt x="1299093" y="172961"/>
                    <a:pt x="1310082" y="185034"/>
                  </a:cubicBezTo>
                  <a:cubicBezTo>
                    <a:pt x="1322171" y="197106"/>
                    <a:pt x="1323269" y="197106"/>
                    <a:pt x="1311181" y="203691"/>
                  </a:cubicBezTo>
                  <a:cubicBezTo>
                    <a:pt x="1299093" y="212471"/>
                    <a:pt x="1291400" y="222348"/>
                    <a:pt x="1301290" y="227836"/>
                  </a:cubicBezTo>
                  <a:cubicBezTo>
                    <a:pt x="1312280" y="232226"/>
                    <a:pt x="1328764" y="219056"/>
                    <a:pt x="1328764" y="233323"/>
                  </a:cubicBezTo>
                  <a:cubicBezTo>
                    <a:pt x="1328764" y="246493"/>
                    <a:pt x="1324368" y="245395"/>
                    <a:pt x="1314478" y="249785"/>
                  </a:cubicBezTo>
                  <a:cubicBezTo>
                    <a:pt x="1304587" y="253078"/>
                    <a:pt x="1306785" y="257468"/>
                    <a:pt x="1310082" y="267345"/>
                  </a:cubicBezTo>
                  <a:cubicBezTo>
                    <a:pt x="1312280" y="278320"/>
                    <a:pt x="1314478" y="286002"/>
                    <a:pt x="1301290" y="277222"/>
                  </a:cubicBezTo>
                  <a:cubicBezTo>
                    <a:pt x="1289202" y="268443"/>
                    <a:pt x="1282608" y="255273"/>
                    <a:pt x="1269421" y="257468"/>
                  </a:cubicBezTo>
                  <a:cubicBezTo>
                    <a:pt x="1256234" y="259663"/>
                    <a:pt x="1233156" y="243200"/>
                    <a:pt x="1238650" y="265150"/>
                  </a:cubicBezTo>
                  <a:cubicBezTo>
                    <a:pt x="1244145" y="287100"/>
                    <a:pt x="1280410" y="292587"/>
                    <a:pt x="1265025" y="298075"/>
                  </a:cubicBezTo>
                  <a:cubicBezTo>
                    <a:pt x="1249640" y="303562"/>
                    <a:pt x="1243046" y="289295"/>
                    <a:pt x="1232057" y="289295"/>
                  </a:cubicBezTo>
                  <a:cubicBezTo>
                    <a:pt x="1218869" y="289295"/>
                    <a:pt x="1168318" y="277222"/>
                    <a:pt x="1155130" y="296977"/>
                  </a:cubicBezTo>
                  <a:cubicBezTo>
                    <a:pt x="1140844" y="315634"/>
                    <a:pt x="1128755" y="307952"/>
                    <a:pt x="1122162" y="323317"/>
                  </a:cubicBezTo>
                  <a:cubicBezTo>
                    <a:pt x="1114469" y="338681"/>
                    <a:pt x="1119964" y="336486"/>
                    <a:pt x="1141943" y="358436"/>
                  </a:cubicBezTo>
                  <a:cubicBezTo>
                    <a:pt x="1165021" y="381483"/>
                    <a:pt x="1145240" y="373801"/>
                    <a:pt x="1166120" y="390263"/>
                  </a:cubicBezTo>
                  <a:cubicBezTo>
                    <a:pt x="1184802" y="406725"/>
                    <a:pt x="1206781" y="394653"/>
                    <a:pt x="1215572" y="397945"/>
                  </a:cubicBezTo>
                  <a:cubicBezTo>
                    <a:pt x="1225463" y="400141"/>
                    <a:pt x="1229859" y="416603"/>
                    <a:pt x="1240848" y="406725"/>
                  </a:cubicBezTo>
                  <a:cubicBezTo>
                    <a:pt x="1251838" y="395751"/>
                    <a:pt x="1258431" y="374898"/>
                    <a:pt x="1265025" y="390263"/>
                  </a:cubicBezTo>
                  <a:cubicBezTo>
                    <a:pt x="1272718" y="405628"/>
                    <a:pt x="1254036" y="410018"/>
                    <a:pt x="1249640" y="420993"/>
                  </a:cubicBezTo>
                  <a:cubicBezTo>
                    <a:pt x="1245244" y="431968"/>
                    <a:pt x="1227661" y="445137"/>
                    <a:pt x="1250739" y="437455"/>
                  </a:cubicBezTo>
                  <a:cubicBezTo>
                    <a:pt x="1272718" y="431968"/>
                    <a:pt x="1274916" y="423188"/>
                    <a:pt x="1291400" y="422090"/>
                  </a:cubicBezTo>
                  <a:cubicBezTo>
                    <a:pt x="1306785" y="422090"/>
                    <a:pt x="1310082" y="405628"/>
                    <a:pt x="1318874" y="408920"/>
                  </a:cubicBezTo>
                  <a:cubicBezTo>
                    <a:pt x="1328764" y="412213"/>
                    <a:pt x="1307884" y="417700"/>
                    <a:pt x="1334259" y="419895"/>
                  </a:cubicBezTo>
                  <a:cubicBezTo>
                    <a:pt x="1361733" y="423188"/>
                    <a:pt x="1363931" y="390263"/>
                    <a:pt x="1370524" y="415505"/>
                  </a:cubicBezTo>
                  <a:cubicBezTo>
                    <a:pt x="1378217" y="439650"/>
                    <a:pt x="1348545" y="437455"/>
                    <a:pt x="1335358" y="450625"/>
                  </a:cubicBezTo>
                  <a:cubicBezTo>
                    <a:pt x="1321072" y="464892"/>
                    <a:pt x="1335358" y="462697"/>
                    <a:pt x="1318874" y="478062"/>
                  </a:cubicBezTo>
                  <a:cubicBezTo>
                    <a:pt x="1301290" y="494524"/>
                    <a:pt x="1316676" y="496719"/>
                    <a:pt x="1301290" y="500011"/>
                  </a:cubicBezTo>
                  <a:cubicBezTo>
                    <a:pt x="1285905" y="503304"/>
                    <a:pt x="1273817" y="491232"/>
                    <a:pt x="1257332" y="501109"/>
                  </a:cubicBezTo>
                  <a:cubicBezTo>
                    <a:pt x="1240848" y="510986"/>
                    <a:pt x="1244145" y="508791"/>
                    <a:pt x="1232057" y="509889"/>
                  </a:cubicBezTo>
                  <a:cubicBezTo>
                    <a:pt x="1219968" y="509889"/>
                    <a:pt x="1214473" y="493427"/>
                    <a:pt x="1203484" y="508791"/>
                  </a:cubicBezTo>
                  <a:cubicBezTo>
                    <a:pt x="1192494" y="524156"/>
                    <a:pt x="1206781" y="519766"/>
                    <a:pt x="1185901" y="528546"/>
                  </a:cubicBezTo>
                  <a:cubicBezTo>
                    <a:pt x="1163922" y="539521"/>
                    <a:pt x="1121063" y="528546"/>
                    <a:pt x="1114469" y="553788"/>
                  </a:cubicBezTo>
                  <a:cubicBezTo>
                    <a:pt x="1106777" y="577933"/>
                    <a:pt x="1126557" y="572445"/>
                    <a:pt x="1143042" y="580128"/>
                  </a:cubicBezTo>
                  <a:cubicBezTo>
                    <a:pt x="1158427" y="588908"/>
                    <a:pt x="1138646" y="590005"/>
                    <a:pt x="1152932" y="603175"/>
                  </a:cubicBezTo>
                  <a:cubicBezTo>
                    <a:pt x="1166120" y="615247"/>
                    <a:pt x="1180406" y="613052"/>
                    <a:pt x="1174911" y="620735"/>
                  </a:cubicBezTo>
                  <a:cubicBezTo>
                    <a:pt x="1169416" y="629515"/>
                    <a:pt x="1138646" y="604272"/>
                    <a:pt x="1135349" y="619637"/>
                  </a:cubicBezTo>
                  <a:cubicBezTo>
                    <a:pt x="1132052" y="633904"/>
                    <a:pt x="1154031" y="644879"/>
                    <a:pt x="1140844" y="647074"/>
                  </a:cubicBezTo>
                  <a:cubicBezTo>
                    <a:pt x="1126557" y="649269"/>
                    <a:pt x="1112271" y="659147"/>
                    <a:pt x="1110073" y="637197"/>
                  </a:cubicBezTo>
                  <a:cubicBezTo>
                    <a:pt x="1106777" y="617442"/>
                    <a:pt x="1119964" y="615247"/>
                    <a:pt x="1096886" y="611955"/>
                  </a:cubicBezTo>
                  <a:cubicBezTo>
                    <a:pt x="1072709" y="607565"/>
                    <a:pt x="1060621" y="620735"/>
                    <a:pt x="1036444" y="602077"/>
                  </a:cubicBezTo>
                  <a:cubicBezTo>
                    <a:pt x="1012267" y="583420"/>
                    <a:pt x="1022157" y="590005"/>
                    <a:pt x="1004574" y="577933"/>
                  </a:cubicBezTo>
                  <a:cubicBezTo>
                    <a:pt x="986991" y="564763"/>
                    <a:pt x="978199" y="557081"/>
                    <a:pt x="958418" y="572445"/>
                  </a:cubicBezTo>
                  <a:cubicBezTo>
                    <a:pt x="939736" y="585615"/>
                    <a:pt x="915559" y="585615"/>
                    <a:pt x="913361" y="609760"/>
                  </a:cubicBezTo>
                  <a:cubicBezTo>
                    <a:pt x="911163" y="632807"/>
                    <a:pt x="897976" y="660244"/>
                    <a:pt x="897976" y="637197"/>
                  </a:cubicBezTo>
                  <a:cubicBezTo>
                    <a:pt x="897976" y="615247"/>
                    <a:pt x="900174" y="598785"/>
                    <a:pt x="895778" y="595492"/>
                  </a:cubicBezTo>
                  <a:cubicBezTo>
                    <a:pt x="891382" y="593298"/>
                    <a:pt x="904570" y="572445"/>
                    <a:pt x="904570" y="565860"/>
                  </a:cubicBezTo>
                  <a:cubicBezTo>
                    <a:pt x="904570" y="558178"/>
                    <a:pt x="901273" y="508791"/>
                    <a:pt x="873799" y="513181"/>
                  </a:cubicBezTo>
                  <a:cubicBezTo>
                    <a:pt x="847424" y="517571"/>
                    <a:pt x="848523" y="531839"/>
                    <a:pt x="837534" y="524156"/>
                  </a:cubicBezTo>
                  <a:cubicBezTo>
                    <a:pt x="825445" y="514279"/>
                    <a:pt x="828742" y="512084"/>
                    <a:pt x="811159" y="507694"/>
                  </a:cubicBezTo>
                  <a:cubicBezTo>
                    <a:pt x="793576" y="504401"/>
                    <a:pt x="756212" y="479159"/>
                    <a:pt x="729837" y="471477"/>
                  </a:cubicBezTo>
                  <a:cubicBezTo>
                    <a:pt x="702363" y="463794"/>
                    <a:pt x="702363" y="449527"/>
                    <a:pt x="685879" y="448430"/>
                  </a:cubicBezTo>
                  <a:cubicBezTo>
                    <a:pt x="669395" y="448430"/>
                    <a:pt x="668296" y="474769"/>
                    <a:pt x="673790" y="479159"/>
                  </a:cubicBezTo>
                  <a:cubicBezTo>
                    <a:pt x="678186" y="484647"/>
                    <a:pt x="700165" y="492329"/>
                    <a:pt x="684780" y="495622"/>
                  </a:cubicBezTo>
                  <a:cubicBezTo>
                    <a:pt x="669395" y="498914"/>
                    <a:pt x="641921" y="482452"/>
                    <a:pt x="635327" y="495622"/>
                  </a:cubicBezTo>
                  <a:cubicBezTo>
                    <a:pt x="629832" y="508791"/>
                    <a:pt x="621041" y="497817"/>
                    <a:pt x="606755" y="515376"/>
                  </a:cubicBezTo>
                  <a:cubicBezTo>
                    <a:pt x="592468" y="532936"/>
                    <a:pt x="601260" y="545008"/>
                    <a:pt x="599062" y="555983"/>
                  </a:cubicBezTo>
                  <a:cubicBezTo>
                    <a:pt x="596864" y="566958"/>
                    <a:pt x="604557" y="559276"/>
                    <a:pt x="594666" y="569153"/>
                  </a:cubicBezTo>
                  <a:cubicBezTo>
                    <a:pt x="582578" y="579030"/>
                    <a:pt x="569390" y="598785"/>
                    <a:pt x="583677" y="604272"/>
                  </a:cubicBezTo>
                  <a:cubicBezTo>
                    <a:pt x="597963" y="608662"/>
                    <a:pt x="602359" y="596590"/>
                    <a:pt x="608952" y="587810"/>
                  </a:cubicBezTo>
                  <a:cubicBezTo>
                    <a:pt x="614447" y="576835"/>
                    <a:pt x="628734" y="569153"/>
                    <a:pt x="630931" y="582323"/>
                  </a:cubicBezTo>
                  <a:cubicBezTo>
                    <a:pt x="632030" y="595492"/>
                    <a:pt x="623239" y="609760"/>
                    <a:pt x="615546" y="617442"/>
                  </a:cubicBezTo>
                  <a:cubicBezTo>
                    <a:pt x="607853" y="625125"/>
                    <a:pt x="600161" y="619637"/>
                    <a:pt x="599062" y="640489"/>
                  </a:cubicBezTo>
                  <a:cubicBezTo>
                    <a:pt x="597963" y="662439"/>
                    <a:pt x="601260" y="662439"/>
                    <a:pt x="606755" y="669024"/>
                  </a:cubicBezTo>
                  <a:cubicBezTo>
                    <a:pt x="610051" y="677804"/>
                    <a:pt x="611150" y="681096"/>
                    <a:pt x="614447" y="692071"/>
                  </a:cubicBezTo>
                  <a:cubicBezTo>
                    <a:pt x="616645" y="704143"/>
                    <a:pt x="622140" y="714021"/>
                    <a:pt x="608952" y="706338"/>
                  </a:cubicBezTo>
                  <a:cubicBezTo>
                    <a:pt x="596864" y="698656"/>
                    <a:pt x="580380" y="704143"/>
                    <a:pt x="575984" y="692071"/>
                  </a:cubicBezTo>
                  <a:cubicBezTo>
                    <a:pt x="571588" y="681096"/>
                    <a:pt x="567192" y="684389"/>
                    <a:pt x="573786" y="665732"/>
                  </a:cubicBezTo>
                  <a:cubicBezTo>
                    <a:pt x="578182" y="647074"/>
                    <a:pt x="581479" y="627320"/>
                    <a:pt x="557302" y="629515"/>
                  </a:cubicBezTo>
                  <a:cubicBezTo>
                    <a:pt x="534224" y="632807"/>
                    <a:pt x="530927" y="610857"/>
                    <a:pt x="516641" y="618540"/>
                  </a:cubicBezTo>
                  <a:cubicBezTo>
                    <a:pt x="502354" y="627320"/>
                    <a:pt x="494662" y="607565"/>
                    <a:pt x="480375" y="617442"/>
                  </a:cubicBezTo>
                  <a:cubicBezTo>
                    <a:pt x="467188" y="627320"/>
                    <a:pt x="436417" y="621832"/>
                    <a:pt x="458396" y="640489"/>
                  </a:cubicBezTo>
                  <a:cubicBezTo>
                    <a:pt x="482573" y="656952"/>
                    <a:pt x="500156" y="650367"/>
                    <a:pt x="508948" y="660244"/>
                  </a:cubicBezTo>
                  <a:cubicBezTo>
                    <a:pt x="517740" y="671219"/>
                    <a:pt x="519938" y="676706"/>
                    <a:pt x="522135" y="688779"/>
                  </a:cubicBezTo>
                  <a:cubicBezTo>
                    <a:pt x="523234" y="700851"/>
                    <a:pt x="532026" y="704143"/>
                    <a:pt x="536422" y="717313"/>
                  </a:cubicBezTo>
                  <a:cubicBezTo>
                    <a:pt x="540818" y="729386"/>
                    <a:pt x="556203" y="724996"/>
                    <a:pt x="556203" y="718411"/>
                  </a:cubicBezTo>
                  <a:cubicBezTo>
                    <a:pt x="557302" y="712923"/>
                    <a:pt x="567192" y="707436"/>
                    <a:pt x="568291" y="712923"/>
                  </a:cubicBezTo>
                  <a:cubicBezTo>
                    <a:pt x="568291" y="717313"/>
                    <a:pt x="563895" y="724996"/>
                    <a:pt x="568291" y="737068"/>
                  </a:cubicBezTo>
                  <a:cubicBezTo>
                    <a:pt x="572687" y="750238"/>
                    <a:pt x="578182" y="754628"/>
                    <a:pt x="588072" y="753530"/>
                  </a:cubicBezTo>
                  <a:cubicBezTo>
                    <a:pt x="599062" y="752433"/>
                    <a:pt x="608952" y="756823"/>
                    <a:pt x="614447" y="745848"/>
                  </a:cubicBezTo>
                  <a:cubicBezTo>
                    <a:pt x="622140" y="734873"/>
                    <a:pt x="622140" y="719508"/>
                    <a:pt x="629832" y="730483"/>
                  </a:cubicBezTo>
                  <a:cubicBezTo>
                    <a:pt x="638624" y="741458"/>
                    <a:pt x="635327" y="735970"/>
                    <a:pt x="647416" y="745848"/>
                  </a:cubicBezTo>
                  <a:cubicBezTo>
                    <a:pt x="658405" y="755725"/>
                    <a:pt x="664999" y="746945"/>
                    <a:pt x="674889" y="750238"/>
                  </a:cubicBezTo>
                  <a:cubicBezTo>
                    <a:pt x="685879" y="753530"/>
                    <a:pt x="714451" y="755725"/>
                    <a:pt x="694671" y="768895"/>
                  </a:cubicBezTo>
                  <a:cubicBezTo>
                    <a:pt x="674889" y="782065"/>
                    <a:pt x="672692" y="777675"/>
                    <a:pt x="674889" y="787552"/>
                  </a:cubicBezTo>
                  <a:cubicBezTo>
                    <a:pt x="674889" y="799624"/>
                    <a:pt x="677087" y="813892"/>
                    <a:pt x="670494" y="813892"/>
                  </a:cubicBezTo>
                  <a:cubicBezTo>
                    <a:pt x="662801" y="814989"/>
                    <a:pt x="660603" y="821574"/>
                    <a:pt x="641921" y="817184"/>
                  </a:cubicBezTo>
                  <a:cubicBezTo>
                    <a:pt x="621041" y="813892"/>
                    <a:pt x="616645" y="822672"/>
                    <a:pt x="596864" y="817184"/>
                  </a:cubicBezTo>
                  <a:cubicBezTo>
                    <a:pt x="574885" y="811697"/>
                    <a:pt x="560599" y="799624"/>
                    <a:pt x="554005" y="808404"/>
                  </a:cubicBezTo>
                  <a:cubicBezTo>
                    <a:pt x="546312" y="817184"/>
                    <a:pt x="548510" y="830354"/>
                    <a:pt x="540818" y="840231"/>
                  </a:cubicBezTo>
                  <a:cubicBezTo>
                    <a:pt x="532026" y="850109"/>
                    <a:pt x="527630" y="858888"/>
                    <a:pt x="528729" y="870961"/>
                  </a:cubicBezTo>
                  <a:cubicBezTo>
                    <a:pt x="530927" y="881936"/>
                    <a:pt x="521037" y="888521"/>
                    <a:pt x="536422" y="895105"/>
                  </a:cubicBezTo>
                  <a:cubicBezTo>
                    <a:pt x="550708" y="900593"/>
                    <a:pt x="550708" y="903885"/>
                    <a:pt x="564995" y="910470"/>
                  </a:cubicBezTo>
                  <a:cubicBezTo>
                    <a:pt x="580380" y="918153"/>
                    <a:pt x="596864" y="941200"/>
                    <a:pt x="578182" y="934615"/>
                  </a:cubicBezTo>
                  <a:cubicBezTo>
                    <a:pt x="559500" y="926933"/>
                    <a:pt x="536422" y="908275"/>
                    <a:pt x="519938" y="908275"/>
                  </a:cubicBezTo>
                  <a:cubicBezTo>
                    <a:pt x="504552" y="909373"/>
                    <a:pt x="502354" y="903885"/>
                    <a:pt x="490266" y="898398"/>
                  </a:cubicBezTo>
                  <a:cubicBezTo>
                    <a:pt x="479276" y="892911"/>
                    <a:pt x="475980" y="885228"/>
                    <a:pt x="466089" y="895105"/>
                  </a:cubicBezTo>
                  <a:cubicBezTo>
                    <a:pt x="455100" y="904983"/>
                    <a:pt x="484771" y="930225"/>
                    <a:pt x="473782" y="930225"/>
                  </a:cubicBezTo>
                  <a:cubicBezTo>
                    <a:pt x="461693" y="930225"/>
                    <a:pt x="448506" y="902788"/>
                    <a:pt x="432022" y="903885"/>
                  </a:cubicBezTo>
                  <a:cubicBezTo>
                    <a:pt x="414438" y="906080"/>
                    <a:pt x="405647" y="904983"/>
                    <a:pt x="399053" y="908275"/>
                  </a:cubicBezTo>
                  <a:cubicBezTo>
                    <a:pt x="391360" y="912665"/>
                    <a:pt x="408944" y="925835"/>
                    <a:pt x="415537" y="937907"/>
                  </a:cubicBezTo>
                  <a:cubicBezTo>
                    <a:pt x="423230" y="951077"/>
                    <a:pt x="407845" y="947785"/>
                    <a:pt x="419933" y="964247"/>
                  </a:cubicBezTo>
                  <a:cubicBezTo>
                    <a:pt x="433121" y="979612"/>
                    <a:pt x="451803" y="978514"/>
                    <a:pt x="443011" y="987294"/>
                  </a:cubicBezTo>
                  <a:cubicBezTo>
                    <a:pt x="433121" y="997171"/>
                    <a:pt x="415537" y="992782"/>
                    <a:pt x="404548" y="987294"/>
                  </a:cubicBezTo>
                  <a:cubicBezTo>
                    <a:pt x="394657" y="982904"/>
                    <a:pt x="367184" y="976319"/>
                    <a:pt x="379272" y="999366"/>
                  </a:cubicBezTo>
                  <a:cubicBezTo>
                    <a:pt x="391360" y="1021316"/>
                    <a:pt x="401251" y="1012536"/>
                    <a:pt x="412240" y="1021316"/>
                  </a:cubicBezTo>
                  <a:cubicBezTo>
                    <a:pt x="425428" y="1031194"/>
                    <a:pt x="425428" y="1024609"/>
                    <a:pt x="436417" y="1041071"/>
                  </a:cubicBezTo>
                  <a:cubicBezTo>
                    <a:pt x="446308" y="1057533"/>
                    <a:pt x="464990" y="1068508"/>
                    <a:pt x="474881" y="1052046"/>
                  </a:cubicBezTo>
                  <a:cubicBezTo>
                    <a:pt x="484771" y="1035583"/>
                    <a:pt x="488068" y="999366"/>
                    <a:pt x="497959" y="1019121"/>
                  </a:cubicBezTo>
                  <a:cubicBezTo>
                    <a:pt x="506750" y="1037778"/>
                    <a:pt x="492464" y="1048753"/>
                    <a:pt x="508948" y="1048753"/>
                  </a:cubicBezTo>
                  <a:cubicBezTo>
                    <a:pt x="526531" y="1047656"/>
                    <a:pt x="536422" y="1034486"/>
                    <a:pt x="540818" y="1044363"/>
                  </a:cubicBezTo>
                  <a:cubicBezTo>
                    <a:pt x="545213" y="1054241"/>
                    <a:pt x="533125" y="1071800"/>
                    <a:pt x="516641" y="1072898"/>
                  </a:cubicBezTo>
                  <a:cubicBezTo>
                    <a:pt x="500156" y="1075093"/>
                    <a:pt x="478177" y="1058631"/>
                    <a:pt x="475980" y="1080580"/>
                  </a:cubicBezTo>
                  <a:cubicBezTo>
                    <a:pt x="472683" y="1102530"/>
                    <a:pt x="481474" y="1100335"/>
                    <a:pt x="493563" y="1111310"/>
                  </a:cubicBezTo>
                  <a:cubicBezTo>
                    <a:pt x="505651" y="1122285"/>
                    <a:pt x="529828" y="1134357"/>
                    <a:pt x="544114" y="1106920"/>
                  </a:cubicBezTo>
                  <a:cubicBezTo>
                    <a:pt x="558401" y="1080580"/>
                    <a:pt x="560599" y="1058631"/>
                    <a:pt x="573786" y="1070703"/>
                  </a:cubicBezTo>
                  <a:cubicBezTo>
                    <a:pt x="588072" y="1082775"/>
                    <a:pt x="571588" y="1093750"/>
                    <a:pt x="575984" y="1101432"/>
                  </a:cubicBezTo>
                  <a:cubicBezTo>
                    <a:pt x="581479" y="1110212"/>
                    <a:pt x="588072" y="1099237"/>
                    <a:pt x="600161" y="1102530"/>
                  </a:cubicBezTo>
                  <a:cubicBezTo>
                    <a:pt x="612249" y="1104725"/>
                    <a:pt x="615546" y="1111310"/>
                    <a:pt x="602359" y="1120090"/>
                  </a:cubicBezTo>
                  <a:cubicBezTo>
                    <a:pt x="588072" y="1129967"/>
                    <a:pt x="579281" y="1135454"/>
                    <a:pt x="574885" y="1146429"/>
                  </a:cubicBezTo>
                  <a:cubicBezTo>
                    <a:pt x="570489" y="1158502"/>
                    <a:pt x="566093" y="1163989"/>
                    <a:pt x="590270" y="1182646"/>
                  </a:cubicBezTo>
                  <a:cubicBezTo>
                    <a:pt x="615546" y="1200206"/>
                    <a:pt x="605656" y="1214473"/>
                    <a:pt x="625437" y="1207888"/>
                  </a:cubicBezTo>
                  <a:cubicBezTo>
                    <a:pt x="645218" y="1200206"/>
                    <a:pt x="658405" y="1198011"/>
                    <a:pt x="699066" y="1207888"/>
                  </a:cubicBezTo>
                  <a:cubicBezTo>
                    <a:pt x="740826" y="1217766"/>
                    <a:pt x="734233" y="1211181"/>
                    <a:pt x="766102" y="1215571"/>
                  </a:cubicBezTo>
                  <a:cubicBezTo>
                    <a:pt x="797972" y="1217766"/>
                    <a:pt x="830940" y="1238618"/>
                    <a:pt x="812258" y="1248495"/>
                  </a:cubicBezTo>
                  <a:cubicBezTo>
                    <a:pt x="795774" y="1259470"/>
                    <a:pt x="795774" y="1260567"/>
                    <a:pt x="793576" y="1274835"/>
                  </a:cubicBezTo>
                  <a:cubicBezTo>
                    <a:pt x="791378" y="1289102"/>
                    <a:pt x="771597" y="1301174"/>
                    <a:pt x="761707" y="1298979"/>
                  </a:cubicBezTo>
                  <a:cubicBezTo>
                    <a:pt x="751816" y="1296784"/>
                    <a:pt x="758409" y="1293492"/>
                    <a:pt x="732035" y="1288005"/>
                  </a:cubicBezTo>
                  <a:cubicBezTo>
                    <a:pt x="706759" y="1282517"/>
                    <a:pt x="691374" y="1271542"/>
                    <a:pt x="673790" y="1288005"/>
                  </a:cubicBezTo>
                  <a:cubicBezTo>
                    <a:pt x="657306" y="1303369"/>
                    <a:pt x="666098" y="1317637"/>
                    <a:pt x="643020" y="1331904"/>
                  </a:cubicBezTo>
                  <a:cubicBezTo>
                    <a:pt x="617744" y="1345074"/>
                    <a:pt x="600161" y="1352756"/>
                    <a:pt x="583677" y="1375803"/>
                  </a:cubicBezTo>
                  <a:cubicBezTo>
                    <a:pt x="568291" y="1398850"/>
                    <a:pt x="597963" y="1387876"/>
                    <a:pt x="592468" y="1413118"/>
                  </a:cubicBezTo>
                  <a:cubicBezTo>
                    <a:pt x="586973" y="1437262"/>
                    <a:pt x="582578" y="1427385"/>
                    <a:pt x="570489" y="1444945"/>
                  </a:cubicBezTo>
                  <a:cubicBezTo>
                    <a:pt x="558401" y="1462504"/>
                    <a:pt x="555104" y="1462504"/>
                    <a:pt x="504552" y="1491039"/>
                  </a:cubicBezTo>
                  <a:cubicBezTo>
                    <a:pt x="452902" y="1519574"/>
                    <a:pt x="471584" y="1526159"/>
                    <a:pt x="428725" y="1545913"/>
                  </a:cubicBezTo>
                  <a:cubicBezTo>
                    <a:pt x="388064" y="1565668"/>
                    <a:pt x="348502" y="1538231"/>
                    <a:pt x="333116" y="1581033"/>
                  </a:cubicBezTo>
                  <a:cubicBezTo>
                    <a:pt x="316632" y="1623835"/>
                    <a:pt x="436417" y="1570058"/>
                    <a:pt x="470485" y="1575545"/>
                  </a:cubicBezTo>
                  <a:cubicBezTo>
                    <a:pt x="505651" y="1579935"/>
                    <a:pt x="500156" y="1585423"/>
                    <a:pt x="530927" y="1599690"/>
                  </a:cubicBezTo>
                  <a:cubicBezTo>
                    <a:pt x="562797" y="1613957"/>
                    <a:pt x="572687" y="1621639"/>
                    <a:pt x="599062" y="1615054"/>
                  </a:cubicBezTo>
                  <a:cubicBezTo>
                    <a:pt x="626536" y="1609567"/>
                    <a:pt x="628734" y="1618347"/>
                    <a:pt x="655108" y="1599690"/>
                  </a:cubicBezTo>
                  <a:cubicBezTo>
                    <a:pt x="680384" y="1581033"/>
                    <a:pt x="678186" y="1567863"/>
                    <a:pt x="710056" y="1550303"/>
                  </a:cubicBezTo>
                  <a:cubicBezTo>
                    <a:pt x="740826" y="1532743"/>
                    <a:pt x="768300" y="1536036"/>
                    <a:pt x="752915" y="1557986"/>
                  </a:cubicBezTo>
                  <a:cubicBezTo>
                    <a:pt x="736430" y="1581033"/>
                    <a:pt x="722144" y="1576643"/>
                    <a:pt x="740826" y="1594202"/>
                  </a:cubicBezTo>
                  <a:cubicBezTo>
                    <a:pt x="759508" y="1609567"/>
                    <a:pt x="780388" y="1596397"/>
                    <a:pt x="792477" y="1617250"/>
                  </a:cubicBezTo>
                  <a:cubicBezTo>
                    <a:pt x="803466" y="1639199"/>
                    <a:pt x="794675" y="1671026"/>
                    <a:pt x="761707" y="1649077"/>
                  </a:cubicBezTo>
                  <a:cubicBezTo>
                    <a:pt x="729837" y="1626029"/>
                    <a:pt x="706759" y="1611762"/>
                    <a:pt x="678186" y="1628224"/>
                  </a:cubicBezTo>
                  <a:cubicBezTo>
                    <a:pt x="650713" y="1643589"/>
                    <a:pt x="597963" y="1644687"/>
                    <a:pt x="554005" y="1640297"/>
                  </a:cubicBezTo>
                  <a:cubicBezTo>
                    <a:pt x="510047" y="1635907"/>
                    <a:pt x="482573" y="1621639"/>
                    <a:pt x="436417" y="1618347"/>
                  </a:cubicBezTo>
                  <a:cubicBezTo>
                    <a:pt x="391360" y="1615054"/>
                    <a:pt x="416636" y="1654564"/>
                    <a:pt x="379272" y="1660051"/>
                  </a:cubicBezTo>
                  <a:cubicBezTo>
                    <a:pt x="343007" y="1667734"/>
                    <a:pt x="333116" y="1632614"/>
                    <a:pt x="308939" y="1658954"/>
                  </a:cubicBezTo>
                  <a:cubicBezTo>
                    <a:pt x="284762" y="1686391"/>
                    <a:pt x="333116" y="1691878"/>
                    <a:pt x="308939" y="1713828"/>
                  </a:cubicBezTo>
                  <a:cubicBezTo>
                    <a:pt x="284762" y="1736875"/>
                    <a:pt x="266080" y="1731388"/>
                    <a:pt x="275971" y="1752240"/>
                  </a:cubicBezTo>
                  <a:cubicBezTo>
                    <a:pt x="285861" y="1771995"/>
                    <a:pt x="340809" y="1756630"/>
                    <a:pt x="316632" y="1780775"/>
                  </a:cubicBezTo>
                  <a:cubicBezTo>
                    <a:pt x="293554" y="1804919"/>
                    <a:pt x="249596" y="1789555"/>
                    <a:pt x="240804" y="1770897"/>
                  </a:cubicBezTo>
                  <a:cubicBezTo>
                    <a:pt x="232013" y="1753337"/>
                    <a:pt x="261684" y="1707243"/>
                    <a:pt x="227617" y="1716023"/>
                  </a:cubicBezTo>
                  <a:cubicBezTo>
                    <a:pt x="195747" y="1723706"/>
                    <a:pt x="219924" y="1765410"/>
                    <a:pt x="191352" y="1752240"/>
                  </a:cubicBezTo>
                  <a:cubicBezTo>
                    <a:pt x="162779" y="1740168"/>
                    <a:pt x="153987" y="1712731"/>
                    <a:pt x="133107" y="1728095"/>
                  </a:cubicBezTo>
                  <a:cubicBezTo>
                    <a:pt x="110029" y="1744558"/>
                    <a:pt x="117722" y="1747850"/>
                    <a:pt x="88050" y="1755533"/>
                  </a:cubicBezTo>
                  <a:cubicBezTo>
                    <a:pt x="57280" y="1761020"/>
                    <a:pt x="30905" y="1774190"/>
                    <a:pt x="15520" y="1790652"/>
                  </a:cubicBezTo>
                  <a:cubicBezTo>
                    <a:pt x="-964" y="1806017"/>
                    <a:pt x="5629" y="1815894"/>
                    <a:pt x="46291" y="1825771"/>
                  </a:cubicBezTo>
                  <a:cubicBezTo>
                    <a:pt x="88050" y="1835649"/>
                    <a:pt x="97941" y="1824674"/>
                    <a:pt x="135305" y="1838941"/>
                  </a:cubicBezTo>
                  <a:cubicBezTo>
                    <a:pt x="173769" y="1852111"/>
                    <a:pt x="170472" y="1825771"/>
                    <a:pt x="201242" y="1836746"/>
                  </a:cubicBezTo>
                  <a:cubicBezTo>
                    <a:pt x="230914" y="1848819"/>
                    <a:pt x="218825" y="1844429"/>
                    <a:pt x="257289" y="1848819"/>
                  </a:cubicBezTo>
                  <a:cubicBezTo>
                    <a:pt x="295752" y="1852111"/>
                    <a:pt x="328720" y="1861988"/>
                    <a:pt x="289158" y="1870768"/>
                  </a:cubicBezTo>
                  <a:cubicBezTo>
                    <a:pt x="249596" y="1879548"/>
                    <a:pt x="239705" y="1875158"/>
                    <a:pt x="216628" y="1876256"/>
                  </a:cubicBezTo>
                  <a:cubicBezTo>
                    <a:pt x="192451" y="1878450"/>
                    <a:pt x="204539" y="1899303"/>
                    <a:pt x="172670" y="1898205"/>
                  </a:cubicBezTo>
                  <a:cubicBezTo>
                    <a:pt x="139701" y="1896010"/>
                    <a:pt x="126514" y="1885035"/>
                    <a:pt x="102337" y="1894913"/>
                  </a:cubicBezTo>
                  <a:cubicBezTo>
                    <a:pt x="79259" y="1904790"/>
                    <a:pt x="49587" y="1885035"/>
                    <a:pt x="52884" y="1920155"/>
                  </a:cubicBezTo>
                  <a:cubicBezTo>
                    <a:pt x="57280" y="1955274"/>
                    <a:pt x="80358" y="1956372"/>
                    <a:pt x="51785" y="1965152"/>
                  </a:cubicBezTo>
                  <a:cubicBezTo>
                    <a:pt x="23213" y="1975029"/>
                    <a:pt x="-6459" y="1972834"/>
                    <a:pt x="1234" y="1996979"/>
                  </a:cubicBezTo>
                  <a:cubicBezTo>
                    <a:pt x="8926" y="2022221"/>
                    <a:pt x="6728" y="2018929"/>
                    <a:pt x="21015" y="2039781"/>
                  </a:cubicBezTo>
                  <a:cubicBezTo>
                    <a:pt x="35301" y="2059535"/>
                    <a:pt x="39697" y="2006856"/>
                    <a:pt x="74863" y="2009051"/>
                  </a:cubicBezTo>
                  <a:cubicBezTo>
                    <a:pt x="110029" y="2012344"/>
                    <a:pt x="66071" y="2032098"/>
                    <a:pt x="93545" y="2058438"/>
                  </a:cubicBezTo>
                  <a:cubicBezTo>
                    <a:pt x="119920" y="2085875"/>
                    <a:pt x="148493" y="2045268"/>
                    <a:pt x="196847" y="2049658"/>
                  </a:cubicBezTo>
                  <a:cubicBezTo>
                    <a:pt x="245200" y="2052951"/>
                    <a:pt x="232013" y="2051853"/>
                    <a:pt x="269377" y="2040878"/>
                  </a:cubicBezTo>
                  <a:cubicBezTo>
                    <a:pt x="306741" y="2029903"/>
                    <a:pt x="353996" y="2039781"/>
                    <a:pt x="315533" y="2055145"/>
                  </a:cubicBezTo>
                  <a:cubicBezTo>
                    <a:pt x="278169" y="2070510"/>
                    <a:pt x="257289" y="2066120"/>
                    <a:pt x="224320" y="2083680"/>
                  </a:cubicBezTo>
                  <a:cubicBezTo>
                    <a:pt x="191352" y="2100142"/>
                    <a:pt x="178164" y="2095752"/>
                    <a:pt x="153987" y="2106727"/>
                  </a:cubicBezTo>
                  <a:cubicBezTo>
                    <a:pt x="130910" y="2118800"/>
                    <a:pt x="138602" y="2129775"/>
                    <a:pt x="108931" y="2134164"/>
                  </a:cubicBezTo>
                  <a:cubicBezTo>
                    <a:pt x="79259" y="2138554"/>
                    <a:pt x="50686" y="2128677"/>
                    <a:pt x="50686" y="2152821"/>
                  </a:cubicBezTo>
                  <a:cubicBezTo>
                    <a:pt x="50686" y="2178064"/>
                    <a:pt x="49587" y="2185746"/>
                    <a:pt x="89149" y="2185746"/>
                  </a:cubicBezTo>
                  <a:cubicBezTo>
                    <a:pt x="128712" y="2185746"/>
                    <a:pt x="138602" y="2181356"/>
                    <a:pt x="175966" y="2175869"/>
                  </a:cubicBezTo>
                  <a:cubicBezTo>
                    <a:pt x="213331" y="2171479"/>
                    <a:pt x="232013" y="2157212"/>
                    <a:pt x="257289" y="2159406"/>
                  </a:cubicBezTo>
                  <a:cubicBezTo>
                    <a:pt x="283663" y="2162699"/>
                    <a:pt x="299049" y="2175869"/>
                    <a:pt x="317731" y="2157212"/>
                  </a:cubicBezTo>
                  <a:cubicBezTo>
                    <a:pt x="336413" y="2138554"/>
                    <a:pt x="372678" y="2119897"/>
                    <a:pt x="357293" y="2148432"/>
                  </a:cubicBezTo>
                  <a:cubicBezTo>
                    <a:pt x="341908" y="2176966"/>
                    <a:pt x="325424" y="2175869"/>
                    <a:pt x="328720" y="2190136"/>
                  </a:cubicBezTo>
                  <a:cubicBezTo>
                    <a:pt x="332017" y="2203306"/>
                    <a:pt x="333116" y="2205501"/>
                    <a:pt x="292455" y="2210988"/>
                  </a:cubicBezTo>
                  <a:cubicBezTo>
                    <a:pt x="250695" y="2215378"/>
                    <a:pt x="232013" y="2223061"/>
                    <a:pt x="214430" y="2232938"/>
                  </a:cubicBezTo>
                  <a:cubicBezTo>
                    <a:pt x="196847" y="2242815"/>
                    <a:pt x="123217" y="2235133"/>
                    <a:pt x="148493" y="2249400"/>
                  </a:cubicBezTo>
                  <a:cubicBezTo>
                    <a:pt x="174868" y="2262570"/>
                    <a:pt x="193550" y="2254888"/>
                    <a:pt x="225419" y="2251595"/>
                  </a:cubicBezTo>
                  <a:cubicBezTo>
                    <a:pt x="256190" y="2249400"/>
                    <a:pt x="288059" y="2223061"/>
                    <a:pt x="278169" y="2250498"/>
                  </a:cubicBezTo>
                  <a:cubicBezTo>
                    <a:pt x="268278" y="2276837"/>
                    <a:pt x="245200" y="2291104"/>
                    <a:pt x="219924" y="2293299"/>
                  </a:cubicBezTo>
                  <a:cubicBezTo>
                    <a:pt x="194649" y="2294397"/>
                    <a:pt x="161680" y="2281227"/>
                    <a:pt x="168274" y="2308664"/>
                  </a:cubicBezTo>
                  <a:cubicBezTo>
                    <a:pt x="177065" y="2335004"/>
                    <a:pt x="224320" y="2328419"/>
                    <a:pt x="269377" y="2310859"/>
                  </a:cubicBezTo>
                  <a:cubicBezTo>
                    <a:pt x="314434" y="2294397"/>
                    <a:pt x="323226" y="2253790"/>
                    <a:pt x="340809" y="2293299"/>
                  </a:cubicBezTo>
                  <a:cubicBezTo>
                    <a:pt x="357293" y="2332809"/>
                    <a:pt x="330918" y="2325126"/>
                    <a:pt x="380371" y="2332809"/>
                  </a:cubicBezTo>
                  <a:cubicBezTo>
                    <a:pt x="429824" y="2338296"/>
                    <a:pt x="419933" y="2309762"/>
                    <a:pt x="446308" y="2322931"/>
                  </a:cubicBezTo>
                  <a:cubicBezTo>
                    <a:pt x="473782" y="2335004"/>
                    <a:pt x="488068" y="2355856"/>
                    <a:pt x="485870" y="2324029"/>
                  </a:cubicBezTo>
                  <a:cubicBezTo>
                    <a:pt x="484771" y="2293299"/>
                    <a:pt x="494662" y="2261473"/>
                    <a:pt x="500156" y="2285617"/>
                  </a:cubicBezTo>
                  <a:cubicBezTo>
                    <a:pt x="505651" y="2309762"/>
                    <a:pt x="497959" y="2322931"/>
                    <a:pt x="513344" y="2327322"/>
                  </a:cubicBezTo>
                  <a:cubicBezTo>
                    <a:pt x="528729" y="2331711"/>
                    <a:pt x="525432" y="2315249"/>
                    <a:pt x="548510" y="2327322"/>
                  </a:cubicBezTo>
                  <a:cubicBezTo>
                    <a:pt x="570489" y="2338296"/>
                    <a:pt x="579281" y="2338296"/>
                    <a:pt x="593567" y="2328419"/>
                  </a:cubicBezTo>
                  <a:cubicBezTo>
                    <a:pt x="607853" y="2318541"/>
                    <a:pt x="611150" y="2318541"/>
                    <a:pt x="618843" y="2299884"/>
                  </a:cubicBezTo>
                  <a:cubicBezTo>
                    <a:pt x="627635" y="2281227"/>
                    <a:pt x="658405" y="2271350"/>
                    <a:pt x="651811" y="2295494"/>
                  </a:cubicBezTo>
                  <a:cubicBezTo>
                    <a:pt x="646317" y="2319639"/>
                    <a:pt x="640822" y="2328419"/>
                    <a:pt x="655108" y="2330614"/>
                  </a:cubicBezTo>
                  <a:cubicBezTo>
                    <a:pt x="669395" y="2332809"/>
                    <a:pt x="706759" y="2338296"/>
                    <a:pt x="728738" y="2308664"/>
                  </a:cubicBezTo>
                  <a:cubicBezTo>
                    <a:pt x="751816" y="2280130"/>
                    <a:pt x="738629" y="2266960"/>
                    <a:pt x="768300" y="2271350"/>
                  </a:cubicBezTo>
                  <a:cubicBezTo>
                    <a:pt x="797972" y="2275740"/>
                    <a:pt x="817753" y="2275740"/>
                    <a:pt x="826544" y="2255985"/>
                  </a:cubicBezTo>
                  <a:cubicBezTo>
                    <a:pt x="836435" y="2236230"/>
                    <a:pt x="839732" y="2234035"/>
                    <a:pt x="817753" y="2207696"/>
                  </a:cubicBezTo>
                  <a:cubicBezTo>
                    <a:pt x="797972" y="2182454"/>
                    <a:pt x="810060" y="2150627"/>
                    <a:pt x="830940" y="2163796"/>
                  </a:cubicBezTo>
                  <a:cubicBezTo>
                    <a:pt x="850721" y="2178064"/>
                    <a:pt x="846325" y="2190136"/>
                    <a:pt x="875997" y="2187941"/>
                  </a:cubicBezTo>
                  <a:cubicBezTo>
                    <a:pt x="905669" y="2186843"/>
                    <a:pt x="919955" y="2202208"/>
                    <a:pt x="903471" y="2212086"/>
                  </a:cubicBezTo>
                  <a:cubicBezTo>
                    <a:pt x="885888" y="2221963"/>
                    <a:pt x="844128" y="2226353"/>
                    <a:pt x="849622" y="2258180"/>
                  </a:cubicBezTo>
                  <a:cubicBezTo>
                    <a:pt x="855117" y="2288910"/>
                    <a:pt x="899075" y="2290007"/>
                    <a:pt x="938637" y="2261473"/>
                  </a:cubicBezTo>
                  <a:cubicBezTo>
                    <a:pt x="978199" y="2234035"/>
                    <a:pt x="971606" y="2215378"/>
                    <a:pt x="995783" y="2220866"/>
                  </a:cubicBezTo>
                  <a:cubicBezTo>
                    <a:pt x="1018861" y="2226353"/>
                    <a:pt x="1035345" y="2234035"/>
                    <a:pt x="1036444" y="2212086"/>
                  </a:cubicBezTo>
                  <a:cubicBezTo>
                    <a:pt x="1037542" y="2192331"/>
                    <a:pt x="1035345" y="2158309"/>
                    <a:pt x="1050730" y="2174771"/>
                  </a:cubicBezTo>
                  <a:cubicBezTo>
                    <a:pt x="1066115" y="2190136"/>
                    <a:pt x="1055126" y="2205501"/>
                    <a:pt x="1076006" y="2204403"/>
                  </a:cubicBezTo>
                  <a:cubicBezTo>
                    <a:pt x="1095787" y="2203306"/>
                    <a:pt x="1090292" y="2194526"/>
                    <a:pt x="1114469" y="2191233"/>
                  </a:cubicBezTo>
                  <a:cubicBezTo>
                    <a:pt x="1138646" y="2189039"/>
                    <a:pt x="1150734" y="2195624"/>
                    <a:pt x="1159526" y="2169284"/>
                  </a:cubicBezTo>
                  <a:cubicBezTo>
                    <a:pt x="1169416" y="2141847"/>
                    <a:pt x="1139745" y="2131969"/>
                    <a:pt x="1147437" y="2119897"/>
                  </a:cubicBezTo>
                  <a:cubicBezTo>
                    <a:pt x="1155130" y="2106727"/>
                    <a:pt x="1162823" y="2088070"/>
                    <a:pt x="1178208" y="2107825"/>
                  </a:cubicBezTo>
                  <a:cubicBezTo>
                    <a:pt x="1193593" y="2129775"/>
                    <a:pt x="1197989" y="2139652"/>
                    <a:pt x="1228760" y="2126482"/>
                  </a:cubicBezTo>
                  <a:cubicBezTo>
                    <a:pt x="1259530" y="2114409"/>
                    <a:pt x="1289202" y="2138554"/>
                    <a:pt x="1325467" y="2136359"/>
                  </a:cubicBezTo>
                  <a:cubicBezTo>
                    <a:pt x="1361733" y="2135262"/>
                    <a:pt x="1362832" y="2094655"/>
                    <a:pt x="1380415" y="2114409"/>
                  </a:cubicBezTo>
                  <a:cubicBezTo>
                    <a:pt x="1399097" y="2134164"/>
                    <a:pt x="1403493" y="2178064"/>
                    <a:pt x="1415581" y="2145139"/>
                  </a:cubicBezTo>
                  <a:cubicBezTo>
                    <a:pt x="1428768" y="2114409"/>
                    <a:pt x="1406789" y="2074900"/>
                    <a:pt x="1419977" y="2067218"/>
                  </a:cubicBezTo>
                  <a:cubicBezTo>
                    <a:pt x="1434263" y="2061730"/>
                    <a:pt x="1448550" y="2071608"/>
                    <a:pt x="1444154" y="2104532"/>
                  </a:cubicBezTo>
                  <a:cubicBezTo>
                    <a:pt x="1439758" y="2135262"/>
                    <a:pt x="1427669" y="2180258"/>
                    <a:pt x="1454045" y="2160504"/>
                  </a:cubicBezTo>
                  <a:cubicBezTo>
                    <a:pt x="1481518" y="2142944"/>
                    <a:pt x="1473825" y="2129775"/>
                    <a:pt x="1492508" y="2118800"/>
                  </a:cubicBezTo>
                  <a:cubicBezTo>
                    <a:pt x="1510091" y="2106727"/>
                    <a:pt x="1522179" y="2074900"/>
                    <a:pt x="1530971" y="2104532"/>
                  </a:cubicBezTo>
                  <a:cubicBezTo>
                    <a:pt x="1538663" y="2134164"/>
                    <a:pt x="1532070" y="2142944"/>
                    <a:pt x="1546356" y="2147334"/>
                  </a:cubicBezTo>
                  <a:cubicBezTo>
                    <a:pt x="1560642" y="2151724"/>
                    <a:pt x="1566137" y="2171479"/>
                    <a:pt x="1599106" y="2165991"/>
                  </a:cubicBezTo>
                  <a:cubicBezTo>
                    <a:pt x="1630975" y="2161601"/>
                    <a:pt x="1630975" y="2155017"/>
                    <a:pt x="1647459" y="2162699"/>
                  </a:cubicBezTo>
                  <a:cubicBezTo>
                    <a:pt x="1662845" y="2170381"/>
                    <a:pt x="1673834" y="2186843"/>
                    <a:pt x="1683725" y="2170381"/>
                  </a:cubicBezTo>
                  <a:cubicBezTo>
                    <a:pt x="1694714" y="2152821"/>
                    <a:pt x="1702407" y="2140749"/>
                    <a:pt x="1693615" y="2120994"/>
                  </a:cubicBezTo>
                  <a:cubicBezTo>
                    <a:pt x="1683725" y="2102337"/>
                    <a:pt x="1666142" y="2102337"/>
                    <a:pt x="1661746" y="2091363"/>
                  </a:cubicBezTo>
                  <a:cubicBezTo>
                    <a:pt x="1657350" y="2081485"/>
                    <a:pt x="1649657" y="2072705"/>
                    <a:pt x="1651855" y="2058438"/>
                  </a:cubicBezTo>
                  <a:cubicBezTo>
                    <a:pt x="1655152" y="2045268"/>
                    <a:pt x="1659548" y="2029903"/>
                    <a:pt x="1670537" y="2043073"/>
                  </a:cubicBezTo>
                  <a:cubicBezTo>
                    <a:pt x="1681527" y="2056243"/>
                    <a:pt x="1683725" y="2061730"/>
                    <a:pt x="1681527" y="2072705"/>
                  </a:cubicBezTo>
                  <a:cubicBezTo>
                    <a:pt x="1679329" y="2082582"/>
                    <a:pt x="1681527" y="2112215"/>
                    <a:pt x="1693615" y="2094655"/>
                  </a:cubicBezTo>
                  <a:cubicBezTo>
                    <a:pt x="1705704" y="2075998"/>
                    <a:pt x="1698011" y="2066120"/>
                    <a:pt x="1707901" y="2052951"/>
                  </a:cubicBezTo>
                  <a:cubicBezTo>
                    <a:pt x="1717792" y="2039781"/>
                    <a:pt x="1719990" y="2034293"/>
                    <a:pt x="1721089" y="2027708"/>
                  </a:cubicBezTo>
                  <a:cubicBezTo>
                    <a:pt x="1722188" y="2022221"/>
                    <a:pt x="1763948" y="2009051"/>
                    <a:pt x="1781531" y="1972834"/>
                  </a:cubicBezTo>
                  <a:cubicBezTo>
                    <a:pt x="1800213" y="1935520"/>
                    <a:pt x="1784828" y="1919058"/>
                    <a:pt x="1794719" y="1900400"/>
                  </a:cubicBezTo>
                  <a:cubicBezTo>
                    <a:pt x="1804609" y="1881743"/>
                    <a:pt x="1822192" y="1868573"/>
                    <a:pt x="1843072" y="1843331"/>
                  </a:cubicBezTo>
                  <a:cubicBezTo>
                    <a:pt x="1862853" y="1818089"/>
                    <a:pt x="1876041" y="1789555"/>
                    <a:pt x="1899119" y="1764312"/>
                  </a:cubicBezTo>
                  <a:cubicBezTo>
                    <a:pt x="1923296" y="1739070"/>
                    <a:pt x="1943077" y="1720413"/>
                    <a:pt x="1934285" y="1700658"/>
                  </a:cubicBezTo>
                  <a:cubicBezTo>
                    <a:pt x="1925494" y="1682001"/>
                    <a:pt x="1929889" y="1650174"/>
                    <a:pt x="1932087" y="1634809"/>
                  </a:cubicBezTo>
                  <a:cubicBezTo>
                    <a:pt x="1933186" y="1618347"/>
                    <a:pt x="1936483" y="1598592"/>
                    <a:pt x="1935384" y="1596397"/>
                  </a:cubicBezTo>
                  <a:cubicBezTo>
                    <a:pt x="1935384" y="1547011"/>
                    <a:pt x="1932087" y="1550303"/>
                    <a:pt x="1940879" y="1522866"/>
                  </a:cubicBezTo>
                  <a:cubicBezTo>
                    <a:pt x="1950769" y="1496526"/>
                    <a:pt x="1949670" y="1482259"/>
                    <a:pt x="1936483" y="1473479"/>
                  </a:cubicBezTo>
                  <a:cubicBezTo>
                    <a:pt x="1923296" y="1465797"/>
                    <a:pt x="1892525" y="1467992"/>
                    <a:pt x="1898020" y="1443847"/>
                  </a:cubicBezTo>
                  <a:cubicBezTo>
                    <a:pt x="1905712" y="1419703"/>
                    <a:pt x="1910108" y="1414215"/>
                    <a:pt x="1930988" y="1427385"/>
                  </a:cubicBezTo>
                  <a:cubicBezTo>
                    <a:pt x="1954066" y="1439457"/>
                    <a:pt x="1993628" y="1463602"/>
                    <a:pt x="1980441" y="1431775"/>
                  </a:cubicBezTo>
                  <a:cubicBezTo>
                    <a:pt x="1968353" y="1399948"/>
                    <a:pt x="1950769" y="1399948"/>
                    <a:pt x="1954066" y="1380193"/>
                  </a:cubicBezTo>
                  <a:cubicBezTo>
                    <a:pt x="1956264" y="1361536"/>
                    <a:pt x="1955165" y="1363731"/>
                    <a:pt x="1969452" y="1345074"/>
                  </a:cubicBezTo>
                  <a:cubicBezTo>
                    <a:pt x="1983738" y="1328611"/>
                    <a:pt x="2000222" y="1320929"/>
                    <a:pt x="1985936" y="1295687"/>
                  </a:cubicBezTo>
                  <a:cubicBezTo>
                    <a:pt x="1971649" y="1270445"/>
                    <a:pt x="1963957" y="1295687"/>
                    <a:pt x="1954066" y="1247398"/>
                  </a:cubicBezTo>
                  <a:cubicBezTo>
                    <a:pt x="1941978" y="1201303"/>
                    <a:pt x="1927691" y="1203498"/>
                    <a:pt x="1944176" y="1173866"/>
                  </a:cubicBezTo>
                  <a:cubicBezTo>
                    <a:pt x="1959561" y="1144234"/>
                    <a:pt x="1989233" y="1144234"/>
                    <a:pt x="1969452" y="1113505"/>
                  </a:cubicBezTo>
                  <a:cubicBezTo>
                    <a:pt x="1949670" y="1081678"/>
                    <a:pt x="1925494" y="1101432"/>
                    <a:pt x="1927691" y="1064118"/>
                  </a:cubicBezTo>
                  <a:cubicBezTo>
                    <a:pt x="1930988" y="1025706"/>
                    <a:pt x="1950769" y="992782"/>
                    <a:pt x="1968353" y="997171"/>
                  </a:cubicBezTo>
                  <a:cubicBezTo>
                    <a:pt x="1984837" y="1001561"/>
                    <a:pt x="1980441" y="1011439"/>
                    <a:pt x="2009014" y="1024609"/>
                  </a:cubicBezTo>
                  <a:cubicBezTo>
                    <a:pt x="2037586" y="1036681"/>
                    <a:pt x="2058467" y="1027901"/>
                    <a:pt x="2044180" y="1008146"/>
                  </a:cubicBezTo>
                  <a:cubicBezTo>
                    <a:pt x="2029894" y="988392"/>
                    <a:pt x="2002420" y="986197"/>
                    <a:pt x="2001321" y="960954"/>
                  </a:cubicBezTo>
                  <a:cubicBezTo>
                    <a:pt x="1982639" y="953272"/>
                    <a:pt x="1949670" y="941200"/>
                    <a:pt x="1928790" y="942297"/>
                  </a:cubicBezTo>
                  <a:cubicBezTo>
                    <a:pt x="1919999" y="943395"/>
                    <a:pt x="1911207" y="945590"/>
                    <a:pt x="1902416" y="947785"/>
                  </a:cubicBezTo>
                  <a:cubicBezTo>
                    <a:pt x="1882635" y="953272"/>
                    <a:pt x="1862853" y="957662"/>
                    <a:pt x="1855161" y="934615"/>
                  </a:cubicBezTo>
                  <a:cubicBezTo>
                    <a:pt x="1849666" y="919250"/>
                    <a:pt x="1856260" y="910470"/>
                    <a:pt x="1862853" y="902788"/>
                  </a:cubicBezTo>
                  <a:cubicBezTo>
                    <a:pt x="1868348" y="896203"/>
                    <a:pt x="1872744" y="889618"/>
                    <a:pt x="1869447" y="877546"/>
                  </a:cubicBezTo>
                  <a:cubicBezTo>
                    <a:pt x="1866150" y="864376"/>
                    <a:pt x="1858458" y="859986"/>
                    <a:pt x="1847468" y="853401"/>
                  </a:cubicBezTo>
                  <a:cubicBezTo>
                    <a:pt x="1837578" y="847914"/>
                    <a:pt x="1825489" y="841329"/>
                    <a:pt x="1818895" y="825964"/>
                  </a:cubicBezTo>
                  <a:cubicBezTo>
                    <a:pt x="1811203" y="809502"/>
                    <a:pt x="1812302" y="798527"/>
                    <a:pt x="1813401" y="789747"/>
                  </a:cubicBezTo>
                  <a:cubicBezTo>
                    <a:pt x="1814500" y="780967"/>
                    <a:pt x="1815599" y="775480"/>
                    <a:pt x="1809005" y="766700"/>
                  </a:cubicBezTo>
                  <a:cubicBezTo>
                    <a:pt x="1799114" y="752433"/>
                    <a:pt x="1800213" y="744750"/>
                    <a:pt x="1801312" y="737068"/>
                  </a:cubicBezTo>
                  <a:cubicBezTo>
                    <a:pt x="1802411" y="732678"/>
                    <a:pt x="1803510" y="727190"/>
                    <a:pt x="1801312" y="719508"/>
                  </a:cubicBezTo>
                  <a:cubicBezTo>
                    <a:pt x="1799114" y="709631"/>
                    <a:pt x="1794719" y="706338"/>
                    <a:pt x="1789224" y="703046"/>
                  </a:cubicBezTo>
                  <a:cubicBezTo>
                    <a:pt x="1784828" y="699753"/>
                    <a:pt x="1779333" y="695364"/>
                    <a:pt x="1773838" y="687681"/>
                  </a:cubicBezTo>
                  <a:cubicBezTo>
                    <a:pt x="1768344" y="679999"/>
                    <a:pt x="1761750" y="675609"/>
                    <a:pt x="1756256" y="675609"/>
                  </a:cubicBezTo>
                  <a:lnTo>
                    <a:pt x="1756256" y="675609"/>
                  </a:lnTo>
                  <a:cubicBezTo>
                    <a:pt x="1749662" y="675609"/>
                    <a:pt x="1744167" y="681096"/>
                    <a:pt x="1740870" y="685486"/>
                  </a:cubicBezTo>
                  <a:cubicBezTo>
                    <a:pt x="1732079" y="696461"/>
                    <a:pt x="1725485" y="696461"/>
                    <a:pt x="1718891" y="696461"/>
                  </a:cubicBezTo>
                  <a:cubicBezTo>
                    <a:pt x="1713396" y="696461"/>
                    <a:pt x="1709001" y="696461"/>
                    <a:pt x="1700209" y="701948"/>
                  </a:cubicBezTo>
                  <a:cubicBezTo>
                    <a:pt x="1693615" y="705241"/>
                    <a:pt x="1690319" y="710728"/>
                    <a:pt x="1688121" y="717313"/>
                  </a:cubicBezTo>
                  <a:cubicBezTo>
                    <a:pt x="1685923" y="728288"/>
                    <a:pt x="1690319" y="740360"/>
                    <a:pt x="1694714" y="745848"/>
                  </a:cubicBezTo>
                  <a:cubicBezTo>
                    <a:pt x="1701308" y="755725"/>
                    <a:pt x="1703506" y="767797"/>
                    <a:pt x="1699110" y="777675"/>
                  </a:cubicBezTo>
                  <a:cubicBezTo>
                    <a:pt x="1694714" y="786455"/>
                    <a:pt x="1687022" y="790845"/>
                    <a:pt x="1674933" y="791942"/>
                  </a:cubicBezTo>
                  <a:cubicBezTo>
                    <a:pt x="1665043" y="793039"/>
                    <a:pt x="1660647" y="799624"/>
                    <a:pt x="1654053" y="808404"/>
                  </a:cubicBezTo>
                  <a:cubicBezTo>
                    <a:pt x="1648558" y="817184"/>
                    <a:pt x="1640866" y="827062"/>
                    <a:pt x="1626579" y="833647"/>
                  </a:cubicBezTo>
                  <a:cubicBezTo>
                    <a:pt x="1607897" y="842426"/>
                    <a:pt x="1598007" y="833647"/>
                    <a:pt x="1589215" y="825964"/>
                  </a:cubicBezTo>
                  <a:cubicBezTo>
                    <a:pt x="1583720" y="820477"/>
                    <a:pt x="1578226" y="816087"/>
                    <a:pt x="1570533" y="814989"/>
                  </a:cubicBezTo>
                  <a:cubicBezTo>
                    <a:pt x="1562840" y="813892"/>
                    <a:pt x="1556247" y="816087"/>
                    <a:pt x="1549653" y="818282"/>
                  </a:cubicBezTo>
                  <a:cubicBezTo>
                    <a:pt x="1538663" y="822672"/>
                    <a:pt x="1526575" y="827062"/>
                    <a:pt x="1514487" y="808404"/>
                  </a:cubicBezTo>
                  <a:cubicBezTo>
                    <a:pt x="1499101" y="783162"/>
                    <a:pt x="1473825" y="760115"/>
                    <a:pt x="1446352" y="745848"/>
                  </a:cubicBezTo>
                  <a:cubicBezTo>
                    <a:pt x="1416680" y="730483"/>
                    <a:pt x="1414482" y="728288"/>
                    <a:pt x="1412284" y="697558"/>
                  </a:cubicBezTo>
                  <a:lnTo>
                    <a:pt x="1412284" y="694266"/>
                  </a:lnTo>
                  <a:cubicBezTo>
                    <a:pt x="1408988" y="669024"/>
                    <a:pt x="1405690" y="664634"/>
                    <a:pt x="1395800" y="651464"/>
                  </a:cubicBezTo>
                  <a:lnTo>
                    <a:pt x="1391404" y="645977"/>
                  </a:lnTo>
                  <a:cubicBezTo>
                    <a:pt x="1389206" y="643782"/>
                    <a:pt x="1387009" y="641587"/>
                    <a:pt x="1384811" y="638294"/>
                  </a:cubicBezTo>
                  <a:cubicBezTo>
                    <a:pt x="1363931" y="614150"/>
                    <a:pt x="1325467" y="568055"/>
                    <a:pt x="1343051" y="541716"/>
                  </a:cubicBezTo>
                  <a:cubicBezTo>
                    <a:pt x="1352941" y="526351"/>
                    <a:pt x="1362832" y="523059"/>
                    <a:pt x="1372722" y="520864"/>
                  </a:cubicBezTo>
                  <a:cubicBezTo>
                    <a:pt x="1381514" y="518669"/>
                    <a:pt x="1388108" y="516474"/>
                    <a:pt x="1395800" y="505499"/>
                  </a:cubicBezTo>
                  <a:lnTo>
                    <a:pt x="1399097" y="500011"/>
                  </a:lnTo>
                  <a:cubicBezTo>
                    <a:pt x="1412284" y="479159"/>
                    <a:pt x="1419977" y="468184"/>
                    <a:pt x="1447451" y="482452"/>
                  </a:cubicBezTo>
                  <a:cubicBezTo>
                    <a:pt x="1458440" y="487939"/>
                    <a:pt x="1465034" y="485744"/>
                    <a:pt x="1472726" y="482452"/>
                  </a:cubicBezTo>
                  <a:cubicBezTo>
                    <a:pt x="1480419" y="479159"/>
                    <a:pt x="1490310" y="474769"/>
                    <a:pt x="1505695" y="475867"/>
                  </a:cubicBezTo>
                  <a:cubicBezTo>
                    <a:pt x="1528773" y="476964"/>
                    <a:pt x="1540861" y="473672"/>
                    <a:pt x="1543059" y="469282"/>
                  </a:cubicBezTo>
                  <a:cubicBezTo>
                    <a:pt x="1544158" y="465990"/>
                    <a:pt x="1540861" y="460502"/>
                    <a:pt x="1535367" y="455015"/>
                  </a:cubicBezTo>
                  <a:cubicBezTo>
                    <a:pt x="1525476" y="445137"/>
                    <a:pt x="1510091" y="436357"/>
                    <a:pt x="1495804" y="427578"/>
                  </a:cubicBezTo>
                  <a:cubicBezTo>
                    <a:pt x="1478221" y="417700"/>
                    <a:pt x="1465034" y="410018"/>
                    <a:pt x="1463935" y="400141"/>
                  </a:cubicBezTo>
                  <a:cubicBezTo>
                    <a:pt x="1463935" y="396848"/>
                    <a:pt x="1465034" y="393556"/>
                    <a:pt x="1469430" y="389166"/>
                  </a:cubicBezTo>
                  <a:cubicBezTo>
                    <a:pt x="1489211" y="374898"/>
                    <a:pt x="1512289" y="357339"/>
                    <a:pt x="1540861" y="378191"/>
                  </a:cubicBezTo>
                  <a:cubicBezTo>
                    <a:pt x="1566137" y="397945"/>
                    <a:pt x="1576028" y="403433"/>
                    <a:pt x="1592512" y="392458"/>
                  </a:cubicBezTo>
                  <a:cubicBezTo>
                    <a:pt x="1595809" y="390263"/>
                    <a:pt x="1600205" y="386971"/>
                    <a:pt x="1606798" y="382581"/>
                  </a:cubicBezTo>
                  <a:cubicBezTo>
                    <a:pt x="1630975" y="366119"/>
                    <a:pt x="1670537" y="339779"/>
                    <a:pt x="1701308" y="288197"/>
                  </a:cubicBezTo>
                  <a:cubicBezTo>
                    <a:pt x="1722188" y="253078"/>
                    <a:pt x="1746365" y="234420"/>
                    <a:pt x="1765047" y="224543"/>
                  </a:cubicBezTo>
                  <a:cubicBezTo>
                    <a:pt x="1766146" y="221251"/>
                    <a:pt x="1768344" y="216861"/>
                    <a:pt x="1773838" y="211373"/>
                  </a:cubicBezTo>
                  <a:cubicBezTo>
                    <a:pt x="1801312" y="186131"/>
                    <a:pt x="1816698" y="191619"/>
                    <a:pt x="1840874" y="180644"/>
                  </a:cubicBezTo>
                  <a:cubicBezTo>
                    <a:pt x="1865051" y="168571"/>
                    <a:pt x="1896921" y="177351"/>
                    <a:pt x="1901317" y="151012"/>
                  </a:cubicBezTo>
                  <a:cubicBezTo>
                    <a:pt x="1905712" y="123575"/>
                    <a:pt x="1870546" y="101625"/>
                    <a:pt x="1858458" y="93943"/>
                  </a:cubicBezTo>
                  <a:cubicBezTo>
                    <a:pt x="1846369" y="85163"/>
                    <a:pt x="1850765" y="84065"/>
                    <a:pt x="1841973" y="67603"/>
                  </a:cubicBezTo>
                  <a:cubicBezTo>
                    <a:pt x="1832083" y="50043"/>
                    <a:pt x="1836479" y="50043"/>
                    <a:pt x="1815599" y="39068"/>
                  </a:cubicBezTo>
                  <a:cubicBezTo>
                    <a:pt x="1793620" y="26996"/>
                    <a:pt x="1793620" y="39068"/>
                    <a:pt x="1785927" y="22606"/>
                  </a:cubicBezTo>
                  <a:cubicBezTo>
                    <a:pt x="1777135" y="7241"/>
                    <a:pt x="1772740" y="-9221"/>
                    <a:pt x="1767245" y="6144"/>
                  </a:cubicBezTo>
                  <a:cubicBezTo>
                    <a:pt x="1762849" y="20411"/>
                    <a:pt x="1762849" y="30289"/>
                    <a:pt x="1766146" y="42361"/>
                  </a:cubicBezTo>
                  <a:cubicBezTo>
                    <a:pt x="1769443" y="54433"/>
                    <a:pt x="1773838" y="57726"/>
                    <a:pt x="1780432" y="67603"/>
                  </a:cubicBezTo>
                  <a:cubicBezTo>
                    <a:pt x="1788125" y="77480"/>
                    <a:pt x="1783729" y="96138"/>
                    <a:pt x="1774937" y="84065"/>
                  </a:cubicBezTo>
                  <a:cubicBezTo>
                    <a:pt x="1765047" y="71993"/>
                    <a:pt x="1763948" y="56628"/>
                    <a:pt x="1752958" y="65408"/>
                  </a:cubicBezTo>
                  <a:cubicBezTo>
                    <a:pt x="1740870" y="74188"/>
                    <a:pt x="1724386" y="52238"/>
                    <a:pt x="1710100" y="64311"/>
                  </a:cubicBezTo>
                  <a:cubicBezTo>
                    <a:pt x="1695813" y="75285"/>
                    <a:pt x="1700209" y="91748"/>
                    <a:pt x="1692516" y="101625"/>
                  </a:cubicBezTo>
                  <a:cubicBezTo>
                    <a:pt x="1672735" y="109307"/>
                    <a:pt x="1674933" y="126867"/>
                    <a:pt x="1679329" y="136745"/>
                  </a:cubicBezTo>
                  <a:close/>
                </a:path>
              </a:pathLst>
            </a:custGeom>
            <a:solidFill>
              <a:srgbClr val="DBD6D2"/>
            </a:solidFill>
            <a:ln w="54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DK" sz="2400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89458CB4-FCCE-07C7-FB87-660A1D80C0BF}"/>
                </a:ext>
              </a:extLst>
            </p:cNvPr>
            <p:cNvSpPr/>
            <p:nvPr/>
          </p:nvSpPr>
          <p:spPr>
            <a:xfrm>
              <a:off x="3396223" y="1592190"/>
              <a:ext cx="1034039" cy="831198"/>
            </a:xfrm>
            <a:custGeom>
              <a:avLst/>
              <a:gdLst>
                <a:gd name="connsiteX0" fmla="*/ 518234 w 1034039"/>
                <a:gd name="connsiteY0" fmla="*/ 66106 h 831198"/>
                <a:gd name="connsiteX1" fmla="*/ 462187 w 1034039"/>
                <a:gd name="connsiteY1" fmla="*/ 84764 h 831198"/>
                <a:gd name="connsiteX2" fmla="*/ 421526 w 1034039"/>
                <a:gd name="connsiteY2" fmla="*/ 66106 h 831198"/>
                <a:gd name="connsiteX3" fmla="*/ 363282 w 1034039"/>
                <a:gd name="connsiteY3" fmla="*/ 124273 h 831198"/>
                <a:gd name="connsiteX4" fmla="*/ 265476 w 1034039"/>
                <a:gd name="connsiteY4" fmla="*/ 221949 h 831198"/>
                <a:gd name="connsiteX5" fmla="*/ 252288 w 1034039"/>
                <a:gd name="connsiteY5" fmla="*/ 231826 h 831198"/>
                <a:gd name="connsiteX6" fmla="*/ 188549 w 1034039"/>
                <a:gd name="connsiteY6" fmla="*/ 217559 h 831198"/>
                <a:gd name="connsiteX7" fmla="*/ 130305 w 1034039"/>
                <a:gd name="connsiteY7" fmla="*/ 227436 h 831198"/>
                <a:gd name="connsiteX8" fmla="*/ 128107 w 1034039"/>
                <a:gd name="connsiteY8" fmla="*/ 229631 h 831198"/>
                <a:gd name="connsiteX9" fmla="*/ 154482 w 1034039"/>
                <a:gd name="connsiteY9" fmla="*/ 248289 h 831198"/>
                <a:gd name="connsiteX10" fmla="*/ 196242 w 1034039"/>
                <a:gd name="connsiteY10" fmla="*/ 276823 h 831198"/>
                <a:gd name="connsiteX11" fmla="*/ 206132 w 1034039"/>
                <a:gd name="connsiteY11" fmla="*/ 303163 h 831198"/>
                <a:gd name="connsiteX12" fmla="*/ 157778 w 1034039"/>
                <a:gd name="connsiteY12" fmla="*/ 315235 h 831198"/>
                <a:gd name="connsiteX13" fmla="*/ 129206 w 1034039"/>
                <a:gd name="connsiteY13" fmla="*/ 320723 h 831198"/>
                <a:gd name="connsiteX14" fmla="*/ 94039 w 1034039"/>
                <a:gd name="connsiteY14" fmla="*/ 320723 h 831198"/>
                <a:gd name="connsiteX15" fmla="*/ 58873 w 1034039"/>
                <a:gd name="connsiteY15" fmla="*/ 334990 h 831198"/>
                <a:gd name="connsiteX16" fmla="*/ 55576 w 1034039"/>
                <a:gd name="connsiteY16" fmla="*/ 340477 h 831198"/>
                <a:gd name="connsiteX17" fmla="*/ 25904 w 1034039"/>
                <a:gd name="connsiteY17" fmla="*/ 360232 h 831198"/>
                <a:gd name="connsiteX18" fmla="*/ 2826 w 1034039"/>
                <a:gd name="connsiteY18" fmla="*/ 376694 h 831198"/>
                <a:gd name="connsiteX19" fmla="*/ 43488 w 1034039"/>
                <a:gd name="connsiteY19" fmla="*/ 460103 h 831198"/>
                <a:gd name="connsiteX20" fmla="*/ 50081 w 1034039"/>
                <a:gd name="connsiteY20" fmla="*/ 467785 h 831198"/>
                <a:gd name="connsiteX21" fmla="*/ 54477 w 1034039"/>
                <a:gd name="connsiteY21" fmla="*/ 473273 h 831198"/>
                <a:gd name="connsiteX22" fmla="*/ 74258 w 1034039"/>
                <a:gd name="connsiteY22" fmla="*/ 521562 h 831198"/>
                <a:gd name="connsiteX23" fmla="*/ 74258 w 1034039"/>
                <a:gd name="connsiteY23" fmla="*/ 525952 h 831198"/>
                <a:gd name="connsiteX24" fmla="*/ 101732 w 1034039"/>
                <a:gd name="connsiteY24" fmla="*/ 565461 h 831198"/>
                <a:gd name="connsiteX25" fmla="*/ 174263 w 1034039"/>
                <a:gd name="connsiteY25" fmla="*/ 631310 h 831198"/>
                <a:gd name="connsiteX26" fmla="*/ 196242 w 1034039"/>
                <a:gd name="connsiteY26" fmla="*/ 636798 h 831198"/>
                <a:gd name="connsiteX27" fmla="*/ 222616 w 1034039"/>
                <a:gd name="connsiteY27" fmla="*/ 632408 h 831198"/>
                <a:gd name="connsiteX28" fmla="*/ 246793 w 1034039"/>
                <a:gd name="connsiteY28" fmla="*/ 646675 h 831198"/>
                <a:gd name="connsiteX29" fmla="*/ 272069 w 1034039"/>
                <a:gd name="connsiteY29" fmla="*/ 652162 h 831198"/>
                <a:gd name="connsiteX30" fmla="*/ 296246 w 1034039"/>
                <a:gd name="connsiteY30" fmla="*/ 630213 h 831198"/>
                <a:gd name="connsiteX31" fmla="*/ 324819 w 1034039"/>
                <a:gd name="connsiteY31" fmla="*/ 609361 h 831198"/>
                <a:gd name="connsiteX32" fmla="*/ 340204 w 1034039"/>
                <a:gd name="connsiteY32" fmla="*/ 601678 h 831198"/>
                <a:gd name="connsiteX33" fmla="*/ 336907 w 1034039"/>
                <a:gd name="connsiteY33" fmla="*/ 580826 h 831198"/>
                <a:gd name="connsiteX34" fmla="*/ 328115 w 1034039"/>
                <a:gd name="connsiteY34" fmla="*/ 543512 h 831198"/>
                <a:gd name="connsiteX35" fmla="*/ 344600 w 1034039"/>
                <a:gd name="connsiteY35" fmla="*/ 520464 h 831198"/>
                <a:gd name="connsiteX36" fmla="*/ 368777 w 1034039"/>
                <a:gd name="connsiteY36" fmla="*/ 513879 h 831198"/>
                <a:gd name="connsiteX37" fmla="*/ 383063 w 1034039"/>
                <a:gd name="connsiteY37" fmla="*/ 507295 h 831198"/>
                <a:gd name="connsiteX38" fmla="*/ 407240 w 1034039"/>
                <a:gd name="connsiteY38" fmla="*/ 493027 h 831198"/>
                <a:gd name="connsiteX39" fmla="*/ 407240 w 1034039"/>
                <a:gd name="connsiteY39" fmla="*/ 493027 h 831198"/>
                <a:gd name="connsiteX40" fmla="*/ 433615 w 1034039"/>
                <a:gd name="connsiteY40" fmla="*/ 509490 h 831198"/>
                <a:gd name="connsiteX41" fmla="*/ 446802 w 1034039"/>
                <a:gd name="connsiteY41" fmla="*/ 522659 h 831198"/>
                <a:gd name="connsiteX42" fmla="*/ 463286 w 1034039"/>
                <a:gd name="connsiteY42" fmla="*/ 545707 h 831198"/>
                <a:gd name="connsiteX43" fmla="*/ 463286 w 1034039"/>
                <a:gd name="connsiteY43" fmla="*/ 566559 h 831198"/>
                <a:gd name="connsiteX44" fmla="*/ 468781 w 1034039"/>
                <a:gd name="connsiteY44" fmla="*/ 588508 h 831198"/>
                <a:gd name="connsiteX45" fmla="*/ 474276 w 1034039"/>
                <a:gd name="connsiteY45" fmla="*/ 619238 h 831198"/>
                <a:gd name="connsiteX46" fmla="*/ 478672 w 1034039"/>
                <a:gd name="connsiteY46" fmla="*/ 648870 h 831198"/>
                <a:gd name="connsiteX47" fmla="*/ 503947 w 1034039"/>
                <a:gd name="connsiteY47" fmla="*/ 671917 h 831198"/>
                <a:gd name="connsiteX48" fmla="*/ 530322 w 1034039"/>
                <a:gd name="connsiteY48" fmla="*/ 702647 h 831198"/>
                <a:gd name="connsiteX49" fmla="*/ 521531 w 1034039"/>
                <a:gd name="connsiteY49" fmla="*/ 736669 h 831198"/>
                <a:gd name="connsiteX50" fmla="*/ 516036 w 1034039"/>
                <a:gd name="connsiteY50" fmla="*/ 759716 h 831198"/>
                <a:gd name="connsiteX51" fmla="*/ 551202 w 1034039"/>
                <a:gd name="connsiteY51" fmla="*/ 766301 h 831198"/>
                <a:gd name="connsiteX52" fmla="*/ 579775 w 1034039"/>
                <a:gd name="connsiteY52" fmla="*/ 760813 h 831198"/>
                <a:gd name="connsiteX53" fmla="*/ 653404 w 1034039"/>
                <a:gd name="connsiteY53" fmla="*/ 778373 h 831198"/>
                <a:gd name="connsiteX54" fmla="*/ 674284 w 1034039"/>
                <a:gd name="connsiteY54" fmla="*/ 766301 h 831198"/>
                <a:gd name="connsiteX55" fmla="*/ 696263 w 1034039"/>
                <a:gd name="connsiteY55" fmla="*/ 803615 h 831198"/>
                <a:gd name="connsiteX56" fmla="*/ 763299 w 1034039"/>
                <a:gd name="connsiteY56" fmla="*/ 816785 h 831198"/>
                <a:gd name="connsiteX57" fmla="*/ 803961 w 1034039"/>
                <a:gd name="connsiteY57" fmla="*/ 778373 h 831198"/>
                <a:gd name="connsiteX58" fmla="*/ 827038 w 1034039"/>
                <a:gd name="connsiteY58" fmla="*/ 713622 h 831198"/>
                <a:gd name="connsiteX59" fmla="*/ 872095 w 1034039"/>
                <a:gd name="connsiteY59" fmla="*/ 708134 h 831198"/>
                <a:gd name="connsiteX60" fmla="*/ 910559 w 1034039"/>
                <a:gd name="connsiteY60" fmla="*/ 736669 h 831198"/>
                <a:gd name="connsiteX61" fmla="*/ 938032 w 1034039"/>
                <a:gd name="connsiteY61" fmla="*/ 705939 h 831198"/>
                <a:gd name="connsiteX62" fmla="*/ 956715 w 1034039"/>
                <a:gd name="connsiteY62" fmla="*/ 659845 h 831198"/>
                <a:gd name="connsiteX63" fmla="*/ 927043 w 1034039"/>
                <a:gd name="connsiteY63" fmla="*/ 646675 h 831198"/>
                <a:gd name="connsiteX64" fmla="*/ 913856 w 1034039"/>
                <a:gd name="connsiteY64" fmla="*/ 643383 h 831198"/>
                <a:gd name="connsiteX65" fmla="*/ 940230 w 1034039"/>
                <a:gd name="connsiteY65" fmla="*/ 615945 h 831198"/>
                <a:gd name="connsiteX66" fmla="*/ 938032 w 1034039"/>
                <a:gd name="connsiteY66" fmla="*/ 588508 h 831198"/>
                <a:gd name="connsiteX67" fmla="*/ 950121 w 1034039"/>
                <a:gd name="connsiteY67" fmla="*/ 563266 h 831198"/>
                <a:gd name="connsiteX68" fmla="*/ 936933 w 1034039"/>
                <a:gd name="connsiteY68" fmla="*/ 512782 h 831198"/>
                <a:gd name="connsiteX69" fmla="*/ 962209 w 1034039"/>
                <a:gd name="connsiteY69" fmla="*/ 539122 h 831198"/>
                <a:gd name="connsiteX70" fmla="*/ 979793 w 1034039"/>
                <a:gd name="connsiteY70" fmla="*/ 575339 h 831198"/>
                <a:gd name="connsiteX71" fmla="*/ 966605 w 1034039"/>
                <a:gd name="connsiteY71" fmla="*/ 615945 h 831198"/>
                <a:gd name="connsiteX72" fmla="*/ 981990 w 1034039"/>
                <a:gd name="connsiteY72" fmla="*/ 659845 h 831198"/>
                <a:gd name="connsiteX73" fmla="*/ 1014959 w 1034039"/>
                <a:gd name="connsiteY73" fmla="*/ 654357 h 831198"/>
                <a:gd name="connsiteX74" fmla="*/ 1023750 w 1034039"/>
                <a:gd name="connsiteY74" fmla="*/ 598386 h 831198"/>
                <a:gd name="connsiteX75" fmla="*/ 1028146 w 1034039"/>
                <a:gd name="connsiteY75" fmla="*/ 548999 h 831198"/>
                <a:gd name="connsiteX76" fmla="*/ 1009464 w 1034039"/>
                <a:gd name="connsiteY76" fmla="*/ 485345 h 831198"/>
                <a:gd name="connsiteX77" fmla="*/ 981990 w 1034039"/>
                <a:gd name="connsiteY77" fmla="*/ 442543 h 831198"/>
                <a:gd name="connsiteX78" fmla="*/ 911658 w 1034039"/>
                <a:gd name="connsiteY78" fmla="*/ 443641 h 831198"/>
                <a:gd name="connsiteX79" fmla="*/ 866601 w 1034039"/>
                <a:gd name="connsiteY79" fmla="*/ 466688 h 831198"/>
                <a:gd name="connsiteX80" fmla="*/ 879788 w 1034039"/>
                <a:gd name="connsiteY80" fmla="*/ 423886 h 831198"/>
                <a:gd name="connsiteX81" fmla="*/ 924845 w 1034039"/>
                <a:gd name="connsiteY81" fmla="*/ 405229 h 831198"/>
                <a:gd name="connsiteX82" fmla="*/ 969902 w 1034039"/>
                <a:gd name="connsiteY82" fmla="*/ 370109 h 831198"/>
                <a:gd name="connsiteX83" fmla="*/ 973199 w 1034039"/>
                <a:gd name="connsiteY83" fmla="*/ 316332 h 831198"/>
                <a:gd name="connsiteX84" fmla="*/ 941329 w 1034039"/>
                <a:gd name="connsiteY84" fmla="*/ 325112 h 831198"/>
                <a:gd name="connsiteX85" fmla="*/ 941329 w 1034039"/>
                <a:gd name="connsiteY85" fmla="*/ 360232 h 831198"/>
                <a:gd name="connsiteX86" fmla="*/ 917152 w 1034039"/>
                <a:gd name="connsiteY86" fmla="*/ 327307 h 831198"/>
                <a:gd name="connsiteX87" fmla="*/ 927043 w 1034039"/>
                <a:gd name="connsiteY87" fmla="*/ 287798 h 831198"/>
                <a:gd name="connsiteX88" fmla="*/ 902866 w 1034039"/>
                <a:gd name="connsiteY88" fmla="*/ 236216 h 831198"/>
                <a:gd name="connsiteX89" fmla="*/ 878689 w 1034039"/>
                <a:gd name="connsiteY89" fmla="*/ 213169 h 831198"/>
                <a:gd name="connsiteX90" fmla="*/ 896272 w 1034039"/>
                <a:gd name="connsiteY90" fmla="*/ 175855 h 831198"/>
                <a:gd name="connsiteX91" fmla="*/ 872095 w 1034039"/>
                <a:gd name="connsiteY91" fmla="*/ 159392 h 831198"/>
                <a:gd name="connsiteX92" fmla="*/ 885283 w 1034039"/>
                <a:gd name="connsiteY92" fmla="*/ 118785 h 831198"/>
                <a:gd name="connsiteX93" fmla="*/ 857809 w 1034039"/>
                <a:gd name="connsiteY93" fmla="*/ 46352 h 831198"/>
                <a:gd name="connsiteX94" fmla="*/ 811653 w 1034039"/>
                <a:gd name="connsiteY94" fmla="*/ 38669 h 831198"/>
                <a:gd name="connsiteX95" fmla="*/ 722638 w 1034039"/>
                <a:gd name="connsiteY95" fmla="*/ 5745 h 831198"/>
                <a:gd name="connsiteX96" fmla="*/ 662196 w 1034039"/>
                <a:gd name="connsiteY96" fmla="*/ 13427 h 831198"/>
                <a:gd name="connsiteX97" fmla="*/ 617139 w 1034039"/>
                <a:gd name="connsiteY97" fmla="*/ 23304 h 831198"/>
                <a:gd name="connsiteX98" fmla="*/ 553400 w 1034039"/>
                <a:gd name="connsiteY98" fmla="*/ 9037 h 831198"/>
                <a:gd name="connsiteX99" fmla="*/ 518234 w 1034039"/>
                <a:gd name="connsiteY99" fmla="*/ 66106 h 831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</a:cxnLst>
              <a:rect l="l" t="t" r="r" b="b"/>
              <a:pathLst>
                <a:path w="1034039" h="831198">
                  <a:moveTo>
                    <a:pt x="518234" y="66106"/>
                  </a:moveTo>
                  <a:cubicBezTo>
                    <a:pt x="505046" y="81471"/>
                    <a:pt x="491859" y="99031"/>
                    <a:pt x="462187" y="84764"/>
                  </a:cubicBezTo>
                  <a:cubicBezTo>
                    <a:pt x="445703" y="77081"/>
                    <a:pt x="429219" y="72691"/>
                    <a:pt x="421526" y="66106"/>
                  </a:cubicBezTo>
                  <a:cubicBezTo>
                    <a:pt x="403943" y="74886"/>
                    <a:pt x="381964" y="92446"/>
                    <a:pt x="363282" y="124273"/>
                  </a:cubicBezTo>
                  <a:cubicBezTo>
                    <a:pt x="330313" y="178050"/>
                    <a:pt x="289652" y="205487"/>
                    <a:pt x="265476" y="221949"/>
                  </a:cubicBezTo>
                  <a:cubicBezTo>
                    <a:pt x="259981" y="225241"/>
                    <a:pt x="255585" y="228534"/>
                    <a:pt x="252288" y="231826"/>
                  </a:cubicBezTo>
                  <a:cubicBezTo>
                    <a:pt x="229210" y="247191"/>
                    <a:pt x="213825" y="236216"/>
                    <a:pt x="188549" y="217559"/>
                  </a:cubicBezTo>
                  <a:cubicBezTo>
                    <a:pt x="166570" y="201097"/>
                    <a:pt x="148987" y="214267"/>
                    <a:pt x="130305" y="227436"/>
                  </a:cubicBezTo>
                  <a:cubicBezTo>
                    <a:pt x="128107" y="228534"/>
                    <a:pt x="128107" y="229631"/>
                    <a:pt x="128107" y="229631"/>
                  </a:cubicBezTo>
                  <a:cubicBezTo>
                    <a:pt x="128107" y="234021"/>
                    <a:pt x="144591" y="242801"/>
                    <a:pt x="154482" y="248289"/>
                  </a:cubicBezTo>
                  <a:cubicBezTo>
                    <a:pt x="168768" y="255971"/>
                    <a:pt x="185252" y="265848"/>
                    <a:pt x="196242" y="276823"/>
                  </a:cubicBezTo>
                  <a:cubicBezTo>
                    <a:pt x="206132" y="286700"/>
                    <a:pt x="209429" y="295480"/>
                    <a:pt x="206132" y="303163"/>
                  </a:cubicBezTo>
                  <a:cubicBezTo>
                    <a:pt x="200637" y="316332"/>
                    <a:pt x="176461" y="316332"/>
                    <a:pt x="157778" y="315235"/>
                  </a:cubicBezTo>
                  <a:cubicBezTo>
                    <a:pt x="144591" y="314138"/>
                    <a:pt x="136898" y="317430"/>
                    <a:pt x="129206" y="320723"/>
                  </a:cubicBezTo>
                  <a:cubicBezTo>
                    <a:pt x="119315" y="325112"/>
                    <a:pt x="110524" y="329502"/>
                    <a:pt x="94039" y="320723"/>
                  </a:cubicBezTo>
                  <a:cubicBezTo>
                    <a:pt x="75357" y="310845"/>
                    <a:pt x="73159" y="314138"/>
                    <a:pt x="58873" y="334990"/>
                  </a:cubicBezTo>
                  <a:lnTo>
                    <a:pt x="55576" y="340477"/>
                  </a:lnTo>
                  <a:cubicBezTo>
                    <a:pt x="45686" y="354744"/>
                    <a:pt x="35795" y="358037"/>
                    <a:pt x="25904" y="360232"/>
                  </a:cubicBezTo>
                  <a:cubicBezTo>
                    <a:pt x="17113" y="362427"/>
                    <a:pt x="10519" y="364622"/>
                    <a:pt x="2826" y="376694"/>
                  </a:cubicBezTo>
                  <a:cubicBezTo>
                    <a:pt x="-10361" y="396449"/>
                    <a:pt x="25904" y="439251"/>
                    <a:pt x="43488" y="460103"/>
                  </a:cubicBezTo>
                  <a:cubicBezTo>
                    <a:pt x="45686" y="463395"/>
                    <a:pt x="48982" y="465590"/>
                    <a:pt x="50081" y="467785"/>
                  </a:cubicBezTo>
                  <a:lnTo>
                    <a:pt x="54477" y="473273"/>
                  </a:lnTo>
                  <a:cubicBezTo>
                    <a:pt x="65467" y="487540"/>
                    <a:pt x="70961" y="493027"/>
                    <a:pt x="74258" y="521562"/>
                  </a:cubicBezTo>
                  <a:lnTo>
                    <a:pt x="74258" y="525952"/>
                  </a:lnTo>
                  <a:cubicBezTo>
                    <a:pt x="76456" y="552291"/>
                    <a:pt x="76456" y="552291"/>
                    <a:pt x="101732" y="565461"/>
                  </a:cubicBezTo>
                  <a:cubicBezTo>
                    <a:pt x="131404" y="580826"/>
                    <a:pt x="157778" y="604971"/>
                    <a:pt x="174263" y="631310"/>
                  </a:cubicBezTo>
                  <a:cubicBezTo>
                    <a:pt x="180856" y="642285"/>
                    <a:pt x="186351" y="641188"/>
                    <a:pt x="196242" y="636798"/>
                  </a:cubicBezTo>
                  <a:cubicBezTo>
                    <a:pt x="203934" y="633505"/>
                    <a:pt x="212726" y="630213"/>
                    <a:pt x="222616" y="632408"/>
                  </a:cubicBezTo>
                  <a:cubicBezTo>
                    <a:pt x="233606" y="634603"/>
                    <a:pt x="241299" y="641188"/>
                    <a:pt x="246793" y="646675"/>
                  </a:cubicBezTo>
                  <a:cubicBezTo>
                    <a:pt x="254486" y="654357"/>
                    <a:pt x="259981" y="658747"/>
                    <a:pt x="272069" y="652162"/>
                  </a:cubicBezTo>
                  <a:cubicBezTo>
                    <a:pt x="284157" y="646675"/>
                    <a:pt x="289652" y="638993"/>
                    <a:pt x="296246" y="630213"/>
                  </a:cubicBezTo>
                  <a:cubicBezTo>
                    <a:pt x="302840" y="620336"/>
                    <a:pt x="309434" y="611556"/>
                    <a:pt x="324819" y="609361"/>
                  </a:cubicBezTo>
                  <a:cubicBezTo>
                    <a:pt x="332511" y="609361"/>
                    <a:pt x="336907" y="606068"/>
                    <a:pt x="340204" y="601678"/>
                  </a:cubicBezTo>
                  <a:cubicBezTo>
                    <a:pt x="343501" y="596191"/>
                    <a:pt x="341303" y="587411"/>
                    <a:pt x="336907" y="580826"/>
                  </a:cubicBezTo>
                  <a:cubicBezTo>
                    <a:pt x="330313" y="573144"/>
                    <a:pt x="324819" y="557779"/>
                    <a:pt x="328115" y="543512"/>
                  </a:cubicBezTo>
                  <a:cubicBezTo>
                    <a:pt x="330313" y="533634"/>
                    <a:pt x="335808" y="525952"/>
                    <a:pt x="344600" y="520464"/>
                  </a:cubicBezTo>
                  <a:cubicBezTo>
                    <a:pt x="355589" y="513879"/>
                    <a:pt x="363282" y="513879"/>
                    <a:pt x="368777" y="513879"/>
                  </a:cubicBezTo>
                  <a:cubicBezTo>
                    <a:pt x="374271" y="513879"/>
                    <a:pt x="377568" y="513879"/>
                    <a:pt x="383063" y="507295"/>
                  </a:cubicBezTo>
                  <a:cubicBezTo>
                    <a:pt x="389657" y="498515"/>
                    <a:pt x="398448" y="493027"/>
                    <a:pt x="407240" y="493027"/>
                  </a:cubicBezTo>
                  <a:lnTo>
                    <a:pt x="407240" y="493027"/>
                  </a:lnTo>
                  <a:cubicBezTo>
                    <a:pt x="413834" y="493027"/>
                    <a:pt x="423724" y="496320"/>
                    <a:pt x="433615" y="509490"/>
                  </a:cubicBezTo>
                  <a:cubicBezTo>
                    <a:pt x="438010" y="516075"/>
                    <a:pt x="442406" y="519367"/>
                    <a:pt x="446802" y="522659"/>
                  </a:cubicBezTo>
                  <a:cubicBezTo>
                    <a:pt x="453396" y="527049"/>
                    <a:pt x="459989" y="531439"/>
                    <a:pt x="463286" y="545707"/>
                  </a:cubicBezTo>
                  <a:cubicBezTo>
                    <a:pt x="464385" y="555584"/>
                    <a:pt x="463286" y="562169"/>
                    <a:pt x="463286" y="566559"/>
                  </a:cubicBezTo>
                  <a:cubicBezTo>
                    <a:pt x="462187" y="573144"/>
                    <a:pt x="461088" y="577534"/>
                    <a:pt x="468781" y="588508"/>
                  </a:cubicBezTo>
                  <a:cubicBezTo>
                    <a:pt x="476474" y="600581"/>
                    <a:pt x="475375" y="610458"/>
                    <a:pt x="474276" y="619238"/>
                  </a:cubicBezTo>
                  <a:cubicBezTo>
                    <a:pt x="473177" y="628018"/>
                    <a:pt x="472078" y="635700"/>
                    <a:pt x="478672" y="648870"/>
                  </a:cubicBezTo>
                  <a:cubicBezTo>
                    <a:pt x="485265" y="660942"/>
                    <a:pt x="494057" y="666430"/>
                    <a:pt x="503947" y="671917"/>
                  </a:cubicBezTo>
                  <a:cubicBezTo>
                    <a:pt x="514937" y="678502"/>
                    <a:pt x="527025" y="685087"/>
                    <a:pt x="530322" y="702647"/>
                  </a:cubicBezTo>
                  <a:cubicBezTo>
                    <a:pt x="534718" y="719109"/>
                    <a:pt x="527025" y="728986"/>
                    <a:pt x="521531" y="736669"/>
                  </a:cubicBezTo>
                  <a:cubicBezTo>
                    <a:pt x="516036" y="744351"/>
                    <a:pt x="512739" y="748741"/>
                    <a:pt x="516036" y="759716"/>
                  </a:cubicBezTo>
                  <a:cubicBezTo>
                    <a:pt x="520432" y="772886"/>
                    <a:pt x="528124" y="771788"/>
                    <a:pt x="551202" y="766301"/>
                  </a:cubicBezTo>
                  <a:cubicBezTo>
                    <a:pt x="559994" y="764106"/>
                    <a:pt x="569884" y="761911"/>
                    <a:pt x="579775" y="760813"/>
                  </a:cubicBezTo>
                  <a:cubicBezTo>
                    <a:pt x="601754" y="759716"/>
                    <a:pt x="633624" y="770691"/>
                    <a:pt x="653404" y="778373"/>
                  </a:cubicBezTo>
                  <a:cubicBezTo>
                    <a:pt x="655603" y="758618"/>
                    <a:pt x="664394" y="748741"/>
                    <a:pt x="674284" y="766301"/>
                  </a:cubicBezTo>
                  <a:cubicBezTo>
                    <a:pt x="685274" y="786055"/>
                    <a:pt x="683076" y="790445"/>
                    <a:pt x="696263" y="803615"/>
                  </a:cubicBezTo>
                  <a:cubicBezTo>
                    <a:pt x="709451" y="817883"/>
                    <a:pt x="725935" y="849709"/>
                    <a:pt x="763299" y="816785"/>
                  </a:cubicBezTo>
                  <a:cubicBezTo>
                    <a:pt x="799565" y="783860"/>
                    <a:pt x="780883" y="805810"/>
                    <a:pt x="803961" y="778373"/>
                  </a:cubicBezTo>
                  <a:cubicBezTo>
                    <a:pt x="827038" y="752034"/>
                    <a:pt x="805059" y="724596"/>
                    <a:pt x="827038" y="713622"/>
                  </a:cubicBezTo>
                  <a:cubicBezTo>
                    <a:pt x="847919" y="702647"/>
                    <a:pt x="856710" y="689477"/>
                    <a:pt x="872095" y="708134"/>
                  </a:cubicBezTo>
                  <a:cubicBezTo>
                    <a:pt x="887481" y="724596"/>
                    <a:pt x="894074" y="761911"/>
                    <a:pt x="910559" y="736669"/>
                  </a:cubicBezTo>
                  <a:cubicBezTo>
                    <a:pt x="925944" y="710329"/>
                    <a:pt x="928142" y="708134"/>
                    <a:pt x="938032" y="705939"/>
                  </a:cubicBezTo>
                  <a:cubicBezTo>
                    <a:pt x="947923" y="704842"/>
                    <a:pt x="966605" y="668625"/>
                    <a:pt x="956715" y="659845"/>
                  </a:cubicBezTo>
                  <a:cubicBezTo>
                    <a:pt x="947923" y="649968"/>
                    <a:pt x="930340" y="642285"/>
                    <a:pt x="927043" y="646675"/>
                  </a:cubicBezTo>
                  <a:cubicBezTo>
                    <a:pt x="922647" y="649968"/>
                    <a:pt x="905064" y="657650"/>
                    <a:pt x="913856" y="643383"/>
                  </a:cubicBezTo>
                  <a:cubicBezTo>
                    <a:pt x="922647" y="628018"/>
                    <a:pt x="939131" y="629115"/>
                    <a:pt x="940230" y="615945"/>
                  </a:cubicBezTo>
                  <a:cubicBezTo>
                    <a:pt x="942428" y="601678"/>
                    <a:pt x="928142" y="603873"/>
                    <a:pt x="938032" y="588508"/>
                  </a:cubicBezTo>
                  <a:cubicBezTo>
                    <a:pt x="946824" y="572046"/>
                    <a:pt x="957814" y="575339"/>
                    <a:pt x="950121" y="563266"/>
                  </a:cubicBezTo>
                  <a:cubicBezTo>
                    <a:pt x="942428" y="551194"/>
                    <a:pt x="920449" y="517172"/>
                    <a:pt x="936933" y="512782"/>
                  </a:cubicBezTo>
                  <a:cubicBezTo>
                    <a:pt x="954516" y="510587"/>
                    <a:pt x="952319" y="524854"/>
                    <a:pt x="962209" y="539122"/>
                  </a:cubicBezTo>
                  <a:cubicBezTo>
                    <a:pt x="972100" y="552291"/>
                    <a:pt x="986386" y="554487"/>
                    <a:pt x="979793" y="575339"/>
                  </a:cubicBezTo>
                  <a:cubicBezTo>
                    <a:pt x="974298" y="595093"/>
                    <a:pt x="968803" y="595093"/>
                    <a:pt x="966605" y="615945"/>
                  </a:cubicBezTo>
                  <a:cubicBezTo>
                    <a:pt x="965506" y="637895"/>
                    <a:pt x="980891" y="642285"/>
                    <a:pt x="981990" y="659845"/>
                  </a:cubicBezTo>
                  <a:cubicBezTo>
                    <a:pt x="984188" y="678502"/>
                    <a:pt x="1010563" y="687282"/>
                    <a:pt x="1014959" y="654357"/>
                  </a:cubicBezTo>
                  <a:cubicBezTo>
                    <a:pt x="1019354" y="621433"/>
                    <a:pt x="1012761" y="624725"/>
                    <a:pt x="1023750" y="598386"/>
                  </a:cubicBezTo>
                  <a:cubicBezTo>
                    <a:pt x="1034740" y="570949"/>
                    <a:pt x="1038037" y="567656"/>
                    <a:pt x="1028146" y="548999"/>
                  </a:cubicBezTo>
                  <a:cubicBezTo>
                    <a:pt x="1018256" y="530342"/>
                    <a:pt x="1013860" y="508392"/>
                    <a:pt x="1009464" y="485345"/>
                  </a:cubicBezTo>
                  <a:cubicBezTo>
                    <a:pt x="1005068" y="461200"/>
                    <a:pt x="999573" y="448030"/>
                    <a:pt x="981990" y="442543"/>
                  </a:cubicBezTo>
                  <a:cubicBezTo>
                    <a:pt x="965506" y="437056"/>
                    <a:pt x="935835" y="439251"/>
                    <a:pt x="911658" y="443641"/>
                  </a:cubicBezTo>
                  <a:cubicBezTo>
                    <a:pt x="887481" y="448030"/>
                    <a:pt x="873194" y="483150"/>
                    <a:pt x="866601" y="466688"/>
                  </a:cubicBezTo>
                  <a:cubicBezTo>
                    <a:pt x="857809" y="449128"/>
                    <a:pt x="853413" y="434861"/>
                    <a:pt x="879788" y="423886"/>
                  </a:cubicBezTo>
                  <a:cubicBezTo>
                    <a:pt x="907262" y="412911"/>
                    <a:pt x="898470" y="415106"/>
                    <a:pt x="924845" y="405229"/>
                  </a:cubicBezTo>
                  <a:cubicBezTo>
                    <a:pt x="950121" y="394254"/>
                    <a:pt x="961110" y="395351"/>
                    <a:pt x="969902" y="370109"/>
                  </a:cubicBezTo>
                  <a:cubicBezTo>
                    <a:pt x="979793" y="344867"/>
                    <a:pt x="994079" y="319625"/>
                    <a:pt x="973199" y="316332"/>
                  </a:cubicBezTo>
                  <a:cubicBezTo>
                    <a:pt x="951220" y="313040"/>
                    <a:pt x="941329" y="306455"/>
                    <a:pt x="941329" y="325112"/>
                  </a:cubicBezTo>
                  <a:cubicBezTo>
                    <a:pt x="941329" y="341575"/>
                    <a:pt x="958912" y="369012"/>
                    <a:pt x="941329" y="360232"/>
                  </a:cubicBezTo>
                  <a:cubicBezTo>
                    <a:pt x="924845" y="350355"/>
                    <a:pt x="908361" y="355842"/>
                    <a:pt x="917152" y="327307"/>
                  </a:cubicBezTo>
                  <a:cubicBezTo>
                    <a:pt x="927043" y="298773"/>
                    <a:pt x="929241" y="297675"/>
                    <a:pt x="927043" y="287798"/>
                  </a:cubicBezTo>
                  <a:cubicBezTo>
                    <a:pt x="925944" y="277921"/>
                    <a:pt x="912757" y="255971"/>
                    <a:pt x="902866" y="236216"/>
                  </a:cubicBezTo>
                  <a:cubicBezTo>
                    <a:pt x="892975" y="217559"/>
                    <a:pt x="873194" y="235119"/>
                    <a:pt x="878689" y="213169"/>
                  </a:cubicBezTo>
                  <a:cubicBezTo>
                    <a:pt x="884184" y="193414"/>
                    <a:pt x="911658" y="191219"/>
                    <a:pt x="896272" y="175855"/>
                  </a:cubicBezTo>
                  <a:cubicBezTo>
                    <a:pt x="880887" y="159392"/>
                    <a:pt x="868799" y="171465"/>
                    <a:pt x="872095" y="159392"/>
                  </a:cubicBezTo>
                  <a:cubicBezTo>
                    <a:pt x="876491" y="147320"/>
                    <a:pt x="880887" y="158295"/>
                    <a:pt x="885283" y="118785"/>
                  </a:cubicBezTo>
                  <a:cubicBezTo>
                    <a:pt x="889679" y="79276"/>
                    <a:pt x="879788" y="49644"/>
                    <a:pt x="857809" y="46352"/>
                  </a:cubicBezTo>
                  <a:cubicBezTo>
                    <a:pt x="838028" y="44157"/>
                    <a:pt x="835830" y="61716"/>
                    <a:pt x="811653" y="38669"/>
                  </a:cubicBezTo>
                  <a:cubicBezTo>
                    <a:pt x="785278" y="14525"/>
                    <a:pt x="751211" y="-3035"/>
                    <a:pt x="722638" y="5745"/>
                  </a:cubicBezTo>
                  <a:cubicBezTo>
                    <a:pt x="694066" y="13427"/>
                    <a:pt x="679779" y="15622"/>
                    <a:pt x="662196" y="13427"/>
                  </a:cubicBezTo>
                  <a:cubicBezTo>
                    <a:pt x="645712" y="12330"/>
                    <a:pt x="638019" y="25499"/>
                    <a:pt x="617139" y="23304"/>
                  </a:cubicBezTo>
                  <a:cubicBezTo>
                    <a:pt x="594061" y="22207"/>
                    <a:pt x="572082" y="-17302"/>
                    <a:pt x="553400" y="9037"/>
                  </a:cubicBezTo>
                  <a:cubicBezTo>
                    <a:pt x="536916" y="37572"/>
                    <a:pt x="530322" y="50742"/>
                    <a:pt x="518234" y="66106"/>
                  </a:cubicBezTo>
                  <a:close/>
                </a:path>
              </a:pathLst>
            </a:custGeom>
            <a:solidFill>
              <a:srgbClr val="DBD6D2"/>
            </a:solidFill>
            <a:ln w="54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DK" sz="2400"/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A2CB3A8C-B99E-3790-BDC4-490EB6E8C03C}"/>
                </a:ext>
              </a:extLst>
            </p:cNvPr>
            <p:cNvSpPr/>
            <p:nvPr/>
          </p:nvSpPr>
          <p:spPr>
            <a:xfrm>
              <a:off x="3394653" y="5048267"/>
              <a:ext cx="50056" cy="64761"/>
            </a:xfrm>
            <a:custGeom>
              <a:avLst/>
              <a:gdLst>
                <a:gd name="connsiteX0" fmla="*/ 18682 w 50056"/>
                <a:gd name="connsiteY0" fmla="*/ 63809 h 64761"/>
                <a:gd name="connsiteX1" fmla="*/ 42859 w 50056"/>
                <a:gd name="connsiteY1" fmla="*/ 6740 h 64761"/>
                <a:gd name="connsiteX2" fmla="*/ 0 w 50056"/>
                <a:gd name="connsiteY2" fmla="*/ 19910 h 64761"/>
                <a:gd name="connsiteX3" fmla="*/ 18682 w 50056"/>
                <a:gd name="connsiteY3" fmla="*/ 63809 h 64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056" h="64761">
                  <a:moveTo>
                    <a:pt x="18682" y="63809"/>
                  </a:moveTo>
                  <a:cubicBezTo>
                    <a:pt x="34067" y="53932"/>
                    <a:pt x="63739" y="26495"/>
                    <a:pt x="42859" y="6740"/>
                  </a:cubicBezTo>
                  <a:cubicBezTo>
                    <a:pt x="19781" y="-13015"/>
                    <a:pt x="3297" y="16618"/>
                    <a:pt x="0" y="19910"/>
                  </a:cubicBezTo>
                  <a:cubicBezTo>
                    <a:pt x="0" y="17715"/>
                    <a:pt x="3297" y="72589"/>
                    <a:pt x="18682" y="63809"/>
                  </a:cubicBezTo>
                  <a:close/>
                </a:path>
              </a:pathLst>
            </a:custGeom>
            <a:solidFill>
              <a:srgbClr val="DBD6D2"/>
            </a:solidFill>
            <a:ln w="54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DK" sz="2400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8A3A64BB-C24D-97E7-4A23-19C056A6B837}"/>
                </a:ext>
              </a:extLst>
            </p:cNvPr>
            <p:cNvSpPr/>
            <p:nvPr/>
          </p:nvSpPr>
          <p:spPr>
            <a:xfrm>
              <a:off x="1948876" y="-670707"/>
              <a:ext cx="108016" cy="75042"/>
            </a:xfrm>
            <a:custGeom>
              <a:avLst/>
              <a:gdLst>
                <a:gd name="connsiteX0" fmla="*/ 61102 w 108016"/>
                <a:gd name="connsiteY0" fmla="*/ 74773 h 75042"/>
                <a:gd name="connsiteX1" fmla="*/ 102862 w 108016"/>
                <a:gd name="connsiteY1" fmla="*/ 11119 h 75042"/>
                <a:gd name="connsiteX2" fmla="*/ 34727 w 108016"/>
                <a:gd name="connsiteY2" fmla="*/ 1242 h 75042"/>
                <a:gd name="connsiteX3" fmla="*/ 5055 w 108016"/>
                <a:gd name="connsiteY3" fmla="*/ 36361 h 75042"/>
                <a:gd name="connsiteX4" fmla="*/ 61102 w 108016"/>
                <a:gd name="connsiteY4" fmla="*/ 74773 h 75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8016" h="75042">
                  <a:moveTo>
                    <a:pt x="61102" y="74773"/>
                  </a:moveTo>
                  <a:cubicBezTo>
                    <a:pt x="75388" y="79163"/>
                    <a:pt x="123742" y="28679"/>
                    <a:pt x="102862" y="11119"/>
                  </a:cubicBezTo>
                  <a:cubicBezTo>
                    <a:pt x="83081" y="-6441"/>
                    <a:pt x="35826" y="2339"/>
                    <a:pt x="34727" y="1242"/>
                  </a:cubicBezTo>
                  <a:cubicBezTo>
                    <a:pt x="34727" y="1242"/>
                    <a:pt x="-15825" y="8924"/>
                    <a:pt x="5055" y="36361"/>
                  </a:cubicBezTo>
                  <a:cubicBezTo>
                    <a:pt x="24836" y="62701"/>
                    <a:pt x="47914" y="70383"/>
                    <a:pt x="61102" y="74773"/>
                  </a:cubicBezTo>
                  <a:close/>
                </a:path>
              </a:pathLst>
            </a:custGeom>
            <a:solidFill>
              <a:srgbClr val="DBD6D2"/>
            </a:solidFill>
            <a:ln w="54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DK" sz="2400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307C4BA7-EA02-E48E-152E-2BF49841C4D6}"/>
                </a:ext>
              </a:extLst>
            </p:cNvPr>
            <p:cNvSpPr/>
            <p:nvPr/>
          </p:nvSpPr>
          <p:spPr>
            <a:xfrm>
              <a:off x="3774401" y="-268115"/>
              <a:ext cx="49807" cy="43824"/>
            </a:xfrm>
            <a:custGeom>
              <a:avLst/>
              <a:gdLst>
                <a:gd name="connsiteX0" fmla="*/ 29061 w 49807"/>
                <a:gd name="connsiteY0" fmla="*/ 43130 h 43824"/>
                <a:gd name="connsiteX1" fmla="*/ 46644 w 49807"/>
                <a:gd name="connsiteY1" fmla="*/ 11303 h 43824"/>
                <a:gd name="connsiteX2" fmla="*/ 13676 w 49807"/>
                <a:gd name="connsiteY2" fmla="*/ 328 h 43824"/>
                <a:gd name="connsiteX3" fmla="*/ 3785 w 49807"/>
                <a:gd name="connsiteY3" fmla="*/ 24473 h 43824"/>
                <a:gd name="connsiteX4" fmla="*/ 29061 w 49807"/>
                <a:gd name="connsiteY4" fmla="*/ 43130 h 43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807" h="43824">
                  <a:moveTo>
                    <a:pt x="29061" y="43130"/>
                  </a:moveTo>
                  <a:cubicBezTo>
                    <a:pt x="41150" y="39838"/>
                    <a:pt x="56535" y="25570"/>
                    <a:pt x="46644" y="11303"/>
                  </a:cubicBezTo>
                  <a:cubicBezTo>
                    <a:pt x="35655" y="-2964"/>
                    <a:pt x="13676" y="328"/>
                    <a:pt x="13676" y="328"/>
                  </a:cubicBezTo>
                  <a:cubicBezTo>
                    <a:pt x="488" y="1426"/>
                    <a:pt x="-3907" y="10206"/>
                    <a:pt x="3785" y="24473"/>
                  </a:cubicBezTo>
                  <a:cubicBezTo>
                    <a:pt x="11478" y="37643"/>
                    <a:pt x="16973" y="46423"/>
                    <a:pt x="29061" y="43130"/>
                  </a:cubicBezTo>
                  <a:close/>
                </a:path>
              </a:pathLst>
            </a:custGeom>
            <a:solidFill>
              <a:srgbClr val="DBD6D2"/>
            </a:solidFill>
            <a:ln w="54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DK" sz="2400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BA5E5092-CACC-28B4-3E59-72635A254F38}"/>
                </a:ext>
              </a:extLst>
            </p:cNvPr>
            <p:cNvSpPr/>
            <p:nvPr/>
          </p:nvSpPr>
          <p:spPr>
            <a:xfrm>
              <a:off x="4012715" y="344198"/>
              <a:ext cx="66478" cy="73804"/>
            </a:xfrm>
            <a:custGeom>
              <a:avLst/>
              <a:gdLst>
                <a:gd name="connsiteX0" fmla="*/ 17131 w 66478"/>
                <a:gd name="connsiteY0" fmla="*/ 59674 h 73804"/>
                <a:gd name="connsiteX1" fmla="*/ 30318 w 66478"/>
                <a:gd name="connsiteY1" fmla="*/ 70649 h 73804"/>
                <a:gd name="connsiteX2" fmla="*/ 42407 w 66478"/>
                <a:gd name="connsiteY2" fmla="*/ 61869 h 73804"/>
                <a:gd name="connsiteX3" fmla="*/ 59990 w 66478"/>
                <a:gd name="connsiteY3" fmla="*/ 49797 h 73804"/>
                <a:gd name="connsiteX4" fmla="*/ 64386 w 66478"/>
                <a:gd name="connsiteY4" fmla="*/ 31140 h 73804"/>
                <a:gd name="connsiteX5" fmla="*/ 62188 w 66478"/>
                <a:gd name="connsiteY5" fmla="*/ 9190 h 73804"/>
                <a:gd name="connsiteX6" fmla="*/ 50099 w 66478"/>
                <a:gd name="connsiteY6" fmla="*/ 410 h 73804"/>
                <a:gd name="connsiteX7" fmla="*/ 34714 w 66478"/>
                <a:gd name="connsiteY7" fmla="*/ 3703 h 73804"/>
                <a:gd name="connsiteX8" fmla="*/ 29219 w 66478"/>
                <a:gd name="connsiteY8" fmla="*/ 21262 h 73804"/>
                <a:gd name="connsiteX9" fmla="*/ 13834 w 66478"/>
                <a:gd name="connsiteY9" fmla="*/ 32237 h 73804"/>
                <a:gd name="connsiteX10" fmla="*/ 647 w 66478"/>
                <a:gd name="connsiteY10" fmla="*/ 51992 h 73804"/>
                <a:gd name="connsiteX11" fmla="*/ 17131 w 66478"/>
                <a:gd name="connsiteY11" fmla="*/ 59674 h 73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6478" h="73804">
                  <a:moveTo>
                    <a:pt x="17131" y="59674"/>
                  </a:moveTo>
                  <a:cubicBezTo>
                    <a:pt x="28120" y="61869"/>
                    <a:pt x="24823" y="64064"/>
                    <a:pt x="30318" y="70649"/>
                  </a:cubicBezTo>
                  <a:cubicBezTo>
                    <a:pt x="38011" y="78331"/>
                    <a:pt x="39110" y="70649"/>
                    <a:pt x="42407" y="61869"/>
                  </a:cubicBezTo>
                  <a:cubicBezTo>
                    <a:pt x="46802" y="53089"/>
                    <a:pt x="54495" y="54187"/>
                    <a:pt x="59990" y="49797"/>
                  </a:cubicBezTo>
                  <a:cubicBezTo>
                    <a:pt x="67682" y="45407"/>
                    <a:pt x="67682" y="38822"/>
                    <a:pt x="64386" y="31140"/>
                  </a:cubicBezTo>
                  <a:cubicBezTo>
                    <a:pt x="62188" y="21262"/>
                    <a:pt x="58891" y="21262"/>
                    <a:pt x="62188" y="9190"/>
                  </a:cubicBezTo>
                  <a:cubicBezTo>
                    <a:pt x="66584" y="-2882"/>
                    <a:pt x="50099" y="410"/>
                    <a:pt x="50099" y="410"/>
                  </a:cubicBezTo>
                  <a:cubicBezTo>
                    <a:pt x="50099" y="410"/>
                    <a:pt x="40209" y="410"/>
                    <a:pt x="34714" y="3703"/>
                  </a:cubicBezTo>
                  <a:cubicBezTo>
                    <a:pt x="29219" y="5898"/>
                    <a:pt x="29219" y="13580"/>
                    <a:pt x="29219" y="21262"/>
                  </a:cubicBezTo>
                  <a:cubicBezTo>
                    <a:pt x="28120" y="30042"/>
                    <a:pt x="23724" y="31140"/>
                    <a:pt x="13834" y="32237"/>
                  </a:cubicBezTo>
                  <a:cubicBezTo>
                    <a:pt x="3943" y="33335"/>
                    <a:pt x="2844" y="42115"/>
                    <a:pt x="647" y="51992"/>
                  </a:cubicBezTo>
                  <a:cubicBezTo>
                    <a:pt x="-2650" y="62967"/>
                    <a:pt x="7240" y="58577"/>
                    <a:pt x="17131" y="59674"/>
                  </a:cubicBezTo>
                  <a:close/>
                </a:path>
              </a:pathLst>
            </a:custGeom>
            <a:solidFill>
              <a:srgbClr val="DBD6D2"/>
            </a:solidFill>
            <a:ln w="54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DK" sz="24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C4F3905F-1204-2913-F9C4-FD7AB87E2AB2}"/>
                </a:ext>
              </a:extLst>
            </p:cNvPr>
            <p:cNvSpPr/>
            <p:nvPr/>
          </p:nvSpPr>
          <p:spPr>
            <a:xfrm>
              <a:off x="4334113" y="1050419"/>
              <a:ext cx="70633" cy="65977"/>
            </a:xfrm>
            <a:custGeom>
              <a:avLst/>
              <a:gdLst>
                <a:gd name="connsiteX0" fmla="*/ 35308 w 70633"/>
                <a:gd name="connsiteY0" fmla="*/ 11944 h 65977"/>
                <a:gd name="connsiteX1" fmla="*/ 8934 w 70633"/>
                <a:gd name="connsiteY1" fmla="*/ 37186 h 65977"/>
                <a:gd name="connsiteX2" fmla="*/ 10032 w 70633"/>
                <a:gd name="connsiteY2" fmla="*/ 65721 h 65977"/>
                <a:gd name="connsiteX3" fmla="*/ 40803 w 70633"/>
                <a:gd name="connsiteY3" fmla="*/ 54746 h 65977"/>
                <a:gd name="connsiteX4" fmla="*/ 50693 w 70633"/>
                <a:gd name="connsiteY4" fmla="*/ 30601 h 65977"/>
                <a:gd name="connsiteX5" fmla="*/ 67178 w 70633"/>
                <a:gd name="connsiteY5" fmla="*/ 969 h 65977"/>
                <a:gd name="connsiteX6" fmla="*/ 35308 w 70633"/>
                <a:gd name="connsiteY6" fmla="*/ 11944 h 65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633" h="65977">
                  <a:moveTo>
                    <a:pt x="35308" y="11944"/>
                  </a:moveTo>
                  <a:cubicBezTo>
                    <a:pt x="30913" y="14139"/>
                    <a:pt x="19923" y="24016"/>
                    <a:pt x="8934" y="37186"/>
                  </a:cubicBezTo>
                  <a:cubicBezTo>
                    <a:pt x="-2056" y="51453"/>
                    <a:pt x="-4254" y="63526"/>
                    <a:pt x="10032" y="65721"/>
                  </a:cubicBezTo>
                  <a:cubicBezTo>
                    <a:pt x="24319" y="66818"/>
                    <a:pt x="39704" y="64623"/>
                    <a:pt x="40803" y="54746"/>
                  </a:cubicBezTo>
                  <a:cubicBezTo>
                    <a:pt x="41902" y="44868"/>
                    <a:pt x="44100" y="37186"/>
                    <a:pt x="50693" y="30601"/>
                  </a:cubicBezTo>
                  <a:cubicBezTo>
                    <a:pt x="56188" y="26211"/>
                    <a:pt x="79266" y="6456"/>
                    <a:pt x="67178" y="969"/>
                  </a:cubicBezTo>
                  <a:cubicBezTo>
                    <a:pt x="56188" y="-4518"/>
                    <a:pt x="35308" y="15236"/>
                    <a:pt x="35308" y="11944"/>
                  </a:cubicBezTo>
                  <a:close/>
                </a:path>
              </a:pathLst>
            </a:custGeom>
            <a:solidFill>
              <a:srgbClr val="DBD6D2"/>
            </a:solidFill>
            <a:ln w="54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DK" sz="2400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E50E8C20-B665-98FD-303D-406691B7DA8E}"/>
                </a:ext>
              </a:extLst>
            </p:cNvPr>
            <p:cNvSpPr/>
            <p:nvPr/>
          </p:nvSpPr>
          <p:spPr>
            <a:xfrm>
              <a:off x="4258761" y="661429"/>
              <a:ext cx="111113" cy="73699"/>
            </a:xfrm>
            <a:custGeom>
              <a:avLst/>
              <a:gdLst>
                <a:gd name="connsiteX0" fmla="*/ 72197 w 111113"/>
                <a:gd name="connsiteY0" fmla="*/ 6937 h 73699"/>
                <a:gd name="connsiteX1" fmla="*/ 766 w 111113"/>
                <a:gd name="connsiteY1" fmla="*/ 50837 h 73699"/>
                <a:gd name="connsiteX2" fmla="*/ 17250 w 111113"/>
                <a:gd name="connsiteY2" fmla="*/ 69494 h 73699"/>
                <a:gd name="connsiteX3" fmla="*/ 40328 w 111113"/>
                <a:gd name="connsiteY3" fmla="*/ 59616 h 73699"/>
                <a:gd name="connsiteX4" fmla="*/ 62307 w 111113"/>
                <a:gd name="connsiteY4" fmla="*/ 48642 h 73699"/>
                <a:gd name="connsiteX5" fmla="*/ 89781 w 111113"/>
                <a:gd name="connsiteY5" fmla="*/ 25594 h 73699"/>
                <a:gd name="connsiteX6" fmla="*/ 107364 w 111113"/>
                <a:gd name="connsiteY6" fmla="*/ 352 h 73699"/>
                <a:gd name="connsiteX7" fmla="*/ 72197 w 111113"/>
                <a:gd name="connsiteY7" fmla="*/ 6937 h 73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1113" h="73699">
                  <a:moveTo>
                    <a:pt x="72197" y="6937"/>
                  </a:moveTo>
                  <a:cubicBezTo>
                    <a:pt x="72197" y="6937"/>
                    <a:pt x="2963" y="26692"/>
                    <a:pt x="766" y="50837"/>
                  </a:cubicBezTo>
                  <a:cubicBezTo>
                    <a:pt x="-2531" y="73884"/>
                    <a:pt x="5161" y="78274"/>
                    <a:pt x="17250" y="69494"/>
                  </a:cubicBezTo>
                  <a:cubicBezTo>
                    <a:pt x="28239" y="61811"/>
                    <a:pt x="31536" y="61811"/>
                    <a:pt x="40328" y="59616"/>
                  </a:cubicBezTo>
                  <a:cubicBezTo>
                    <a:pt x="50218" y="58519"/>
                    <a:pt x="44724" y="55226"/>
                    <a:pt x="62307" y="48642"/>
                  </a:cubicBezTo>
                  <a:cubicBezTo>
                    <a:pt x="78791" y="43154"/>
                    <a:pt x="76593" y="36569"/>
                    <a:pt x="89781" y="25594"/>
                  </a:cubicBezTo>
                  <a:cubicBezTo>
                    <a:pt x="102968" y="15717"/>
                    <a:pt x="118353" y="6937"/>
                    <a:pt x="107364" y="352"/>
                  </a:cubicBezTo>
                  <a:cubicBezTo>
                    <a:pt x="96374" y="-1843"/>
                    <a:pt x="72197" y="6937"/>
                    <a:pt x="72197" y="6937"/>
                  </a:cubicBezTo>
                  <a:close/>
                </a:path>
              </a:pathLst>
            </a:custGeom>
            <a:solidFill>
              <a:srgbClr val="DBD6D2"/>
            </a:solidFill>
            <a:ln w="54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DK" sz="24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D4DAFBF3-4494-0FAB-8486-FE4DDE9E2921}"/>
                </a:ext>
              </a:extLst>
            </p:cNvPr>
            <p:cNvSpPr/>
            <p:nvPr/>
          </p:nvSpPr>
          <p:spPr>
            <a:xfrm>
              <a:off x="4342742" y="713523"/>
              <a:ext cx="275393" cy="245010"/>
            </a:xfrm>
            <a:custGeom>
              <a:avLst/>
              <a:gdLst>
                <a:gd name="connsiteX0" fmla="*/ 164048 w 275393"/>
                <a:gd name="connsiteY0" fmla="*/ 44837 h 245010"/>
                <a:gd name="connsiteX1" fmla="*/ 153059 w 275393"/>
                <a:gd name="connsiteY1" fmla="*/ 9718 h 245010"/>
                <a:gd name="connsiteX2" fmla="*/ 131080 w 275393"/>
                <a:gd name="connsiteY2" fmla="*/ 8620 h 245010"/>
                <a:gd name="connsiteX3" fmla="*/ 101408 w 275393"/>
                <a:gd name="connsiteY3" fmla="*/ 5328 h 245010"/>
                <a:gd name="connsiteX4" fmla="*/ 82726 w 275393"/>
                <a:gd name="connsiteY4" fmla="*/ 18497 h 245010"/>
                <a:gd name="connsiteX5" fmla="*/ 58549 w 275393"/>
                <a:gd name="connsiteY5" fmla="*/ 16302 h 245010"/>
                <a:gd name="connsiteX6" fmla="*/ 58549 w 275393"/>
                <a:gd name="connsiteY6" fmla="*/ 47032 h 245010"/>
                <a:gd name="connsiteX7" fmla="*/ 55252 w 275393"/>
                <a:gd name="connsiteY7" fmla="*/ 65689 h 245010"/>
                <a:gd name="connsiteX8" fmla="*/ 80528 w 275393"/>
                <a:gd name="connsiteY8" fmla="*/ 77761 h 245010"/>
                <a:gd name="connsiteX9" fmla="*/ 95913 w 275393"/>
                <a:gd name="connsiteY9" fmla="*/ 100809 h 245010"/>
                <a:gd name="connsiteX10" fmla="*/ 118991 w 275393"/>
                <a:gd name="connsiteY10" fmla="*/ 119466 h 245010"/>
                <a:gd name="connsiteX11" fmla="*/ 155256 w 275393"/>
                <a:gd name="connsiteY11" fmla="*/ 108491 h 245010"/>
                <a:gd name="connsiteX12" fmla="*/ 129981 w 275393"/>
                <a:gd name="connsiteY12" fmla="*/ 135928 h 245010"/>
                <a:gd name="connsiteX13" fmla="*/ 90419 w 275393"/>
                <a:gd name="connsiteY13" fmla="*/ 145805 h 245010"/>
                <a:gd name="connsiteX14" fmla="*/ 73934 w 275393"/>
                <a:gd name="connsiteY14" fmla="*/ 165560 h 245010"/>
                <a:gd name="connsiteX15" fmla="*/ 71737 w 275393"/>
                <a:gd name="connsiteY15" fmla="*/ 187510 h 245010"/>
                <a:gd name="connsiteX16" fmla="*/ 117892 w 275393"/>
                <a:gd name="connsiteY16" fmla="*/ 187510 h 245010"/>
                <a:gd name="connsiteX17" fmla="*/ 87122 w 275393"/>
                <a:gd name="connsiteY17" fmla="*/ 201777 h 245010"/>
                <a:gd name="connsiteX18" fmla="*/ 54153 w 275393"/>
                <a:gd name="connsiteY18" fmla="*/ 200680 h 245010"/>
                <a:gd name="connsiteX19" fmla="*/ 23383 w 275393"/>
                <a:gd name="connsiteY19" fmla="*/ 187510 h 245010"/>
                <a:gd name="connsiteX20" fmla="*/ 305 w 275393"/>
                <a:gd name="connsiteY20" fmla="*/ 211654 h 245010"/>
                <a:gd name="connsiteX21" fmla="*/ 13492 w 275393"/>
                <a:gd name="connsiteY21" fmla="*/ 240189 h 245010"/>
                <a:gd name="connsiteX22" fmla="*/ 54153 w 275393"/>
                <a:gd name="connsiteY22" fmla="*/ 240189 h 245010"/>
                <a:gd name="connsiteX23" fmla="*/ 81627 w 275393"/>
                <a:gd name="connsiteY23" fmla="*/ 239092 h 245010"/>
                <a:gd name="connsiteX24" fmla="*/ 116793 w 275393"/>
                <a:gd name="connsiteY24" fmla="*/ 240189 h 245010"/>
                <a:gd name="connsiteX25" fmla="*/ 149762 w 275393"/>
                <a:gd name="connsiteY25" fmla="*/ 231409 h 245010"/>
                <a:gd name="connsiteX26" fmla="*/ 172840 w 275393"/>
                <a:gd name="connsiteY26" fmla="*/ 213849 h 245010"/>
                <a:gd name="connsiteX27" fmla="*/ 172840 w 275393"/>
                <a:gd name="connsiteY27" fmla="*/ 241287 h 245010"/>
                <a:gd name="connsiteX28" fmla="*/ 204709 w 275393"/>
                <a:gd name="connsiteY28" fmla="*/ 242384 h 245010"/>
                <a:gd name="connsiteX29" fmla="*/ 245370 w 275393"/>
                <a:gd name="connsiteY29" fmla="*/ 220434 h 245010"/>
                <a:gd name="connsiteX30" fmla="*/ 228886 w 275393"/>
                <a:gd name="connsiteY30" fmla="*/ 201777 h 245010"/>
                <a:gd name="connsiteX31" fmla="*/ 248667 w 275393"/>
                <a:gd name="connsiteY31" fmla="*/ 199582 h 245010"/>
                <a:gd name="connsiteX32" fmla="*/ 265151 w 275393"/>
                <a:gd name="connsiteY32" fmla="*/ 207265 h 245010"/>
                <a:gd name="connsiteX33" fmla="*/ 267349 w 275393"/>
                <a:gd name="connsiteY33" fmla="*/ 187510 h 245010"/>
                <a:gd name="connsiteX34" fmla="*/ 275042 w 275393"/>
                <a:gd name="connsiteY34" fmla="*/ 166658 h 245010"/>
                <a:gd name="connsiteX35" fmla="*/ 251964 w 275393"/>
                <a:gd name="connsiteY35" fmla="*/ 150195 h 245010"/>
                <a:gd name="connsiteX36" fmla="*/ 239876 w 275393"/>
                <a:gd name="connsiteY36" fmla="*/ 134831 h 245010"/>
                <a:gd name="connsiteX37" fmla="*/ 224490 w 275393"/>
                <a:gd name="connsiteY37" fmla="*/ 115076 h 245010"/>
                <a:gd name="connsiteX38" fmla="*/ 200313 w 275393"/>
                <a:gd name="connsiteY38" fmla="*/ 112881 h 245010"/>
                <a:gd name="connsiteX39" fmla="*/ 170642 w 275393"/>
                <a:gd name="connsiteY39" fmla="*/ 84346 h 245010"/>
                <a:gd name="connsiteX40" fmla="*/ 164048 w 275393"/>
                <a:gd name="connsiteY40" fmla="*/ 44837 h 245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75393" h="245010">
                  <a:moveTo>
                    <a:pt x="164048" y="44837"/>
                  </a:moveTo>
                  <a:cubicBezTo>
                    <a:pt x="161850" y="28375"/>
                    <a:pt x="161850" y="11912"/>
                    <a:pt x="153059" y="9718"/>
                  </a:cubicBezTo>
                  <a:cubicBezTo>
                    <a:pt x="144267" y="8620"/>
                    <a:pt x="145366" y="14107"/>
                    <a:pt x="131080" y="8620"/>
                  </a:cubicBezTo>
                  <a:cubicBezTo>
                    <a:pt x="117892" y="938"/>
                    <a:pt x="111298" y="-4550"/>
                    <a:pt x="101408" y="5328"/>
                  </a:cubicBezTo>
                  <a:cubicBezTo>
                    <a:pt x="91518" y="15205"/>
                    <a:pt x="93716" y="19595"/>
                    <a:pt x="82726" y="18497"/>
                  </a:cubicBezTo>
                  <a:cubicBezTo>
                    <a:pt x="71737" y="17400"/>
                    <a:pt x="65143" y="-160"/>
                    <a:pt x="58549" y="16302"/>
                  </a:cubicBezTo>
                  <a:cubicBezTo>
                    <a:pt x="54153" y="33862"/>
                    <a:pt x="68440" y="41545"/>
                    <a:pt x="58549" y="47032"/>
                  </a:cubicBezTo>
                  <a:cubicBezTo>
                    <a:pt x="49758" y="52519"/>
                    <a:pt x="45362" y="58007"/>
                    <a:pt x="55252" y="65689"/>
                  </a:cubicBezTo>
                  <a:cubicBezTo>
                    <a:pt x="64044" y="75567"/>
                    <a:pt x="70638" y="62397"/>
                    <a:pt x="80528" y="77761"/>
                  </a:cubicBezTo>
                  <a:cubicBezTo>
                    <a:pt x="90419" y="92029"/>
                    <a:pt x="90419" y="85444"/>
                    <a:pt x="95913" y="100809"/>
                  </a:cubicBezTo>
                  <a:cubicBezTo>
                    <a:pt x="101408" y="116173"/>
                    <a:pt x="101408" y="129343"/>
                    <a:pt x="118991" y="119466"/>
                  </a:cubicBezTo>
                  <a:cubicBezTo>
                    <a:pt x="135476" y="110686"/>
                    <a:pt x="155256" y="97516"/>
                    <a:pt x="155256" y="108491"/>
                  </a:cubicBezTo>
                  <a:cubicBezTo>
                    <a:pt x="155256" y="118368"/>
                    <a:pt x="147564" y="131538"/>
                    <a:pt x="129981" y="135928"/>
                  </a:cubicBezTo>
                  <a:cubicBezTo>
                    <a:pt x="111298" y="139221"/>
                    <a:pt x="94814" y="133733"/>
                    <a:pt x="90419" y="145805"/>
                  </a:cubicBezTo>
                  <a:cubicBezTo>
                    <a:pt x="86023" y="157878"/>
                    <a:pt x="81627" y="158975"/>
                    <a:pt x="73934" y="165560"/>
                  </a:cubicBezTo>
                  <a:cubicBezTo>
                    <a:pt x="66242" y="174340"/>
                    <a:pt x="58549" y="184217"/>
                    <a:pt x="71737" y="187510"/>
                  </a:cubicBezTo>
                  <a:cubicBezTo>
                    <a:pt x="84924" y="188607"/>
                    <a:pt x="117892" y="177632"/>
                    <a:pt x="117892" y="187510"/>
                  </a:cubicBezTo>
                  <a:cubicBezTo>
                    <a:pt x="117892" y="197387"/>
                    <a:pt x="101408" y="201777"/>
                    <a:pt x="87122" y="201777"/>
                  </a:cubicBezTo>
                  <a:cubicBezTo>
                    <a:pt x="72835" y="201777"/>
                    <a:pt x="62945" y="205070"/>
                    <a:pt x="54153" y="200680"/>
                  </a:cubicBezTo>
                  <a:cubicBezTo>
                    <a:pt x="43164" y="196290"/>
                    <a:pt x="39867" y="183120"/>
                    <a:pt x="23383" y="187510"/>
                  </a:cubicBezTo>
                  <a:cubicBezTo>
                    <a:pt x="7997" y="191900"/>
                    <a:pt x="-1893" y="198485"/>
                    <a:pt x="305" y="211654"/>
                  </a:cubicBezTo>
                  <a:cubicBezTo>
                    <a:pt x="2503" y="223727"/>
                    <a:pt x="-4091" y="231409"/>
                    <a:pt x="13492" y="240189"/>
                  </a:cubicBezTo>
                  <a:cubicBezTo>
                    <a:pt x="31075" y="248969"/>
                    <a:pt x="39867" y="242384"/>
                    <a:pt x="54153" y="240189"/>
                  </a:cubicBezTo>
                  <a:cubicBezTo>
                    <a:pt x="68440" y="237994"/>
                    <a:pt x="68440" y="231409"/>
                    <a:pt x="81627" y="239092"/>
                  </a:cubicBezTo>
                  <a:cubicBezTo>
                    <a:pt x="93716" y="246774"/>
                    <a:pt x="103606" y="244579"/>
                    <a:pt x="116793" y="240189"/>
                  </a:cubicBezTo>
                  <a:cubicBezTo>
                    <a:pt x="128882" y="235799"/>
                    <a:pt x="143168" y="236897"/>
                    <a:pt x="149762" y="231409"/>
                  </a:cubicBezTo>
                  <a:cubicBezTo>
                    <a:pt x="157455" y="227019"/>
                    <a:pt x="167345" y="208362"/>
                    <a:pt x="172840" y="213849"/>
                  </a:cubicBezTo>
                  <a:cubicBezTo>
                    <a:pt x="178334" y="217142"/>
                    <a:pt x="164048" y="232507"/>
                    <a:pt x="172840" y="241287"/>
                  </a:cubicBezTo>
                  <a:cubicBezTo>
                    <a:pt x="182730" y="248969"/>
                    <a:pt x="203610" y="242384"/>
                    <a:pt x="204709" y="242384"/>
                  </a:cubicBezTo>
                  <a:cubicBezTo>
                    <a:pt x="210204" y="240189"/>
                    <a:pt x="253063" y="232507"/>
                    <a:pt x="245370" y="220434"/>
                  </a:cubicBezTo>
                  <a:cubicBezTo>
                    <a:pt x="237678" y="208362"/>
                    <a:pt x="221193" y="209459"/>
                    <a:pt x="228886" y="201777"/>
                  </a:cubicBezTo>
                  <a:cubicBezTo>
                    <a:pt x="236579" y="194095"/>
                    <a:pt x="243172" y="191900"/>
                    <a:pt x="248667" y="199582"/>
                  </a:cubicBezTo>
                  <a:cubicBezTo>
                    <a:pt x="254162" y="205070"/>
                    <a:pt x="256360" y="212752"/>
                    <a:pt x="265151" y="207265"/>
                  </a:cubicBezTo>
                  <a:cubicBezTo>
                    <a:pt x="275042" y="202875"/>
                    <a:pt x="265151" y="197387"/>
                    <a:pt x="267349" y="187510"/>
                  </a:cubicBezTo>
                  <a:cubicBezTo>
                    <a:pt x="268448" y="176535"/>
                    <a:pt x="277240" y="178730"/>
                    <a:pt x="275042" y="166658"/>
                  </a:cubicBezTo>
                  <a:cubicBezTo>
                    <a:pt x="271745" y="155683"/>
                    <a:pt x="258558" y="161170"/>
                    <a:pt x="251964" y="150195"/>
                  </a:cubicBezTo>
                  <a:cubicBezTo>
                    <a:pt x="247568" y="139221"/>
                    <a:pt x="247568" y="149098"/>
                    <a:pt x="239876" y="134831"/>
                  </a:cubicBezTo>
                  <a:cubicBezTo>
                    <a:pt x="232183" y="120563"/>
                    <a:pt x="236579" y="112881"/>
                    <a:pt x="224490" y="115076"/>
                  </a:cubicBezTo>
                  <a:cubicBezTo>
                    <a:pt x="212402" y="115076"/>
                    <a:pt x="211303" y="118368"/>
                    <a:pt x="200313" y="112881"/>
                  </a:cubicBezTo>
                  <a:cubicBezTo>
                    <a:pt x="188225" y="105199"/>
                    <a:pt x="169543" y="110686"/>
                    <a:pt x="170642" y="84346"/>
                  </a:cubicBezTo>
                  <a:cubicBezTo>
                    <a:pt x="170642" y="56909"/>
                    <a:pt x="166246" y="61299"/>
                    <a:pt x="164048" y="44837"/>
                  </a:cubicBezTo>
                  <a:close/>
                </a:path>
              </a:pathLst>
            </a:custGeom>
            <a:solidFill>
              <a:srgbClr val="DBD6D2"/>
            </a:solidFill>
            <a:ln w="54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DK" sz="2400"/>
            </a:p>
          </p:txBody>
        </p:sp>
        <p:sp>
          <p:nvSpPr>
            <p:cNvPr id="44" name="Freeform 43">
              <a:extLst>
                <a:ext uri="{FF2B5EF4-FFF2-40B4-BE49-F238E27FC236}">
                  <a16:creationId xmlns:a16="http://schemas.microsoft.com/office/drawing/2014/main" id="{237B2AE5-CA13-C2DC-08C9-A9CE997197CC}"/>
                </a:ext>
              </a:extLst>
            </p:cNvPr>
            <p:cNvSpPr/>
            <p:nvPr/>
          </p:nvSpPr>
          <p:spPr>
            <a:xfrm>
              <a:off x="4364545" y="1073889"/>
              <a:ext cx="205737" cy="214616"/>
            </a:xfrm>
            <a:custGeom>
              <a:avLst/>
              <a:gdLst>
                <a:gd name="connsiteX0" fmla="*/ 30152 w 205737"/>
                <a:gd name="connsiteY0" fmla="*/ 214555 h 214616"/>
                <a:gd name="connsiteX1" fmla="*/ 58725 w 205737"/>
                <a:gd name="connsiteY1" fmla="*/ 194801 h 214616"/>
                <a:gd name="connsiteX2" fmla="*/ 82902 w 205737"/>
                <a:gd name="connsiteY2" fmla="*/ 159681 h 214616"/>
                <a:gd name="connsiteX3" fmla="*/ 110376 w 205737"/>
                <a:gd name="connsiteY3" fmla="*/ 133342 h 214616"/>
                <a:gd name="connsiteX4" fmla="*/ 130157 w 205737"/>
                <a:gd name="connsiteY4" fmla="*/ 101515 h 214616"/>
                <a:gd name="connsiteX5" fmla="*/ 158729 w 205737"/>
                <a:gd name="connsiteY5" fmla="*/ 68590 h 214616"/>
                <a:gd name="connsiteX6" fmla="*/ 186203 w 205737"/>
                <a:gd name="connsiteY6" fmla="*/ 32373 h 214616"/>
                <a:gd name="connsiteX7" fmla="*/ 202687 w 205737"/>
                <a:gd name="connsiteY7" fmla="*/ 7131 h 214616"/>
                <a:gd name="connsiteX8" fmla="*/ 163125 w 205737"/>
                <a:gd name="connsiteY8" fmla="*/ 9326 h 214616"/>
                <a:gd name="connsiteX9" fmla="*/ 134552 w 205737"/>
                <a:gd name="connsiteY9" fmla="*/ 27983 h 214616"/>
                <a:gd name="connsiteX10" fmla="*/ 105980 w 205737"/>
                <a:gd name="connsiteY10" fmla="*/ 46640 h 214616"/>
                <a:gd name="connsiteX11" fmla="*/ 74110 w 205737"/>
                <a:gd name="connsiteY11" fmla="*/ 66395 h 214616"/>
                <a:gd name="connsiteX12" fmla="*/ 63121 w 205737"/>
                <a:gd name="connsiteY12" fmla="*/ 97125 h 214616"/>
                <a:gd name="connsiteX13" fmla="*/ 92792 w 205737"/>
                <a:gd name="connsiteY13" fmla="*/ 92735 h 214616"/>
                <a:gd name="connsiteX14" fmla="*/ 62022 w 205737"/>
                <a:gd name="connsiteY14" fmla="*/ 112489 h 214616"/>
                <a:gd name="connsiteX15" fmla="*/ 29053 w 205737"/>
                <a:gd name="connsiteY15" fmla="*/ 116879 h 214616"/>
                <a:gd name="connsiteX16" fmla="*/ 12569 w 205737"/>
                <a:gd name="connsiteY16" fmla="*/ 153096 h 214616"/>
                <a:gd name="connsiteX17" fmla="*/ 2678 w 205737"/>
                <a:gd name="connsiteY17" fmla="*/ 194801 h 214616"/>
                <a:gd name="connsiteX18" fmla="*/ 30152 w 205737"/>
                <a:gd name="connsiteY18" fmla="*/ 214555 h 214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05737" h="214616">
                  <a:moveTo>
                    <a:pt x="30152" y="214555"/>
                  </a:moveTo>
                  <a:cubicBezTo>
                    <a:pt x="46636" y="214555"/>
                    <a:pt x="49933" y="216750"/>
                    <a:pt x="58725" y="194801"/>
                  </a:cubicBezTo>
                  <a:cubicBezTo>
                    <a:pt x="68615" y="170656"/>
                    <a:pt x="69714" y="166266"/>
                    <a:pt x="82902" y="159681"/>
                  </a:cubicBezTo>
                  <a:cubicBezTo>
                    <a:pt x="96089" y="154194"/>
                    <a:pt x="100485" y="149804"/>
                    <a:pt x="110376" y="133342"/>
                  </a:cubicBezTo>
                  <a:cubicBezTo>
                    <a:pt x="119167" y="117977"/>
                    <a:pt x="118068" y="114684"/>
                    <a:pt x="130157" y="101515"/>
                  </a:cubicBezTo>
                  <a:cubicBezTo>
                    <a:pt x="143344" y="87247"/>
                    <a:pt x="156531" y="70785"/>
                    <a:pt x="158729" y="68590"/>
                  </a:cubicBezTo>
                  <a:cubicBezTo>
                    <a:pt x="163125" y="60908"/>
                    <a:pt x="176313" y="44446"/>
                    <a:pt x="186203" y="32373"/>
                  </a:cubicBezTo>
                  <a:cubicBezTo>
                    <a:pt x="196094" y="20301"/>
                    <a:pt x="212578" y="20301"/>
                    <a:pt x="202687" y="7131"/>
                  </a:cubicBezTo>
                  <a:cubicBezTo>
                    <a:pt x="191698" y="-6039"/>
                    <a:pt x="167521" y="1644"/>
                    <a:pt x="163125" y="9326"/>
                  </a:cubicBezTo>
                  <a:cubicBezTo>
                    <a:pt x="157630" y="19203"/>
                    <a:pt x="144443" y="21398"/>
                    <a:pt x="134552" y="27983"/>
                  </a:cubicBezTo>
                  <a:cubicBezTo>
                    <a:pt x="124662" y="33471"/>
                    <a:pt x="122464" y="36763"/>
                    <a:pt x="105980" y="46640"/>
                  </a:cubicBezTo>
                  <a:cubicBezTo>
                    <a:pt x="89495" y="56518"/>
                    <a:pt x="86199" y="57615"/>
                    <a:pt x="74110" y="66395"/>
                  </a:cubicBezTo>
                  <a:cubicBezTo>
                    <a:pt x="62022" y="76273"/>
                    <a:pt x="48834" y="96027"/>
                    <a:pt x="63121" y="97125"/>
                  </a:cubicBezTo>
                  <a:cubicBezTo>
                    <a:pt x="78506" y="97125"/>
                    <a:pt x="93891" y="80662"/>
                    <a:pt x="92792" y="92735"/>
                  </a:cubicBezTo>
                  <a:cubicBezTo>
                    <a:pt x="90594" y="104807"/>
                    <a:pt x="74110" y="112489"/>
                    <a:pt x="62022" y="112489"/>
                  </a:cubicBezTo>
                  <a:cubicBezTo>
                    <a:pt x="49933" y="111392"/>
                    <a:pt x="37845" y="109197"/>
                    <a:pt x="29053" y="116879"/>
                  </a:cubicBezTo>
                  <a:cubicBezTo>
                    <a:pt x="19163" y="125659"/>
                    <a:pt x="16965" y="133342"/>
                    <a:pt x="12569" y="153096"/>
                  </a:cubicBezTo>
                  <a:cubicBezTo>
                    <a:pt x="9272" y="170656"/>
                    <a:pt x="-6113" y="182728"/>
                    <a:pt x="2678" y="194801"/>
                  </a:cubicBezTo>
                  <a:cubicBezTo>
                    <a:pt x="11470" y="210166"/>
                    <a:pt x="12569" y="214555"/>
                    <a:pt x="30152" y="214555"/>
                  </a:cubicBezTo>
                  <a:close/>
                </a:path>
              </a:pathLst>
            </a:custGeom>
            <a:solidFill>
              <a:srgbClr val="DBD6D2"/>
            </a:solidFill>
            <a:ln w="54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DK" sz="2400"/>
            </a:p>
          </p:txBody>
        </p:sp>
        <p:sp>
          <p:nvSpPr>
            <p:cNvPr id="45" name="Freeform 44">
              <a:extLst>
                <a:ext uri="{FF2B5EF4-FFF2-40B4-BE49-F238E27FC236}">
                  <a16:creationId xmlns:a16="http://schemas.microsoft.com/office/drawing/2014/main" id="{F8C3ED5B-2B89-9C1A-4293-C9DEC7FC4040}"/>
                </a:ext>
              </a:extLst>
            </p:cNvPr>
            <p:cNvSpPr/>
            <p:nvPr/>
          </p:nvSpPr>
          <p:spPr>
            <a:xfrm>
              <a:off x="4095071" y="123004"/>
              <a:ext cx="97936" cy="208488"/>
            </a:xfrm>
            <a:custGeom>
              <a:avLst/>
              <a:gdLst>
                <a:gd name="connsiteX0" fmla="*/ 7306 w 97936"/>
                <a:gd name="connsiteY0" fmla="*/ 125026 h 208488"/>
                <a:gd name="connsiteX1" fmla="*/ 8405 w 97936"/>
                <a:gd name="connsiteY1" fmla="*/ 154658 h 208488"/>
                <a:gd name="connsiteX2" fmla="*/ 7306 w 97936"/>
                <a:gd name="connsiteY2" fmla="*/ 185387 h 208488"/>
                <a:gd name="connsiteX3" fmla="*/ 31483 w 97936"/>
                <a:gd name="connsiteY3" fmla="*/ 193070 h 208488"/>
                <a:gd name="connsiteX4" fmla="*/ 56758 w 97936"/>
                <a:gd name="connsiteY4" fmla="*/ 202947 h 208488"/>
                <a:gd name="connsiteX5" fmla="*/ 40274 w 97936"/>
                <a:gd name="connsiteY5" fmla="*/ 172218 h 208488"/>
                <a:gd name="connsiteX6" fmla="*/ 31483 w 97936"/>
                <a:gd name="connsiteY6" fmla="*/ 157950 h 208488"/>
                <a:gd name="connsiteX7" fmla="*/ 56758 w 97936"/>
                <a:gd name="connsiteY7" fmla="*/ 161243 h 208488"/>
                <a:gd name="connsiteX8" fmla="*/ 57857 w 97936"/>
                <a:gd name="connsiteY8" fmla="*/ 137098 h 208488"/>
                <a:gd name="connsiteX9" fmla="*/ 46868 w 97936"/>
                <a:gd name="connsiteY9" fmla="*/ 112954 h 208488"/>
                <a:gd name="connsiteX10" fmla="*/ 62253 w 97936"/>
                <a:gd name="connsiteY10" fmla="*/ 115148 h 208488"/>
                <a:gd name="connsiteX11" fmla="*/ 73243 w 97936"/>
                <a:gd name="connsiteY11" fmla="*/ 114051 h 208488"/>
                <a:gd name="connsiteX12" fmla="*/ 88628 w 97936"/>
                <a:gd name="connsiteY12" fmla="*/ 95394 h 208488"/>
                <a:gd name="connsiteX13" fmla="*/ 94123 w 97936"/>
                <a:gd name="connsiteY13" fmla="*/ 76737 h 208488"/>
                <a:gd name="connsiteX14" fmla="*/ 88628 w 97936"/>
                <a:gd name="connsiteY14" fmla="*/ 49299 h 208488"/>
                <a:gd name="connsiteX15" fmla="*/ 78737 w 97936"/>
                <a:gd name="connsiteY15" fmla="*/ 26252 h 208488"/>
                <a:gd name="connsiteX16" fmla="*/ 61154 w 97936"/>
                <a:gd name="connsiteY16" fmla="*/ 17472 h 208488"/>
                <a:gd name="connsiteX17" fmla="*/ 38076 w 97936"/>
                <a:gd name="connsiteY17" fmla="*/ 2108 h 208488"/>
                <a:gd name="connsiteX18" fmla="*/ 24889 w 97936"/>
                <a:gd name="connsiteY18" fmla="*/ 29545 h 208488"/>
                <a:gd name="connsiteX19" fmla="*/ 27087 w 97936"/>
                <a:gd name="connsiteY19" fmla="*/ 54787 h 208488"/>
                <a:gd name="connsiteX20" fmla="*/ 13899 w 97936"/>
                <a:gd name="connsiteY20" fmla="*/ 76737 h 208488"/>
                <a:gd name="connsiteX21" fmla="*/ 712 w 97936"/>
                <a:gd name="connsiteY21" fmla="*/ 101979 h 208488"/>
                <a:gd name="connsiteX22" fmla="*/ 7306 w 97936"/>
                <a:gd name="connsiteY22" fmla="*/ 125026 h 208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7936" h="208488">
                  <a:moveTo>
                    <a:pt x="7306" y="125026"/>
                  </a:moveTo>
                  <a:cubicBezTo>
                    <a:pt x="5108" y="141488"/>
                    <a:pt x="11702" y="134903"/>
                    <a:pt x="8405" y="154658"/>
                  </a:cubicBezTo>
                  <a:cubicBezTo>
                    <a:pt x="5108" y="174413"/>
                    <a:pt x="-3684" y="177705"/>
                    <a:pt x="7306" y="185387"/>
                  </a:cubicBezTo>
                  <a:cubicBezTo>
                    <a:pt x="18295" y="194167"/>
                    <a:pt x="21592" y="182095"/>
                    <a:pt x="31483" y="193070"/>
                  </a:cubicBezTo>
                  <a:cubicBezTo>
                    <a:pt x="42472" y="202947"/>
                    <a:pt x="51264" y="216117"/>
                    <a:pt x="56758" y="202947"/>
                  </a:cubicBezTo>
                  <a:cubicBezTo>
                    <a:pt x="62253" y="189777"/>
                    <a:pt x="51264" y="174413"/>
                    <a:pt x="40274" y="172218"/>
                  </a:cubicBezTo>
                  <a:cubicBezTo>
                    <a:pt x="28186" y="170023"/>
                    <a:pt x="21592" y="156853"/>
                    <a:pt x="31483" y="157950"/>
                  </a:cubicBezTo>
                  <a:cubicBezTo>
                    <a:pt x="42472" y="159048"/>
                    <a:pt x="51264" y="174413"/>
                    <a:pt x="56758" y="161243"/>
                  </a:cubicBezTo>
                  <a:cubicBezTo>
                    <a:pt x="61154" y="148073"/>
                    <a:pt x="52363" y="149170"/>
                    <a:pt x="57857" y="137098"/>
                  </a:cubicBezTo>
                  <a:cubicBezTo>
                    <a:pt x="63352" y="125026"/>
                    <a:pt x="45769" y="123928"/>
                    <a:pt x="46868" y="112954"/>
                  </a:cubicBezTo>
                  <a:cubicBezTo>
                    <a:pt x="47967" y="101979"/>
                    <a:pt x="55660" y="114051"/>
                    <a:pt x="62253" y="115148"/>
                  </a:cubicBezTo>
                  <a:cubicBezTo>
                    <a:pt x="69946" y="117343"/>
                    <a:pt x="73243" y="114051"/>
                    <a:pt x="73243" y="114051"/>
                  </a:cubicBezTo>
                  <a:cubicBezTo>
                    <a:pt x="77639" y="101979"/>
                    <a:pt x="86430" y="100881"/>
                    <a:pt x="88628" y="95394"/>
                  </a:cubicBezTo>
                  <a:cubicBezTo>
                    <a:pt x="91925" y="91004"/>
                    <a:pt x="104013" y="91004"/>
                    <a:pt x="94123" y="76737"/>
                  </a:cubicBezTo>
                  <a:cubicBezTo>
                    <a:pt x="84232" y="62469"/>
                    <a:pt x="88628" y="59177"/>
                    <a:pt x="88628" y="49299"/>
                  </a:cubicBezTo>
                  <a:cubicBezTo>
                    <a:pt x="87529" y="39422"/>
                    <a:pt x="87529" y="31740"/>
                    <a:pt x="78737" y="26252"/>
                  </a:cubicBezTo>
                  <a:cubicBezTo>
                    <a:pt x="69946" y="20765"/>
                    <a:pt x="69946" y="29545"/>
                    <a:pt x="61154" y="17472"/>
                  </a:cubicBezTo>
                  <a:cubicBezTo>
                    <a:pt x="51264" y="5400"/>
                    <a:pt x="47967" y="-4477"/>
                    <a:pt x="38076" y="2108"/>
                  </a:cubicBezTo>
                  <a:cubicBezTo>
                    <a:pt x="27087" y="6498"/>
                    <a:pt x="20493" y="14180"/>
                    <a:pt x="24889" y="29545"/>
                  </a:cubicBezTo>
                  <a:cubicBezTo>
                    <a:pt x="29285" y="44910"/>
                    <a:pt x="32582" y="47105"/>
                    <a:pt x="27087" y="54787"/>
                  </a:cubicBezTo>
                  <a:cubicBezTo>
                    <a:pt x="22691" y="63567"/>
                    <a:pt x="22691" y="69054"/>
                    <a:pt x="13899" y="76737"/>
                  </a:cubicBezTo>
                  <a:cubicBezTo>
                    <a:pt x="6207" y="84419"/>
                    <a:pt x="-2585" y="91004"/>
                    <a:pt x="712" y="101979"/>
                  </a:cubicBezTo>
                  <a:cubicBezTo>
                    <a:pt x="5108" y="112954"/>
                    <a:pt x="9504" y="109661"/>
                    <a:pt x="7306" y="125026"/>
                  </a:cubicBezTo>
                  <a:close/>
                </a:path>
              </a:pathLst>
            </a:custGeom>
            <a:solidFill>
              <a:srgbClr val="DBD6D2"/>
            </a:solidFill>
            <a:ln w="54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DK" sz="2400"/>
            </a:p>
          </p:txBody>
        </p:sp>
        <p:sp>
          <p:nvSpPr>
            <p:cNvPr id="46" name="Freeform 45">
              <a:extLst>
                <a:ext uri="{FF2B5EF4-FFF2-40B4-BE49-F238E27FC236}">
                  <a16:creationId xmlns:a16="http://schemas.microsoft.com/office/drawing/2014/main" id="{A4427EB2-C5C5-99F4-4311-87E7CB17CA93}"/>
                </a:ext>
              </a:extLst>
            </p:cNvPr>
            <p:cNvSpPr/>
            <p:nvPr/>
          </p:nvSpPr>
          <p:spPr>
            <a:xfrm>
              <a:off x="4125075" y="-51347"/>
              <a:ext cx="169293" cy="120487"/>
            </a:xfrm>
            <a:custGeom>
              <a:avLst/>
              <a:gdLst>
                <a:gd name="connsiteX0" fmla="*/ 11369 w 169293"/>
                <a:gd name="connsiteY0" fmla="*/ 59028 h 120487"/>
                <a:gd name="connsiteX1" fmla="*/ 36645 w 169293"/>
                <a:gd name="connsiteY1" fmla="*/ 61223 h 120487"/>
                <a:gd name="connsiteX2" fmla="*/ 59723 w 169293"/>
                <a:gd name="connsiteY2" fmla="*/ 78783 h 120487"/>
                <a:gd name="connsiteX3" fmla="*/ 88296 w 169293"/>
                <a:gd name="connsiteY3" fmla="*/ 80978 h 120487"/>
                <a:gd name="connsiteX4" fmla="*/ 71811 w 169293"/>
                <a:gd name="connsiteY4" fmla="*/ 90855 h 120487"/>
                <a:gd name="connsiteX5" fmla="*/ 66317 w 169293"/>
                <a:gd name="connsiteY5" fmla="*/ 109513 h 120487"/>
                <a:gd name="connsiteX6" fmla="*/ 93790 w 169293"/>
                <a:gd name="connsiteY6" fmla="*/ 117195 h 120487"/>
                <a:gd name="connsiteX7" fmla="*/ 116868 w 169293"/>
                <a:gd name="connsiteY7" fmla="*/ 120487 h 120487"/>
                <a:gd name="connsiteX8" fmla="*/ 128957 w 169293"/>
                <a:gd name="connsiteY8" fmla="*/ 101830 h 120487"/>
                <a:gd name="connsiteX9" fmla="*/ 139946 w 169293"/>
                <a:gd name="connsiteY9" fmla="*/ 87563 h 120487"/>
                <a:gd name="connsiteX10" fmla="*/ 154233 w 169293"/>
                <a:gd name="connsiteY10" fmla="*/ 61223 h 120487"/>
                <a:gd name="connsiteX11" fmla="*/ 168519 w 169293"/>
                <a:gd name="connsiteY11" fmla="*/ 37079 h 120487"/>
                <a:gd name="connsiteX12" fmla="*/ 145441 w 169293"/>
                <a:gd name="connsiteY12" fmla="*/ 40371 h 120487"/>
                <a:gd name="connsiteX13" fmla="*/ 143243 w 169293"/>
                <a:gd name="connsiteY13" fmla="*/ 22811 h 120487"/>
                <a:gd name="connsiteX14" fmla="*/ 133353 w 169293"/>
                <a:gd name="connsiteY14" fmla="*/ 3057 h 120487"/>
                <a:gd name="connsiteX15" fmla="*/ 102582 w 169293"/>
                <a:gd name="connsiteY15" fmla="*/ 14032 h 120487"/>
                <a:gd name="connsiteX16" fmla="*/ 90494 w 169293"/>
                <a:gd name="connsiteY16" fmla="*/ 16227 h 120487"/>
                <a:gd name="connsiteX17" fmla="*/ 74009 w 169293"/>
                <a:gd name="connsiteY17" fmla="*/ 7447 h 120487"/>
                <a:gd name="connsiteX18" fmla="*/ 59723 w 169293"/>
                <a:gd name="connsiteY18" fmla="*/ 6349 h 120487"/>
                <a:gd name="connsiteX19" fmla="*/ 39942 w 169293"/>
                <a:gd name="connsiteY19" fmla="*/ 8544 h 120487"/>
                <a:gd name="connsiteX20" fmla="*/ 16864 w 169293"/>
                <a:gd name="connsiteY20" fmla="*/ 8544 h 120487"/>
                <a:gd name="connsiteX21" fmla="*/ 1479 w 169293"/>
                <a:gd name="connsiteY21" fmla="*/ 25006 h 120487"/>
                <a:gd name="connsiteX22" fmla="*/ 5874 w 169293"/>
                <a:gd name="connsiteY22" fmla="*/ 42566 h 120487"/>
                <a:gd name="connsiteX23" fmla="*/ 11369 w 169293"/>
                <a:gd name="connsiteY23" fmla="*/ 59028 h 120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69293" h="120487">
                  <a:moveTo>
                    <a:pt x="11369" y="59028"/>
                  </a:moveTo>
                  <a:cubicBezTo>
                    <a:pt x="16864" y="64516"/>
                    <a:pt x="22359" y="55736"/>
                    <a:pt x="36645" y="61223"/>
                  </a:cubicBezTo>
                  <a:cubicBezTo>
                    <a:pt x="50931" y="65613"/>
                    <a:pt x="45437" y="73296"/>
                    <a:pt x="59723" y="78783"/>
                  </a:cubicBezTo>
                  <a:cubicBezTo>
                    <a:pt x="72910" y="84271"/>
                    <a:pt x="75108" y="78783"/>
                    <a:pt x="88296" y="80978"/>
                  </a:cubicBezTo>
                  <a:cubicBezTo>
                    <a:pt x="101483" y="83173"/>
                    <a:pt x="87197" y="91953"/>
                    <a:pt x="71811" y="90855"/>
                  </a:cubicBezTo>
                  <a:cubicBezTo>
                    <a:pt x="57525" y="89758"/>
                    <a:pt x="58624" y="101830"/>
                    <a:pt x="66317" y="109513"/>
                  </a:cubicBezTo>
                  <a:cubicBezTo>
                    <a:pt x="75108" y="118293"/>
                    <a:pt x="81702" y="115000"/>
                    <a:pt x="93790" y="117195"/>
                  </a:cubicBezTo>
                  <a:cubicBezTo>
                    <a:pt x="104780" y="117195"/>
                    <a:pt x="109176" y="119390"/>
                    <a:pt x="116868" y="120487"/>
                  </a:cubicBezTo>
                  <a:cubicBezTo>
                    <a:pt x="122363" y="120487"/>
                    <a:pt x="122363" y="107318"/>
                    <a:pt x="128957" y="101830"/>
                  </a:cubicBezTo>
                  <a:cubicBezTo>
                    <a:pt x="133353" y="96343"/>
                    <a:pt x="139946" y="100733"/>
                    <a:pt x="139946" y="87563"/>
                  </a:cubicBezTo>
                  <a:cubicBezTo>
                    <a:pt x="139946" y="74393"/>
                    <a:pt x="144342" y="62321"/>
                    <a:pt x="154233" y="61223"/>
                  </a:cubicBezTo>
                  <a:cubicBezTo>
                    <a:pt x="164123" y="60126"/>
                    <a:pt x="171816" y="48054"/>
                    <a:pt x="168519" y="37079"/>
                  </a:cubicBezTo>
                  <a:cubicBezTo>
                    <a:pt x="165222" y="26104"/>
                    <a:pt x="155332" y="35981"/>
                    <a:pt x="145441" y="40371"/>
                  </a:cubicBezTo>
                  <a:cubicBezTo>
                    <a:pt x="135551" y="44761"/>
                    <a:pt x="135551" y="32689"/>
                    <a:pt x="143243" y="22811"/>
                  </a:cubicBezTo>
                  <a:cubicBezTo>
                    <a:pt x="150936" y="11837"/>
                    <a:pt x="144342" y="10739"/>
                    <a:pt x="133353" y="3057"/>
                  </a:cubicBezTo>
                  <a:cubicBezTo>
                    <a:pt x="121264" y="-4626"/>
                    <a:pt x="105879" y="12934"/>
                    <a:pt x="102582" y="14032"/>
                  </a:cubicBezTo>
                  <a:cubicBezTo>
                    <a:pt x="102582" y="14032"/>
                    <a:pt x="100384" y="18422"/>
                    <a:pt x="90494" y="16227"/>
                  </a:cubicBezTo>
                  <a:cubicBezTo>
                    <a:pt x="81702" y="14032"/>
                    <a:pt x="79504" y="1959"/>
                    <a:pt x="74009" y="7447"/>
                  </a:cubicBezTo>
                  <a:cubicBezTo>
                    <a:pt x="69614" y="11837"/>
                    <a:pt x="68515" y="17324"/>
                    <a:pt x="59723" y="6349"/>
                  </a:cubicBezTo>
                  <a:cubicBezTo>
                    <a:pt x="50931" y="-5723"/>
                    <a:pt x="46536" y="1959"/>
                    <a:pt x="39942" y="8544"/>
                  </a:cubicBezTo>
                  <a:cubicBezTo>
                    <a:pt x="31150" y="16227"/>
                    <a:pt x="30051" y="11837"/>
                    <a:pt x="16864" y="8544"/>
                  </a:cubicBezTo>
                  <a:cubicBezTo>
                    <a:pt x="4775" y="4154"/>
                    <a:pt x="4775" y="18422"/>
                    <a:pt x="1479" y="25006"/>
                  </a:cubicBezTo>
                  <a:cubicBezTo>
                    <a:pt x="-2917" y="30494"/>
                    <a:pt x="3677" y="33786"/>
                    <a:pt x="5874" y="42566"/>
                  </a:cubicBezTo>
                  <a:cubicBezTo>
                    <a:pt x="4775" y="52444"/>
                    <a:pt x="5874" y="52444"/>
                    <a:pt x="11369" y="59028"/>
                  </a:cubicBezTo>
                  <a:close/>
                </a:path>
              </a:pathLst>
            </a:custGeom>
            <a:solidFill>
              <a:srgbClr val="DBD6D2"/>
            </a:solidFill>
            <a:ln w="54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DK" sz="2400"/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813B3388-3217-D087-47DE-E8614DB4F196}"/>
                </a:ext>
              </a:extLst>
            </p:cNvPr>
            <p:cNvSpPr/>
            <p:nvPr/>
          </p:nvSpPr>
          <p:spPr>
            <a:xfrm>
              <a:off x="4307696" y="-175286"/>
              <a:ext cx="138445" cy="125322"/>
            </a:xfrm>
            <a:custGeom>
              <a:avLst/>
              <a:gdLst>
                <a:gd name="connsiteX0" fmla="*/ 8976 w 138445"/>
                <a:gd name="connsiteY0" fmla="*/ 66634 h 125322"/>
                <a:gd name="connsiteX1" fmla="*/ 14470 w 138445"/>
                <a:gd name="connsiteY1" fmla="*/ 85292 h 125322"/>
                <a:gd name="connsiteX2" fmla="*/ 23262 w 138445"/>
                <a:gd name="connsiteY2" fmla="*/ 112729 h 125322"/>
                <a:gd name="connsiteX3" fmla="*/ 54033 w 138445"/>
                <a:gd name="connsiteY3" fmla="*/ 116021 h 125322"/>
                <a:gd name="connsiteX4" fmla="*/ 79309 w 138445"/>
                <a:gd name="connsiteY4" fmla="*/ 89681 h 125322"/>
                <a:gd name="connsiteX5" fmla="*/ 88100 w 138445"/>
                <a:gd name="connsiteY5" fmla="*/ 72122 h 125322"/>
                <a:gd name="connsiteX6" fmla="*/ 95793 w 138445"/>
                <a:gd name="connsiteY6" fmla="*/ 62244 h 125322"/>
                <a:gd name="connsiteX7" fmla="*/ 110079 w 138445"/>
                <a:gd name="connsiteY7" fmla="*/ 76512 h 125322"/>
                <a:gd name="connsiteX8" fmla="*/ 125464 w 138445"/>
                <a:gd name="connsiteY8" fmla="*/ 68829 h 125322"/>
                <a:gd name="connsiteX9" fmla="*/ 136454 w 138445"/>
                <a:gd name="connsiteY9" fmla="*/ 52367 h 125322"/>
                <a:gd name="connsiteX10" fmla="*/ 122168 w 138445"/>
                <a:gd name="connsiteY10" fmla="*/ 32612 h 125322"/>
                <a:gd name="connsiteX11" fmla="*/ 103485 w 138445"/>
                <a:gd name="connsiteY11" fmla="*/ 19443 h 125322"/>
                <a:gd name="connsiteX12" fmla="*/ 88100 w 138445"/>
                <a:gd name="connsiteY12" fmla="*/ 8468 h 125322"/>
                <a:gd name="connsiteX13" fmla="*/ 65022 w 138445"/>
                <a:gd name="connsiteY13" fmla="*/ 6273 h 125322"/>
                <a:gd name="connsiteX14" fmla="*/ 69418 w 138445"/>
                <a:gd name="connsiteY14" fmla="*/ 26027 h 125322"/>
                <a:gd name="connsiteX15" fmla="*/ 60626 w 138445"/>
                <a:gd name="connsiteY15" fmla="*/ 35905 h 125322"/>
                <a:gd name="connsiteX16" fmla="*/ 41944 w 138445"/>
                <a:gd name="connsiteY16" fmla="*/ 33710 h 125322"/>
                <a:gd name="connsiteX17" fmla="*/ 25460 w 138445"/>
                <a:gd name="connsiteY17" fmla="*/ 46880 h 125322"/>
                <a:gd name="connsiteX18" fmla="*/ 3481 w 138445"/>
                <a:gd name="connsiteY18" fmla="*/ 44685 h 125322"/>
                <a:gd name="connsiteX19" fmla="*/ 8976 w 138445"/>
                <a:gd name="connsiteY19" fmla="*/ 66634 h 1253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38445" h="125322">
                  <a:moveTo>
                    <a:pt x="8976" y="66634"/>
                  </a:moveTo>
                  <a:cubicBezTo>
                    <a:pt x="17767" y="71024"/>
                    <a:pt x="16668" y="84194"/>
                    <a:pt x="14470" y="85292"/>
                  </a:cubicBezTo>
                  <a:cubicBezTo>
                    <a:pt x="17767" y="98461"/>
                    <a:pt x="14470" y="99559"/>
                    <a:pt x="23262" y="112729"/>
                  </a:cubicBezTo>
                  <a:cubicBezTo>
                    <a:pt x="30955" y="125898"/>
                    <a:pt x="48538" y="131386"/>
                    <a:pt x="54033" y="116021"/>
                  </a:cubicBezTo>
                  <a:cubicBezTo>
                    <a:pt x="59527" y="101754"/>
                    <a:pt x="68319" y="94071"/>
                    <a:pt x="79309" y="89681"/>
                  </a:cubicBezTo>
                  <a:cubicBezTo>
                    <a:pt x="90298" y="85292"/>
                    <a:pt x="90298" y="80902"/>
                    <a:pt x="88100" y="72122"/>
                  </a:cubicBezTo>
                  <a:cubicBezTo>
                    <a:pt x="87001" y="62244"/>
                    <a:pt x="90298" y="55659"/>
                    <a:pt x="95793" y="62244"/>
                  </a:cubicBezTo>
                  <a:cubicBezTo>
                    <a:pt x="101288" y="69927"/>
                    <a:pt x="103485" y="77609"/>
                    <a:pt x="110079" y="76512"/>
                  </a:cubicBezTo>
                  <a:cubicBezTo>
                    <a:pt x="118871" y="75414"/>
                    <a:pt x="114475" y="72122"/>
                    <a:pt x="125464" y="68829"/>
                  </a:cubicBezTo>
                  <a:cubicBezTo>
                    <a:pt x="135355" y="65537"/>
                    <a:pt x="141949" y="63342"/>
                    <a:pt x="136454" y="52367"/>
                  </a:cubicBezTo>
                  <a:cubicBezTo>
                    <a:pt x="132058" y="41392"/>
                    <a:pt x="126563" y="40295"/>
                    <a:pt x="122168" y="32612"/>
                  </a:cubicBezTo>
                  <a:cubicBezTo>
                    <a:pt x="116673" y="23832"/>
                    <a:pt x="110079" y="20540"/>
                    <a:pt x="103485" y="19443"/>
                  </a:cubicBezTo>
                  <a:cubicBezTo>
                    <a:pt x="95793" y="17248"/>
                    <a:pt x="101288" y="13955"/>
                    <a:pt x="88100" y="8468"/>
                  </a:cubicBezTo>
                  <a:cubicBezTo>
                    <a:pt x="73814" y="4078"/>
                    <a:pt x="68319" y="-6897"/>
                    <a:pt x="65022" y="6273"/>
                  </a:cubicBezTo>
                  <a:cubicBezTo>
                    <a:pt x="61725" y="18345"/>
                    <a:pt x="69418" y="17248"/>
                    <a:pt x="69418" y="26027"/>
                  </a:cubicBezTo>
                  <a:cubicBezTo>
                    <a:pt x="69418" y="37002"/>
                    <a:pt x="68319" y="40295"/>
                    <a:pt x="60626" y="35905"/>
                  </a:cubicBezTo>
                  <a:cubicBezTo>
                    <a:pt x="51835" y="32612"/>
                    <a:pt x="48538" y="24930"/>
                    <a:pt x="41944" y="33710"/>
                  </a:cubicBezTo>
                  <a:cubicBezTo>
                    <a:pt x="36449" y="42490"/>
                    <a:pt x="30955" y="49075"/>
                    <a:pt x="25460" y="46880"/>
                  </a:cubicBezTo>
                  <a:cubicBezTo>
                    <a:pt x="19965" y="44685"/>
                    <a:pt x="10075" y="29320"/>
                    <a:pt x="3481" y="44685"/>
                  </a:cubicBezTo>
                  <a:cubicBezTo>
                    <a:pt x="-3113" y="61147"/>
                    <a:pt x="184" y="63342"/>
                    <a:pt x="8976" y="66634"/>
                  </a:cubicBezTo>
                  <a:close/>
                </a:path>
              </a:pathLst>
            </a:custGeom>
            <a:solidFill>
              <a:srgbClr val="DBD6D2"/>
            </a:solidFill>
            <a:ln w="54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DK" sz="2400"/>
            </a:p>
          </p:txBody>
        </p:sp>
        <p:sp>
          <p:nvSpPr>
            <p:cNvPr id="48" name="Freeform 47">
              <a:extLst>
                <a:ext uri="{FF2B5EF4-FFF2-40B4-BE49-F238E27FC236}">
                  <a16:creationId xmlns:a16="http://schemas.microsoft.com/office/drawing/2014/main" id="{6DE45391-9791-1E26-11C9-860536342306}"/>
                </a:ext>
              </a:extLst>
            </p:cNvPr>
            <p:cNvSpPr/>
            <p:nvPr/>
          </p:nvSpPr>
          <p:spPr>
            <a:xfrm>
              <a:off x="4331875" y="-509951"/>
              <a:ext cx="395479" cy="371992"/>
            </a:xfrm>
            <a:custGeom>
              <a:avLst/>
              <a:gdLst>
                <a:gd name="connsiteX0" fmla="*/ 32052 w 395479"/>
                <a:gd name="connsiteY0" fmla="*/ 305819 h 371992"/>
                <a:gd name="connsiteX1" fmla="*/ 59526 w 395479"/>
                <a:gd name="connsiteY1" fmla="*/ 315696 h 371992"/>
                <a:gd name="connsiteX2" fmla="*/ 90296 w 395479"/>
                <a:gd name="connsiteY2" fmla="*/ 343133 h 371992"/>
                <a:gd name="connsiteX3" fmla="*/ 112275 w 395479"/>
                <a:gd name="connsiteY3" fmla="*/ 368375 h 371992"/>
                <a:gd name="connsiteX4" fmla="*/ 130957 w 395479"/>
                <a:gd name="connsiteY4" fmla="*/ 370570 h 371992"/>
                <a:gd name="connsiteX5" fmla="*/ 148541 w 395479"/>
                <a:gd name="connsiteY5" fmla="*/ 343133 h 371992"/>
                <a:gd name="connsiteX6" fmla="*/ 129858 w 395479"/>
                <a:gd name="connsiteY6" fmla="*/ 294844 h 371992"/>
                <a:gd name="connsiteX7" fmla="*/ 149639 w 395479"/>
                <a:gd name="connsiteY7" fmla="*/ 302526 h 371992"/>
                <a:gd name="connsiteX8" fmla="*/ 163926 w 395479"/>
                <a:gd name="connsiteY8" fmla="*/ 340938 h 371992"/>
                <a:gd name="connsiteX9" fmla="*/ 177113 w 395479"/>
                <a:gd name="connsiteY9" fmla="*/ 371668 h 371992"/>
                <a:gd name="connsiteX10" fmla="*/ 201290 w 395479"/>
                <a:gd name="connsiteY10" fmla="*/ 360693 h 371992"/>
                <a:gd name="connsiteX11" fmla="*/ 229863 w 395479"/>
                <a:gd name="connsiteY11" fmla="*/ 344231 h 371992"/>
                <a:gd name="connsiteX12" fmla="*/ 203488 w 395479"/>
                <a:gd name="connsiteY12" fmla="*/ 315696 h 371992"/>
                <a:gd name="connsiteX13" fmla="*/ 226566 w 395479"/>
                <a:gd name="connsiteY13" fmla="*/ 308014 h 371992"/>
                <a:gd name="connsiteX14" fmla="*/ 255139 w 395479"/>
                <a:gd name="connsiteY14" fmla="*/ 317891 h 371992"/>
                <a:gd name="connsiteX15" fmla="*/ 260633 w 395479"/>
                <a:gd name="connsiteY15" fmla="*/ 294844 h 371992"/>
                <a:gd name="connsiteX16" fmla="*/ 272722 w 395479"/>
                <a:gd name="connsiteY16" fmla="*/ 268504 h 371992"/>
                <a:gd name="connsiteX17" fmla="*/ 243050 w 395479"/>
                <a:gd name="connsiteY17" fmla="*/ 254237 h 371992"/>
                <a:gd name="connsiteX18" fmla="*/ 200191 w 395479"/>
                <a:gd name="connsiteY18" fmla="*/ 261919 h 371992"/>
                <a:gd name="connsiteX19" fmla="*/ 170520 w 395479"/>
                <a:gd name="connsiteY19" fmla="*/ 279479 h 371992"/>
                <a:gd name="connsiteX20" fmla="*/ 182608 w 395479"/>
                <a:gd name="connsiteY20" fmla="*/ 253140 h 371992"/>
                <a:gd name="connsiteX21" fmla="*/ 250743 w 395479"/>
                <a:gd name="connsiteY21" fmla="*/ 235580 h 371992"/>
                <a:gd name="connsiteX22" fmla="*/ 278217 w 395479"/>
                <a:gd name="connsiteY22" fmla="*/ 231190 h 371992"/>
                <a:gd name="connsiteX23" fmla="*/ 294701 w 395479"/>
                <a:gd name="connsiteY23" fmla="*/ 208143 h 371992"/>
                <a:gd name="connsiteX24" fmla="*/ 308987 w 395479"/>
                <a:gd name="connsiteY24" fmla="*/ 198265 h 371992"/>
                <a:gd name="connsiteX25" fmla="*/ 329867 w 395479"/>
                <a:gd name="connsiteY25" fmla="*/ 220215 h 371992"/>
                <a:gd name="connsiteX26" fmla="*/ 368331 w 395479"/>
                <a:gd name="connsiteY26" fmla="*/ 201558 h 371992"/>
                <a:gd name="connsiteX27" fmla="*/ 377122 w 395479"/>
                <a:gd name="connsiteY27" fmla="*/ 166438 h 371992"/>
                <a:gd name="connsiteX28" fmla="*/ 338659 w 395479"/>
                <a:gd name="connsiteY28" fmla="*/ 183998 h 371992"/>
                <a:gd name="connsiteX29" fmla="*/ 321076 w 395479"/>
                <a:gd name="connsiteY29" fmla="*/ 186193 h 371992"/>
                <a:gd name="connsiteX30" fmla="*/ 310086 w 395479"/>
                <a:gd name="connsiteY30" fmla="*/ 178511 h 371992"/>
                <a:gd name="connsiteX31" fmla="*/ 323274 w 395479"/>
                <a:gd name="connsiteY31" fmla="*/ 159853 h 371992"/>
                <a:gd name="connsiteX32" fmla="*/ 345253 w 395479"/>
                <a:gd name="connsiteY32" fmla="*/ 144489 h 371992"/>
                <a:gd name="connsiteX33" fmla="*/ 367232 w 395479"/>
                <a:gd name="connsiteY33" fmla="*/ 124734 h 371992"/>
                <a:gd name="connsiteX34" fmla="*/ 381518 w 395479"/>
                <a:gd name="connsiteY34" fmla="*/ 100589 h 371992"/>
                <a:gd name="connsiteX35" fmla="*/ 380419 w 395479"/>
                <a:gd name="connsiteY35" fmla="*/ 83030 h 371992"/>
                <a:gd name="connsiteX36" fmla="*/ 394705 w 395479"/>
                <a:gd name="connsiteY36" fmla="*/ 52300 h 371992"/>
                <a:gd name="connsiteX37" fmla="*/ 387012 w 395479"/>
                <a:gd name="connsiteY37" fmla="*/ 25960 h 371992"/>
                <a:gd name="connsiteX38" fmla="*/ 368331 w 395479"/>
                <a:gd name="connsiteY38" fmla="*/ 1816 h 371992"/>
                <a:gd name="connsiteX39" fmla="*/ 340857 w 395479"/>
                <a:gd name="connsiteY39" fmla="*/ 27058 h 371992"/>
                <a:gd name="connsiteX40" fmla="*/ 259534 w 395479"/>
                <a:gd name="connsiteY40" fmla="*/ 57787 h 371992"/>
                <a:gd name="connsiteX41" fmla="*/ 229863 w 395479"/>
                <a:gd name="connsiteY41" fmla="*/ 73152 h 371992"/>
                <a:gd name="connsiteX42" fmla="*/ 194696 w 395479"/>
                <a:gd name="connsiteY42" fmla="*/ 81932 h 371992"/>
                <a:gd name="connsiteX43" fmla="*/ 165025 w 395479"/>
                <a:gd name="connsiteY43" fmla="*/ 94004 h 371992"/>
                <a:gd name="connsiteX44" fmla="*/ 148541 w 395479"/>
                <a:gd name="connsiteY44" fmla="*/ 126929 h 371992"/>
                <a:gd name="connsiteX45" fmla="*/ 157332 w 395479"/>
                <a:gd name="connsiteY45" fmla="*/ 153269 h 371992"/>
                <a:gd name="connsiteX46" fmla="*/ 172717 w 395479"/>
                <a:gd name="connsiteY46" fmla="*/ 171926 h 371992"/>
                <a:gd name="connsiteX47" fmla="*/ 147442 w 395479"/>
                <a:gd name="connsiteY47" fmla="*/ 162048 h 371992"/>
                <a:gd name="connsiteX48" fmla="*/ 123265 w 395479"/>
                <a:gd name="connsiteY48" fmla="*/ 154366 h 371992"/>
                <a:gd name="connsiteX49" fmla="*/ 107879 w 395479"/>
                <a:gd name="connsiteY49" fmla="*/ 181803 h 371992"/>
                <a:gd name="connsiteX50" fmla="*/ 103484 w 395479"/>
                <a:gd name="connsiteY50" fmla="*/ 205948 h 371992"/>
                <a:gd name="connsiteX51" fmla="*/ 94692 w 395479"/>
                <a:gd name="connsiteY51" fmla="*/ 160951 h 371992"/>
                <a:gd name="connsiteX52" fmla="*/ 105681 w 395479"/>
                <a:gd name="connsiteY52" fmla="*/ 142294 h 371992"/>
                <a:gd name="connsiteX53" fmla="*/ 83702 w 395479"/>
                <a:gd name="connsiteY53" fmla="*/ 128026 h 371992"/>
                <a:gd name="connsiteX54" fmla="*/ 71614 w 395479"/>
                <a:gd name="connsiteY54" fmla="*/ 114857 h 371992"/>
                <a:gd name="connsiteX55" fmla="*/ 51833 w 395479"/>
                <a:gd name="connsiteY55" fmla="*/ 114857 h 371992"/>
                <a:gd name="connsiteX56" fmla="*/ 47437 w 395479"/>
                <a:gd name="connsiteY56" fmla="*/ 146684 h 371992"/>
                <a:gd name="connsiteX57" fmla="*/ 30953 w 395479"/>
                <a:gd name="connsiteY57" fmla="*/ 159853 h 371992"/>
                <a:gd name="connsiteX58" fmla="*/ 22162 w 395479"/>
                <a:gd name="connsiteY58" fmla="*/ 181803 h 371992"/>
                <a:gd name="connsiteX59" fmla="*/ 16667 w 395479"/>
                <a:gd name="connsiteY59" fmla="*/ 205948 h 371992"/>
                <a:gd name="connsiteX60" fmla="*/ 21063 w 395479"/>
                <a:gd name="connsiteY60" fmla="*/ 228995 h 371992"/>
                <a:gd name="connsiteX61" fmla="*/ 46338 w 395479"/>
                <a:gd name="connsiteY61" fmla="*/ 220215 h 371992"/>
                <a:gd name="connsiteX62" fmla="*/ 34250 w 395479"/>
                <a:gd name="connsiteY62" fmla="*/ 242165 h 371992"/>
                <a:gd name="connsiteX63" fmla="*/ 59526 w 395479"/>
                <a:gd name="connsiteY63" fmla="*/ 243262 h 371992"/>
                <a:gd name="connsiteX64" fmla="*/ 61723 w 395479"/>
                <a:gd name="connsiteY64" fmla="*/ 259724 h 371992"/>
                <a:gd name="connsiteX65" fmla="*/ 21063 w 395479"/>
                <a:gd name="connsiteY65" fmla="*/ 264114 h 371992"/>
                <a:gd name="connsiteX66" fmla="*/ 3479 w 395479"/>
                <a:gd name="connsiteY66" fmla="*/ 289356 h 371992"/>
                <a:gd name="connsiteX67" fmla="*/ 32052 w 395479"/>
                <a:gd name="connsiteY67" fmla="*/ 305819 h 371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395479" h="371992">
                  <a:moveTo>
                    <a:pt x="32052" y="305819"/>
                  </a:moveTo>
                  <a:cubicBezTo>
                    <a:pt x="47437" y="308014"/>
                    <a:pt x="55130" y="301429"/>
                    <a:pt x="59526" y="315696"/>
                  </a:cubicBezTo>
                  <a:cubicBezTo>
                    <a:pt x="63921" y="328866"/>
                    <a:pt x="85900" y="332158"/>
                    <a:pt x="90296" y="343133"/>
                  </a:cubicBezTo>
                  <a:cubicBezTo>
                    <a:pt x="93593" y="355205"/>
                    <a:pt x="100187" y="363985"/>
                    <a:pt x="112275" y="368375"/>
                  </a:cubicBezTo>
                  <a:cubicBezTo>
                    <a:pt x="124364" y="371668"/>
                    <a:pt x="130957" y="370570"/>
                    <a:pt x="130957" y="370570"/>
                  </a:cubicBezTo>
                  <a:cubicBezTo>
                    <a:pt x="149639" y="376058"/>
                    <a:pt x="157332" y="356303"/>
                    <a:pt x="148541" y="343133"/>
                  </a:cubicBezTo>
                  <a:cubicBezTo>
                    <a:pt x="139749" y="331061"/>
                    <a:pt x="122166" y="305819"/>
                    <a:pt x="129858" y="294844"/>
                  </a:cubicBezTo>
                  <a:cubicBezTo>
                    <a:pt x="137551" y="283869"/>
                    <a:pt x="148541" y="286064"/>
                    <a:pt x="149639" y="302526"/>
                  </a:cubicBezTo>
                  <a:cubicBezTo>
                    <a:pt x="151837" y="317891"/>
                    <a:pt x="162827" y="317891"/>
                    <a:pt x="163926" y="340938"/>
                  </a:cubicBezTo>
                  <a:cubicBezTo>
                    <a:pt x="166124" y="365083"/>
                    <a:pt x="163926" y="373863"/>
                    <a:pt x="177113" y="371668"/>
                  </a:cubicBezTo>
                  <a:cubicBezTo>
                    <a:pt x="191400" y="369473"/>
                    <a:pt x="185905" y="357400"/>
                    <a:pt x="201290" y="360693"/>
                  </a:cubicBezTo>
                  <a:cubicBezTo>
                    <a:pt x="216675" y="363985"/>
                    <a:pt x="236457" y="357400"/>
                    <a:pt x="229863" y="344231"/>
                  </a:cubicBezTo>
                  <a:cubicBezTo>
                    <a:pt x="224368" y="331061"/>
                    <a:pt x="201290" y="327768"/>
                    <a:pt x="203488" y="315696"/>
                  </a:cubicBezTo>
                  <a:cubicBezTo>
                    <a:pt x="204587" y="304721"/>
                    <a:pt x="214478" y="303624"/>
                    <a:pt x="226566" y="308014"/>
                  </a:cubicBezTo>
                  <a:cubicBezTo>
                    <a:pt x="239753" y="313501"/>
                    <a:pt x="245248" y="324476"/>
                    <a:pt x="255139" y="317891"/>
                  </a:cubicBezTo>
                  <a:cubicBezTo>
                    <a:pt x="265029" y="309111"/>
                    <a:pt x="252941" y="303624"/>
                    <a:pt x="260633" y="294844"/>
                  </a:cubicBezTo>
                  <a:cubicBezTo>
                    <a:pt x="268326" y="286064"/>
                    <a:pt x="277118" y="283869"/>
                    <a:pt x="272722" y="268504"/>
                  </a:cubicBezTo>
                  <a:cubicBezTo>
                    <a:pt x="269425" y="253140"/>
                    <a:pt x="255139" y="254237"/>
                    <a:pt x="243050" y="254237"/>
                  </a:cubicBezTo>
                  <a:cubicBezTo>
                    <a:pt x="230962" y="254237"/>
                    <a:pt x="211181" y="254237"/>
                    <a:pt x="200191" y="261919"/>
                  </a:cubicBezTo>
                  <a:cubicBezTo>
                    <a:pt x="189202" y="267407"/>
                    <a:pt x="172717" y="287162"/>
                    <a:pt x="170520" y="279479"/>
                  </a:cubicBezTo>
                  <a:cubicBezTo>
                    <a:pt x="168322" y="270699"/>
                    <a:pt x="170520" y="264114"/>
                    <a:pt x="182608" y="253140"/>
                  </a:cubicBezTo>
                  <a:cubicBezTo>
                    <a:pt x="194696" y="242165"/>
                    <a:pt x="234259" y="235580"/>
                    <a:pt x="250743" y="235580"/>
                  </a:cubicBezTo>
                  <a:cubicBezTo>
                    <a:pt x="268326" y="236677"/>
                    <a:pt x="273821" y="239970"/>
                    <a:pt x="278217" y="231190"/>
                  </a:cubicBezTo>
                  <a:cubicBezTo>
                    <a:pt x="281513" y="220215"/>
                    <a:pt x="296899" y="215825"/>
                    <a:pt x="294701" y="208143"/>
                  </a:cubicBezTo>
                  <a:cubicBezTo>
                    <a:pt x="293602" y="199363"/>
                    <a:pt x="302394" y="183998"/>
                    <a:pt x="308987" y="198265"/>
                  </a:cubicBezTo>
                  <a:cubicBezTo>
                    <a:pt x="317779" y="211435"/>
                    <a:pt x="311185" y="222410"/>
                    <a:pt x="329867" y="220215"/>
                  </a:cubicBezTo>
                  <a:cubicBezTo>
                    <a:pt x="346352" y="218020"/>
                    <a:pt x="349648" y="218020"/>
                    <a:pt x="368331" y="201558"/>
                  </a:cubicBezTo>
                  <a:cubicBezTo>
                    <a:pt x="384815" y="183998"/>
                    <a:pt x="394705" y="165341"/>
                    <a:pt x="377122" y="166438"/>
                  </a:cubicBezTo>
                  <a:cubicBezTo>
                    <a:pt x="359539" y="168633"/>
                    <a:pt x="348549" y="179608"/>
                    <a:pt x="338659" y="183998"/>
                  </a:cubicBezTo>
                  <a:cubicBezTo>
                    <a:pt x="328768" y="187291"/>
                    <a:pt x="327669" y="188388"/>
                    <a:pt x="321076" y="186193"/>
                  </a:cubicBezTo>
                  <a:cubicBezTo>
                    <a:pt x="315581" y="185096"/>
                    <a:pt x="306789" y="188388"/>
                    <a:pt x="310086" y="178511"/>
                  </a:cubicBezTo>
                  <a:cubicBezTo>
                    <a:pt x="314482" y="169731"/>
                    <a:pt x="315581" y="173023"/>
                    <a:pt x="323274" y="159853"/>
                  </a:cubicBezTo>
                  <a:cubicBezTo>
                    <a:pt x="330966" y="146684"/>
                    <a:pt x="332065" y="156561"/>
                    <a:pt x="345253" y="144489"/>
                  </a:cubicBezTo>
                  <a:cubicBezTo>
                    <a:pt x="357341" y="132416"/>
                    <a:pt x="357341" y="134611"/>
                    <a:pt x="367232" y="124734"/>
                  </a:cubicBezTo>
                  <a:cubicBezTo>
                    <a:pt x="376023" y="112662"/>
                    <a:pt x="384815" y="110467"/>
                    <a:pt x="381518" y="100589"/>
                  </a:cubicBezTo>
                  <a:cubicBezTo>
                    <a:pt x="378221" y="90712"/>
                    <a:pt x="370528" y="97297"/>
                    <a:pt x="380419" y="83030"/>
                  </a:cubicBezTo>
                  <a:cubicBezTo>
                    <a:pt x="390310" y="68762"/>
                    <a:pt x="398002" y="65470"/>
                    <a:pt x="394705" y="52300"/>
                  </a:cubicBezTo>
                  <a:cubicBezTo>
                    <a:pt x="390310" y="40228"/>
                    <a:pt x="389211" y="46813"/>
                    <a:pt x="387012" y="25960"/>
                  </a:cubicBezTo>
                  <a:cubicBezTo>
                    <a:pt x="384815" y="7303"/>
                    <a:pt x="378221" y="-4769"/>
                    <a:pt x="368331" y="1816"/>
                  </a:cubicBezTo>
                  <a:cubicBezTo>
                    <a:pt x="357341" y="9498"/>
                    <a:pt x="351846" y="21571"/>
                    <a:pt x="340857" y="27058"/>
                  </a:cubicBezTo>
                  <a:cubicBezTo>
                    <a:pt x="330966" y="32545"/>
                    <a:pt x="272722" y="42423"/>
                    <a:pt x="259534" y="57787"/>
                  </a:cubicBezTo>
                  <a:cubicBezTo>
                    <a:pt x="247446" y="73152"/>
                    <a:pt x="243050" y="63275"/>
                    <a:pt x="229863" y="73152"/>
                  </a:cubicBezTo>
                  <a:cubicBezTo>
                    <a:pt x="216675" y="83030"/>
                    <a:pt x="211181" y="85225"/>
                    <a:pt x="194696" y="81932"/>
                  </a:cubicBezTo>
                  <a:cubicBezTo>
                    <a:pt x="179311" y="79737"/>
                    <a:pt x="179311" y="86322"/>
                    <a:pt x="165025" y="94004"/>
                  </a:cubicBezTo>
                  <a:cubicBezTo>
                    <a:pt x="150738" y="102784"/>
                    <a:pt x="147442" y="110467"/>
                    <a:pt x="148541" y="126929"/>
                  </a:cubicBezTo>
                  <a:cubicBezTo>
                    <a:pt x="149639" y="142294"/>
                    <a:pt x="147442" y="146684"/>
                    <a:pt x="157332" y="153269"/>
                  </a:cubicBezTo>
                  <a:cubicBezTo>
                    <a:pt x="166124" y="158756"/>
                    <a:pt x="184806" y="165341"/>
                    <a:pt x="172717" y="171926"/>
                  </a:cubicBezTo>
                  <a:cubicBezTo>
                    <a:pt x="160629" y="179608"/>
                    <a:pt x="159530" y="166438"/>
                    <a:pt x="147442" y="162048"/>
                  </a:cubicBezTo>
                  <a:cubicBezTo>
                    <a:pt x="134254" y="158756"/>
                    <a:pt x="134254" y="146684"/>
                    <a:pt x="123265" y="154366"/>
                  </a:cubicBezTo>
                  <a:cubicBezTo>
                    <a:pt x="112275" y="163146"/>
                    <a:pt x="105681" y="169731"/>
                    <a:pt x="107879" y="181803"/>
                  </a:cubicBezTo>
                  <a:cubicBezTo>
                    <a:pt x="110077" y="194973"/>
                    <a:pt x="115572" y="216923"/>
                    <a:pt x="103484" y="205948"/>
                  </a:cubicBezTo>
                  <a:cubicBezTo>
                    <a:pt x="92494" y="194973"/>
                    <a:pt x="86999" y="168633"/>
                    <a:pt x="94692" y="160951"/>
                  </a:cubicBezTo>
                  <a:cubicBezTo>
                    <a:pt x="103484" y="153269"/>
                    <a:pt x="121067" y="146684"/>
                    <a:pt x="105681" y="142294"/>
                  </a:cubicBezTo>
                  <a:cubicBezTo>
                    <a:pt x="90296" y="137904"/>
                    <a:pt x="83702" y="137904"/>
                    <a:pt x="83702" y="128026"/>
                  </a:cubicBezTo>
                  <a:cubicBezTo>
                    <a:pt x="83702" y="117052"/>
                    <a:pt x="78208" y="112662"/>
                    <a:pt x="71614" y="114857"/>
                  </a:cubicBezTo>
                  <a:cubicBezTo>
                    <a:pt x="67218" y="117052"/>
                    <a:pt x="61723" y="102784"/>
                    <a:pt x="51833" y="114857"/>
                  </a:cubicBezTo>
                  <a:cubicBezTo>
                    <a:pt x="39744" y="125831"/>
                    <a:pt x="48536" y="137904"/>
                    <a:pt x="47437" y="146684"/>
                  </a:cubicBezTo>
                  <a:cubicBezTo>
                    <a:pt x="47437" y="156561"/>
                    <a:pt x="39744" y="149976"/>
                    <a:pt x="30953" y="159853"/>
                  </a:cubicBezTo>
                  <a:cubicBezTo>
                    <a:pt x="19964" y="169731"/>
                    <a:pt x="21063" y="171926"/>
                    <a:pt x="22162" y="181803"/>
                  </a:cubicBezTo>
                  <a:cubicBezTo>
                    <a:pt x="23260" y="192778"/>
                    <a:pt x="14469" y="189485"/>
                    <a:pt x="16667" y="205948"/>
                  </a:cubicBezTo>
                  <a:cubicBezTo>
                    <a:pt x="16667" y="223507"/>
                    <a:pt x="4578" y="235580"/>
                    <a:pt x="21063" y="228995"/>
                  </a:cubicBezTo>
                  <a:cubicBezTo>
                    <a:pt x="38646" y="223507"/>
                    <a:pt x="49635" y="209240"/>
                    <a:pt x="46338" y="220215"/>
                  </a:cubicBezTo>
                  <a:cubicBezTo>
                    <a:pt x="43042" y="232287"/>
                    <a:pt x="26557" y="236677"/>
                    <a:pt x="34250" y="242165"/>
                  </a:cubicBezTo>
                  <a:cubicBezTo>
                    <a:pt x="43042" y="246555"/>
                    <a:pt x="45239" y="239970"/>
                    <a:pt x="59526" y="243262"/>
                  </a:cubicBezTo>
                  <a:cubicBezTo>
                    <a:pt x="72713" y="247652"/>
                    <a:pt x="74911" y="257529"/>
                    <a:pt x="61723" y="259724"/>
                  </a:cubicBezTo>
                  <a:cubicBezTo>
                    <a:pt x="48536" y="260822"/>
                    <a:pt x="33151" y="257529"/>
                    <a:pt x="21063" y="264114"/>
                  </a:cubicBezTo>
                  <a:cubicBezTo>
                    <a:pt x="10073" y="269602"/>
                    <a:pt x="-7510" y="277284"/>
                    <a:pt x="3479" y="289356"/>
                  </a:cubicBezTo>
                  <a:cubicBezTo>
                    <a:pt x="13370" y="302526"/>
                    <a:pt x="16667" y="302526"/>
                    <a:pt x="32052" y="305819"/>
                  </a:cubicBezTo>
                  <a:close/>
                </a:path>
              </a:pathLst>
            </a:custGeom>
            <a:solidFill>
              <a:srgbClr val="DBD6D2"/>
            </a:solidFill>
            <a:ln w="54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DK" sz="2400"/>
            </a:p>
          </p:txBody>
        </p:sp>
        <p:sp>
          <p:nvSpPr>
            <p:cNvPr id="49" name="Freeform 48">
              <a:extLst>
                <a:ext uri="{FF2B5EF4-FFF2-40B4-BE49-F238E27FC236}">
                  <a16:creationId xmlns:a16="http://schemas.microsoft.com/office/drawing/2014/main" id="{ACFE6AB9-AB5A-C06E-419F-78EBC102001F}"/>
                </a:ext>
              </a:extLst>
            </p:cNvPr>
            <p:cNvSpPr/>
            <p:nvPr/>
          </p:nvSpPr>
          <p:spPr>
            <a:xfrm>
              <a:off x="4422852" y="430431"/>
              <a:ext cx="62383" cy="88676"/>
            </a:xfrm>
            <a:custGeom>
              <a:avLst/>
              <a:gdLst>
                <a:gd name="connsiteX0" fmla="*/ 61959 w 62383"/>
                <a:gd name="connsiteY0" fmla="*/ 28315 h 88676"/>
                <a:gd name="connsiteX1" fmla="*/ 32288 w 62383"/>
                <a:gd name="connsiteY1" fmla="*/ 3073 h 88676"/>
                <a:gd name="connsiteX2" fmla="*/ 7012 w 62383"/>
                <a:gd name="connsiteY2" fmla="*/ 14048 h 88676"/>
                <a:gd name="connsiteX3" fmla="*/ 7012 w 62383"/>
                <a:gd name="connsiteY3" fmla="*/ 49167 h 88676"/>
                <a:gd name="connsiteX4" fmla="*/ 18001 w 62383"/>
                <a:gd name="connsiteY4" fmla="*/ 79897 h 88676"/>
                <a:gd name="connsiteX5" fmla="*/ 58662 w 62383"/>
                <a:gd name="connsiteY5" fmla="*/ 74409 h 88676"/>
                <a:gd name="connsiteX6" fmla="*/ 56465 w 62383"/>
                <a:gd name="connsiteY6" fmla="*/ 42582 h 88676"/>
                <a:gd name="connsiteX7" fmla="*/ 61959 w 62383"/>
                <a:gd name="connsiteY7" fmla="*/ 28315 h 88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383" h="88676">
                  <a:moveTo>
                    <a:pt x="61959" y="28315"/>
                  </a:moveTo>
                  <a:cubicBezTo>
                    <a:pt x="65256" y="23925"/>
                    <a:pt x="48772" y="14048"/>
                    <a:pt x="32288" y="3073"/>
                  </a:cubicBezTo>
                  <a:cubicBezTo>
                    <a:pt x="16902" y="-7902"/>
                    <a:pt x="7012" y="14048"/>
                    <a:pt x="7012" y="14048"/>
                  </a:cubicBezTo>
                  <a:cubicBezTo>
                    <a:pt x="-2879" y="31608"/>
                    <a:pt x="-1780" y="33802"/>
                    <a:pt x="7012" y="49167"/>
                  </a:cubicBezTo>
                  <a:cubicBezTo>
                    <a:pt x="14704" y="63435"/>
                    <a:pt x="4814" y="72214"/>
                    <a:pt x="18001" y="79897"/>
                  </a:cubicBezTo>
                  <a:cubicBezTo>
                    <a:pt x="31189" y="89774"/>
                    <a:pt x="54267" y="95262"/>
                    <a:pt x="58662" y="74409"/>
                  </a:cubicBezTo>
                  <a:cubicBezTo>
                    <a:pt x="64157" y="51362"/>
                    <a:pt x="61959" y="50265"/>
                    <a:pt x="56465" y="42582"/>
                  </a:cubicBezTo>
                  <a:cubicBezTo>
                    <a:pt x="50970" y="32705"/>
                    <a:pt x="58662" y="32705"/>
                    <a:pt x="61959" y="28315"/>
                  </a:cubicBezTo>
                  <a:close/>
                </a:path>
              </a:pathLst>
            </a:custGeom>
            <a:solidFill>
              <a:srgbClr val="DBD6D2"/>
            </a:solidFill>
            <a:ln w="54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DK" sz="2400"/>
            </a:p>
          </p:txBody>
        </p:sp>
        <p:sp>
          <p:nvSpPr>
            <p:cNvPr id="50" name="Freeform 49">
              <a:extLst>
                <a:ext uri="{FF2B5EF4-FFF2-40B4-BE49-F238E27FC236}">
                  <a16:creationId xmlns:a16="http://schemas.microsoft.com/office/drawing/2014/main" id="{3C7D6FFD-BE96-D32E-194A-E150E9C41AB1}"/>
                </a:ext>
              </a:extLst>
            </p:cNvPr>
            <p:cNvSpPr/>
            <p:nvPr/>
          </p:nvSpPr>
          <p:spPr>
            <a:xfrm>
              <a:off x="4368597" y="20991"/>
              <a:ext cx="359165" cy="463622"/>
            </a:xfrm>
            <a:custGeom>
              <a:avLst/>
              <a:gdLst>
                <a:gd name="connsiteX0" fmla="*/ 824 w 359165"/>
                <a:gd name="connsiteY0" fmla="*/ 164482 h 463622"/>
                <a:gd name="connsiteX1" fmla="*/ 40387 w 359165"/>
                <a:gd name="connsiteY1" fmla="*/ 209479 h 463622"/>
                <a:gd name="connsiteX2" fmla="*/ 60167 w 359165"/>
                <a:gd name="connsiteY2" fmla="*/ 179847 h 463622"/>
                <a:gd name="connsiteX3" fmla="*/ 87641 w 359165"/>
                <a:gd name="connsiteY3" fmla="*/ 185335 h 463622"/>
                <a:gd name="connsiteX4" fmla="*/ 98631 w 359165"/>
                <a:gd name="connsiteY4" fmla="*/ 197407 h 463622"/>
                <a:gd name="connsiteX5" fmla="*/ 111818 w 359165"/>
                <a:gd name="connsiteY5" fmla="*/ 219357 h 463622"/>
                <a:gd name="connsiteX6" fmla="*/ 117313 w 359165"/>
                <a:gd name="connsiteY6" fmla="*/ 242404 h 463622"/>
                <a:gd name="connsiteX7" fmla="*/ 87641 w 359165"/>
                <a:gd name="connsiteY7" fmla="*/ 239111 h 463622"/>
                <a:gd name="connsiteX8" fmla="*/ 98631 w 359165"/>
                <a:gd name="connsiteY8" fmla="*/ 287401 h 463622"/>
                <a:gd name="connsiteX9" fmla="*/ 106323 w 359165"/>
                <a:gd name="connsiteY9" fmla="*/ 318130 h 463622"/>
                <a:gd name="connsiteX10" fmla="*/ 122808 w 359165"/>
                <a:gd name="connsiteY10" fmla="*/ 329105 h 463622"/>
                <a:gd name="connsiteX11" fmla="*/ 130500 w 359165"/>
                <a:gd name="connsiteY11" fmla="*/ 356542 h 463622"/>
                <a:gd name="connsiteX12" fmla="*/ 174458 w 359165"/>
                <a:gd name="connsiteY12" fmla="*/ 364224 h 463622"/>
                <a:gd name="connsiteX13" fmla="*/ 192041 w 359165"/>
                <a:gd name="connsiteY13" fmla="*/ 343372 h 463622"/>
                <a:gd name="connsiteX14" fmla="*/ 193140 w 359165"/>
                <a:gd name="connsiteY14" fmla="*/ 380687 h 463622"/>
                <a:gd name="connsiteX15" fmla="*/ 210724 w 359165"/>
                <a:gd name="connsiteY15" fmla="*/ 368614 h 463622"/>
                <a:gd name="connsiteX16" fmla="*/ 226109 w 359165"/>
                <a:gd name="connsiteY16" fmla="*/ 341177 h 463622"/>
                <a:gd name="connsiteX17" fmla="*/ 237098 w 359165"/>
                <a:gd name="connsiteY17" fmla="*/ 329105 h 463622"/>
                <a:gd name="connsiteX18" fmla="*/ 240395 w 359165"/>
                <a:gd name="connsiteY18" fmla="*/ 367517 h 463622"/>
                <a:gd name="connsiteX19" fmla="*/ 265671 w 359165"/>
                <a:gd name="connsiteY19" fmla="*/ 362029 h 463622"/>
                <a:gd name="connsiteX20" fmla="*/ 271166 w 359165"/>
                <a:gd name="connsiteY20" fmla="*/ 378492 h 463622"/>
                <a:gd name="connsiteX21" fmla="*/ 229406 w 359165"/>
                <a:gd name="connsiteY21" fmla="*/ 398246 h 463622"/>
                <a:gd name="connsiteX22" fmla="*/ 201932 w 359165"/>
                <a:gd name="connsiteY22" fmla="*/ 439951 h 463622"/>
                <a:gd name="connsiteX23" fmla="*/ 211822 w 359165"/>
                <a:gd name="connsiteY23" fmla="*/ 461900 h 463622"/>
                <a:gd name="connsiteX24" fmla="*/ 244791 w 359165"/>
                <a:gd name="connsiteY24" fmla="*/ 454218 h 463622"/>
                <a:gd name="connsiteX25" fmla="*/ 273364 w 359165"/>
                <a:gd name="connsiteY25" fmla="*/ 436658 h 463622"/>
                <a:gd name="connsiteX26" fmla="*/ 289848 w 359165"/>
                <a:gd name="connsiteY26" fmla="*/ 390564 h 463622"/>
                <a:gd name="connsiteX27" fmla="*/ 303035 w 359165"/>
                <a:gd name="connsiteY27" fmla="*/ 389467 h 463622"/>
                <a:gd name="connsiteX28" fmla="*/ 333806 w 359165"/>
                <a:gd name="connsiteY28" fmla="*/ 387272 h 463622"/>
                <a:gd name="connsiteX29" fmla="*/ 344795 w 359165"/>
                <a:gd name="connsiteY29" fmla="*/ 362029 h 463622"/>
                <a:gd name="connsiteX30" fmla="*/ 353587 w 359165"/>
                <a:gd name="connsiteY30" fmla="*/ 329105 h 463622"/>
                <a:gd name="connsiteX31" fmla="*/ 317322 w 359165"/>
                <a:gd name="connsiteY31" fmla="*/ 323618 h 463622"/>
                <a:gd name="connsiteX32" fmla="*/ 286551 w 359165"/>
                <a:gd name="connsiteY32" fmla="*/ 326910 h 463622"/>
                <a:gd name="connsiteX33" fmla="*/ 262374 w 359165"/>
                <a:gd name="connsiteY33" fmla="*/ 318130 h 463622"/>
                <a:gd name="connsiteX34" fmla="*/ 245890 w 359165"/>
                <a:gd name="connsiteY34" fmla="*/ 298375 h 463622"/>
                <a:gd name="connsiteX35" fmla="*/ 226109 w 359165"/>
                <a:gd name="connsiteY35" fmla="*/ 293985 h 463622"/>
                <a:gd name="connsiteX36" fmla="*/ 223911 w 359165"/>
                <a:gd name="connsiteY36" fmla="*/ 272036 h 463622"/>
                <a:gd name="connsiteX37" fmla="*/ 198635 w 359165"/>
                <a:gd name="connsiteY37" fmla="*/ 272036 h 463622"/>
                <a:gd name="connsiteX38" fmla="*/ 209625 w 359165"/>
                <a:gd name="connsiteY38" fmla="*/ 255574 h 463622"/>
                <a:gd name="connsiteX39" fmla="*/ 214020 w 359165"/>
                <a:gd name="connsiteY39" fmla="*/ 205089 h 463622"/>
                <a:gd name="connsiteX40" fmla="*/ 199734 w 359165"/>
                <a:gd name="connsiteY40" fmla="*/ 185335 h 463622"/>
                <a:gd name="connsiteX41" fmla="*/ 225010 w 359165"/>
                <a:gd name="connsiteY41" fmla="*/ 176555 h 463622"/>
                <a:gd name="connsiteX42" fmla="*/ 228307 w 359165"/>
                <a:gd name="connsiteY42" fmla="*/ 151313 h 463622"/>
                <a:gd name="connsiteX43" fmla="*/ 233801 w 359165"/>
                <a:gd name="connsiteY43" fmla="*/ 78879 h 463622"/>
                <a:gd name="connsiteX44" fmla="*/ 214020 w 359165"/>
                <a:gd name="connsiteY44" fmla="*/ 43759 h 463622"/>
                <a:gd name="connsiteX45" fmla="*/ 203031 w 359165"/>
                <a:gd name="connsiteY45" fmla="*/ 11932 h 463622"/>
                <a:gd name="connsiteX46" fmla="*/ 175557 w 359165"/>
                <a:gd name="connsiteY46" fmla="*/ 8640 h 463622"/>
                <a:gd name="connsiteX47" fmla="*/ 153578 w 359165"/>
                <a:gd name="connsiteY47" fmla="*/ 27297 h 463622"/>
                <a:gd name="connsiteX48" fmla="*/ 151380 w 359165"/>
                <a:gd name="connsiteY48" fmla="*/ 53637 h 463622"/>
                <a:gd name="connsiteX49" fmla="*/ 153578 w 359165"/>
                <a:gd name="connsiteY49" fmla="*/ 78879 h 463622"/>
                <a:gd name="connsiteX50" fmla="*/ 143688 w 359165"/>
                <a:gd name="connsiteY50" fmla="*/ 106316 h 463622"/>
                <a:gd name="connsiteX51" fmla="*/ 157974 w 359165"/>
                <a:gd name="connsiteY51" fmla="*/ 144728 h 463622"/>
                <a:gd name="connsiteX52" fmla="*/ 140391 w 359165"/>
                <a:gd name="connsiteY52" fmla="*/ 122778 h 463622"/>
                <a:gd name="connsiteX53" fmla="*/ 118412 w 359165"/>
                <a:gd name="connsiteY53" fmla="*/ 133753 h 463622"/>
                <a:gd name="connsiteX54" fmla="*/ 110719 w 359165"/>
                <a:gd name="connsiteY54" fmla="*/ 113998 h 463622"/>
                <a:gd name="connsiteX55" fmla="*/ 82146 w 359165"/>
                <a:gd name="connsiteY55" fmla="*/ 72294 h 463622"/>
                <a:gd name="connsiteX56" fmla="*/ 72256 w 359165"/>
                <a:gd name="connsiteY56" fmla="*/ 29492 h 463622"/>
                <a:gd name="connsiteX57" fmla="*/ 52475 w 359165"/>
                <a:gd name="connsiteY57" fmla="*/ 56929 h 463622"/>
                <a:gd name="connsiteX58" fmla="*/ 50277 w 359165"/>
                <a:gd name="connsiteY58" fmla="*/ 81074 h 463622"/>
                <a:gd name="connsiteX59" fmla="*/ 67860 w 359165"/>
                <a:gd name="connsiteY59" fmla="*/ 103023 h 463622"/>
                <a:gd name="connsiteX60" fmla="*/ 56871 w 359165"/>
                <a:gd name="connsiteY60" fmla="*/ 130460 h 463622"/>
                <a:gd name="connsiteX61" fmla="*/ 31595 w 359165"/>
                <a:gd name="connsiteY61" fmla="*/ 99731 h 463622"/>
                <a:gd name="connsiteX62" fmla="*/ 9616 w 359165"/>
                <a:gd name="connsiteY62" fmla="*/ 110706 h 463622"/>
                <a:gd name="connsiteX63" fmla="*/ 7418 w 359165"/>
                <a:gd name="connsiteY63" fmla="*/ 141435 h 463622"/>
                <a:gd name="connsiteX64" fmla="*/ 824 w 359165"/>
                <a:gd name="connsiteY64" fmla="*/ 164482 h 463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359165" h="463622">
                  <a:moveTo>
                    <a:pt x="824" y="164482"/>
                  </a:moveTo>
                  <a:cubicBezTo>
                    <a:pt x="4121" y="177652"/>
                    <a:pt x="25001" y="220454"/>
                    <a:pt x="40387" y="209479"/>
                  </a:cubicBezTo>
                  <a:cubicBezTo>
                    <a:pt x="56871" y="199602"/>
                    <a:pt x="48079" y="173262"/>
                    <a:pt x="60167" y="179847"/>
                  </a:cubicBezTo>
                  <a:cubicBezTo>
                    <a:pt x="73355" y="185335"/>
                    <a:pt x="79948" y="187530"/>
                    <a:pt x="87641" y="185335"/>
                  </a:cubicBezTo>
                  <a:cubicBezTo>
                    <a:pt x="95334" y="183140"/>
                    <a:pt x="98631" y="185335"/>
                    <a:pt x="98631" y="197407"/>
                  </a:cubicBezTo>
                  <a:cubicBezTo>
                    <a:pt x="97532" y="209479"/>
                    <a:pt x="98631" y="213869"/>
                    <a:pt x="111818" y="219357"/>
                  </a:cubicBezTo>
                  <a:cubicBezTo>
                    <a:pt x="125005" y="223747"/>
                    <a:pt x="128302" y="248989"/>
                    <a:pt x="117313" y="242404"/>
                  </a:cubicBezTo>
                  <a:cubicBezTo>
                    <a:pt x="107422" y="233624"/>
                    <a:pt x="93136" y="223747"/>
                    <a:pt x="87641" y="239111"/>
                  </a:cubicBezTo>
                  <a:cubicBezTo>
                    <a:pt x="82146" y="254476"/>
                    <a:pt x="83245" y="272036"/>
                    <a:pt x="98631" y="287401"/>
                  </a:cubicBezTo>
                  <a:cubicBezTo>
                    <a:pt x="115115" y="301668"/>
                    <a:pt x="107422" y="306058"/>
                    <a:pt x="106323" y="318130"/>
                  </a:cubicBezTo>
                  <a:cubicBezTo>
                    <a:pt x="106323" y="331300"/>
                    <a:pt x="116214" y="321423"/>
                    <a:pt x="122808" y="329105"/>
                  </a:cubicBezTo>
                  <a:cubicBezTo>
                    <a:pt x="128302" y="334592"/>
                    <a:pt x="120610" y="353250"/>
                    <a:pt x="130500" y="356542"/>
                  </a:cubicBezTo>
                  <a:cubicBezTo>
                    <a:pt x="141490" y="359834"/>
                    <a:pt x="165667" y="396051"/>
                    <a:pt x="174458" y="364224"/>
                  </a:cubicBezTo>
                  <a:cubicBezTo>
                    <a:pt x="183250" y="333495"/>
                    <a:pt x="192041" y="329105"/>
                    <a:pt x="192041" y="343372"/>
                  </a:cubicBezTo>
                  <a:cubicBezTo>
                    <a:pt x="192041" y="356542"/>
                    <a:pt x="184349" y="378492"/>
                    <a:pt x="193140" y="380687"/>
                  </a:cubicBezTo>
                  <a:cubicBezTo>
                    <a:pt x="201932" y="381784"/>
                    <a:pt x="203031" y="371907"/>
                    <a:pt x="210724" y="368614"/>
                  </a:cubicBezTo>
                  <a:cubicBezTo>
                    <a:pt x="220614" y="364224"/>
                    <a:pt x="226109" y="354347"/>
                    <a:pt x="226109" y="341177"/>
                  </a:cubicBezTo>
                  <a:cubicBezTo>
                    <a:pt x="226109" y="329105"/>
                    <a:pt x="233801" y="310448"/>
                    <a:pt x="237098" y="329105"/>
                  </a:cubicBezTo>
                  <a:cubicBezTo>
                    <a:pt x="241494" y="346665"/>
                    <a:pt x="231604" y="362029"/>
                    <a:pt x="240395" y="367517"/>
                  </a:cubicBezTo>
                  <a:cubicBezTo>
                    <a:pt x="250286" y="371907"/>
                    <a:pt x="252484" y="359834"/>
                    <a:pt x="265671" y="362029"/>
                  </a:cubicBezTo>
                  <a:cubicBezTo>
                    <a:pt x="278858" y="362029"/>
                    <a:pt x="288749" y="371907"/>
                    <a:pt x="271166" y="378492"/>
                  </a:cubicBezTo>
                  <a:cubicBezTo>
                    <a:pt x="253583" y="383979"/>
                    <a:pt x="245890" y="377394"/>
                    <a:pt x="229406" y="398246"/>
                  </a:cubicBezTo>
                  <a:cubicBezTo>
                    <a:pt x="211822" y="420196"/>
                    <a:pt x="201932" y="427878"/>
                    <a:pt x="201932" y="439951"/>
                  </a:cubicBezTo>
                  <a:cubicBezTo>
                    <a:pt x="201932" y="452023"/>
                    <a:pt x="187646" y="458608"/>
                    <a:pt x="211822" y="461900"/>
                  </a:cubicBezTo>
                  <a:cubicBezTo>
                    <a:pt x="237098" y="464095"/>
                    <a:pt x="228307" y="466290"/>
                    <a:pt x="244791" y="454218"/>
                  </a:cubicBezTo>
                  <a:cubicBezTo>
                    <a:pt x="262374" y="441048"/>
                    <a:pt x="267869" y="457510"/>
                    <a:pt x="273364" y="436658"/>
                  </a:cubicBezTo>
                  <a:cubicBezTo>
                    <a:pt x="281056" y="413611"/>
                    <a:pt x="282155" y="394954"/>
                    <a:pt x="289848" y="390564"/>
                  </a:cubicBezTo>
                  <a:cubicBezTo>
                    <a:pt x="297541" y="386174"/>
                    <a:pt x="301936" y="389467"/>
                    <a:pt x="303035" y="389467"/>
                  </a:cubicBezTo>
                  <a:cubicBezTo>
                    <a:pt x="311827" y="388369"/>
                    <a:pt x="325014" y="394954"/>
                    <a:pt x="333806" y="387272"/>
                  </a:cubicBezTo>
                  <a:cubicBezTo>
                    <a:pt x="343696" y="378492"/>
                    <a:pt x="337103" y="376297"/>
                    <a:pt x="344795" y="362029"/>
                  </a:cubicBezTo>
                  <a:cubicBezTo>
                    <a:pt x="353587" y="348860"/>
                    <a:pt x="366774" y="340080"/>
                    <a:pt x="353587" y="329105"/>
                  </a:cubicBezTo>
                  <a:cubicBezTo>
                    <a:pt x="341499" y="317033"/>
                    <a:pt x="328311" y="318130"/>
                    <a:pt x="317322" y="323618"/>
                  </a:cubicBezTo>
                  <a:cubicBezTo>
                    <a:pt x="307431" y="328007"/>
                    <a:pt x="293145" y="321423"/>
                    <a:pt x="286551" y="326910"/>
                  </a:cubicBezTo>
                  <a:cubicBezTo>
                    <a:pt x="277759" y="332397"/>
                    <a:pt x="267869" y="335690"/>
                    <a:pt x="262374" y="318130"/>
                  </a:cubicBezTo>
                  <a:cubicBezTo>
                    <a:pt x="257978" y="302765"/>
                    <a:pt x="253583" y="300570"/>
                    <a:pt x="245890" y="298375"/>
                  </a:cubicBezTo>
                  <a:cubicBezTo>
                    <a:pt x="238197" y="296180"/>
                    <a:pt x="226109" y="293985"/>
                    <a:pt x="226109" y="293985"/>
                  </a:cubicBezTo>
                  <a:cubicBezTo>
                    <a:pt x="226109" y="293985"/>
                    <a:pt x="235999" y="277523"/>
                    <a:pt x="223911" y="272036"/>
                  </a:cubicBezTo>
                  <a:cubicBezTo>
                    <a:pt x="211822" y="268743"/>
                    <a:pt x="203031" y="283011"/>
                    <a:pt x="198635" y="272036"/>
                  </a:cubicBezTo>
                  <a:cubicBezTo>
                    <a:pt x="194239" y="259963"/>
                    <a:pt x="200833" y="259963"/>
                    <a:pt x="209625" y="255574"/>
                  </a:cubicBezTo>
                  <a:cubicBezTo>
                    <a:pt x="218416" y="250086"/>
                    <a:pt x="228307" y="213869"/>
                    <a:pt x="214020" y="205089"/>
                  </a:cubicBezTo>
                  <a:cubicBezTo>
                    <a:pt x="199734" y="195212"/>
                    <a:pt x="187646" y="188627"/>
                    <a:pt x="199734" y="185335"/>
                  </a:cubicBezTo>
                  <a:cubicBezTo>
                    <a:pt x="211822" y="182042"/>
                    <a:pt x="222812" y="188627"/>
                    <a:pt x="225010" y="176555"/>
                  </a:cubicBezTo>
                  <a:cubicBezTo>
                    <a:pt x="227208" y="164482"/>
                    <a:pt x="223911" y="173262"/>
                    <a:pt x="228307" y="151313"/>
                  </a:cubicBezTo>
                  <a:cubicBezTo>
                    <a:pt x="232703" y="128265"/>
                    <a:pt x="243692" y="95341"/>
                    <a:pt x="233801" y="78879"/>
                  </a:cubicBezTo>
                  <a:cubicBezTo>
                    <a:pt x="222812" y="62416"/>
                    <a:pt x="215119" y="55832"/>
                    <a:pt x="214020" y="43759"/>
                  </a:cubicBezTo>
                  <a:cubicBezTo>
                    <a:pt x="212921" y="31687"/>
                    <a:pt x="215119" y="21810"/>
                    <a:pt x="203031" y="11932"/>
                  </a:cubicBezTo>
                  <a:cubicBezTo>
                    <a:pt x="190942" y="957"/>
                    <a:pt x="185448" y="-6725"/>
                    <a:pt x="175557" y="8640"/>
                  </a:cubicBezTo>
                  <a:cubicBezTo>
                    <a:pt x="166766" y="24005"/>
                    <a:pt x="161271" y="21810"/>
                    <a:pt x="153578" y="27297"/>
                  </a:cubicBezTo>
                  <a:cubicBezTo>
                    <a:pt x="148083" y="34979"/>
                    <a:pt x="143688" y="37174"/>
                    <a:pt x="151380" y="53637"/>
                  </a:cubicBezTo>
                  <a:cubicBezTo>
                    <a:pt x="159073" y="69001"/>
                    <a:pt x="162370" y="59124"/>
                    <a:pt x="153578" y="78879"/>
                  </a:cubicBezTo>
                  <a:cubicBezTo>
                    <a:pt x="145885" y="96438"/>
                    <a:pt x="138193" y="96438"/>
                    <a:pt x="143688" y="106316"/>
                  </a:cubicBezTo>
                  <a:cubicBezTo>
                    <a:pt x="151380" y="116193"/>
                    <a:pt x="170062" y="144728"/>
                    <a:pt x="157974" y="144728"/>
                  </a:cubicBezTo>
                  <a:cubicBezTo>
                    <a:pt x="146984" y="143630"/>
                    <a:pt x="148083" y="128265"/>
                    <a:pt x="140391" y="122778"/>
                  </a:cubicBezTo>
                  <a:cubicBezTo>
                    <a:pt x="130500" y="118388"/>
                    <a:pt x="128302" y="138143"/>
                    <a:pt x="118412" y="133753"/>
                  </a:cubicBezTo>
                  <a:cubicBezTo>
                    <a:pt x="108521" y="129363"/>
                    <a:pt x="106323" y="122778"/>
                    <a:pt x="110719" y="113998"/>
                  </a:cubicBezTo>
                  <a:cubicBezTo>
                    <a:pt x="114016" y="105218"/>
                    <a:pt x="84344" y="96438"/>
                    <a:pt x="82146" y="72294"/>
                  </a:cubicBezTo>
                  <a:cubicBezTo>
                    <a:pt x="79948" y="47052"/>
                    <a:pt x="83245" y="32784"/>
                    <a:pt x="72256" y="29492"/>
                  </a:cubicBezTo>
                  <a:cubicBezTo>
                    <a:pt x="61266" y="26200"/>
                    <a:pt x="54673" y="49247"/>
                    <a:pt x="52475" y="56929"/>
                  </a:cubicBezTo>
                  <a:cubicBezTo>
                    <a:pt x="50277" y="65709"/>
                    <a:pt x="33793" y="65709"/>
                    <a:pt x="50277" y="81074"/>
                  </a:cubicBezTo>
                  <a:cubicBezTo>
                    <a:pt x="66761" y="96438"/>
                    <a:pt x="81047" y="94243"/>
                    <a:pt x="67860" y="103023"/>
                  </a:cubicBezTo>
                  <a:cubicBezTo>
                    <a:pt x="54673" y="110706"/>
                    <a:pt x="68959" y="131558"/>
                    <a:pt x="56871" y="130460"/>
                  </a:cubicBezTo>
                  <a:cubicBezTo>
                    <a:pt x="44782" y="129363"/>
                    <a:pt x="43683" y="99731"/>
                    <a:pt x="31595" y="99731"/>
                  </a:cubicBezTo>
                  <a:cubicBezTo>
                    <a:pt x="19506" y="99731"/>
                    <a:pt x="7418" y="95341"/>
                    <a:pt x="9616" y="110706"/>
                  </a:cubicBezTo>
                  <a:cubicBezTo>
                    <a:pt x="10715" y="127168"/>
                    <a:pt x="17309" y="121681"/>
                    <a:pt x="7418" y="141435"/>
                  </a:cubicBezTo>
                  <a:cubicBezTo>
                    <a:pt x="824" y="155703"/>
                    <a:pt x="-1374" y="152410"/>
                    <a:pt x="824" y="164482"/>
                  </a:cubicBezTo>
                  <a:close/>
                </a:path>
              </a:pathLst>
            </a:custGeom>
            <a:solidFill>
              <a:srgbClr val="DBD6D2"/>
            </a:solidFill>
            <a:ln w="54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DK" sz="2400"/>
            </a:p>
          </p:txBody>
        </p:sp>
        <p:sp>
          <p:nvSpPr>
            <p:cNvPr id="51" name="Freeform 50">
              <a:extLst>
                <a:ext uri="{FF2B5EF4-FFF2-40B4-BE49-F238E27FC236}">
                  <a16:creationId xmlns:a16="http://schemas.microsoft.com/office/drawing/2014/main" id="{140D1C08-59BB-4011-7806-62AC92C8A625}"/>
                </a:ext>
              </a:extLst>
            </p:cNvPr>
            <p:cNvSpPr/>
            <p:nvPr/>
          </p:nvSpPr>
          <p:spPr>
            <a:xfrm>
              <a:off x="5514101" y="4931712"/>
              <a:ext cx="193591" cy="133050"/>
            </a:xfrm>
            <a:custGeom>
              <a:avLst/>
              <a:gdLst>
                <a:gd name="connsiteX0" fmla="*/ 42186 w 193591"/>
                <a:gd name="connsiteY0" fmla="*/ 78299 h 133050"/>
                <a:gd name="connsiteX1" fmla="*/ 61967 w 193591"/>
                <a:gd name="connsiteY1" fmla="*/ 110125 h 133050"/>
                <a:gd name="connsiteX2" fmla="*/ 93836 w 193591"/>
                <a:gd name="connsiteY2" fmla="*/ 127685 h 133050"/>
                <a:gd name="connsiteX3" fmla="*/ 129002 w 193591"/>
                <a:gd name="connsiteY3" fmla="*/ 127685 h 133050"/>
                <a:gd name="connsiteX4" fmla="*/ 146585 w 193591"/>
                <a:gd name="connsiteY4" fmla="*/ 99151 h 133050"/>
                <a:gd name="connsiteX5" fmla="*/ 163070 w 193591"/>
                <a:gd name="connsiteY5" fmla="*/ 83786 h 133050"/>
                <a:gd name="connsiteX6" fmla="*/ 187247 w 193591"/>
                <a:gd name="connsiteY6" fmla="*/ 69519 h 133050"/>
                <a:gd name="connsiteX7" fmla="*/ 187247 w 193591"/>
                <a:gd name="connsiteY7" fmla="*/ 32204 h 133050"/>
                <a:gd name="connsiteX8" fmla="*/ 126804 w 193591"/>
                <a:gd name="connsiteY8" fmla="*/ 12450 h 133050"/>
                <a:gd name="connsiteX9" fmla="*/ 90539 w 193591"/>
                <a:gd name="connsiteY9" fmla="*/ 2572 h 133050"/>
                <a:gd name="connsiteX10" fmla="*/ 70758 w 193591"/>
                <a:gd name="connsiteY10" fmla="*/ 16839 h 133050"/>
                <a:gd name="connsiteX11" fmla="*/ 54274 w 193591"/>
                <a:gd name="connsiteY11" fmla="*/ 19035 h 133050"/>
                <a:gd name="connsiteX12" fmla="*/ 22404 w 193591"/>
                <a:gd name="connsiteY12" fmla="*/ 28912 h 133050"/>
                <a:gd name="connsiteX13" fmla="*/ 425 w 193591"/>
                <a:gd name="connsiteY13" fmla="*/ 42082 h 133050"/>
                <a:gd name="connsiteX14" fmla="*/ 13613 w 193591"/>
                <a:gd name="connsiteY14" fmla="*/ 66226 h 133050"/>
                <a:gd name="connsiteX15" fmla="*/ 42186 w 193591"/>
                <a:gd name="connsiteY15" fmla="*/ 78299 h 133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93591" h="133050">
                  <a:moveTo>
                    <a:pt x="42186" y="78299"/>
                  </a:moveTo>
                  <a:cubicBezTo>
                    <a:pt x="47680" y="93663"/>
                    <a:pt x="49878" y="96956"/>
                    <a:pt x="61967" y="110125"/>
                  </a:cubicBezTo>
                  <a:cubicBezTo>
                    <a:pt x="74055" y="124393"/>
                    <a:pt x="93836" y="127685"/>
                    <a:pt x="93836" y="127685"/>
                  </a:cubicBezTo>
                  <a:cubicBezTo>
                    <a:pt x="97133" y="127685"/>
                    <a:pt x="115815" y="139758"/>
                    <a:pt x="129002" y="127685"/>
                  </a:cubicBezTo>
                  <a:cubicBezTo>
                    <a:pt x="142190" y="115613"/>
                    <a:pt x="141091" y="109028"/>
                    <a:pt x="146585" y="99151"/>
                  </a:cubicBezTo>
                  <a:cubicBezTo>
                    <a:pt x="152080" y="89273"/>
                    <a:pt x="152080" y="88176"/>
                    <a:pt x="163070" y="83786"/>
                  </a:cubicBezTo>
                  <a:cubicBezTo>
                    <a:pt x="174059" y="79396"/>
                    <a:pt x="180653" y="88176"/>
                    <a:pt x="187247" y="69519"/>
                  </a:cubicBezTo>
                  <a:cubicBezTo>
                    <a:pt x="192741" y="50861"/>
                    <a:pt x="198236" y="30009"/>
                    <a:pt x="187247" y="32204"/>
                  </a:cubicBezTo>
                  <a:cubicBezTo>
                    <a:pt x="176257" y="33302"/>
                    <a:pt x="142190" y="22327"/>
                    <a:pt x="126804" y="12450"/>
                  </a:cubicBezTo>
                  <a:cubicBezTo>
                    <a:pt x="111419" y="377"/>
                    <a:pt x="97133" y="-2915"/>
                    <a:pt x="90539" y="2572"/>
                  </a:cubicBezTo>
                  <a:cubicBezTo>
                    <a:pt x="85045" y="8060"/>
                    <a:pt x="76253" y="15742"/>
                    <a:pt x="70758" y="16839"/>
                  </a:cubicBezTo>
                  <a:cubicBezTo>
                    <a:pt x="63066" y="17937"/>
                    <a:pt x="68560" y="14645"/>
                    <a:pt x="54274" y="19035"/>
                  </a:cubicBezTo>
                  <a:cubicBezTo>
                    <a:pt x="39988" y="23424"/>
                    <a:pt x="31196" y="22327"/>
                    <a:pt x="22404" y="28912"/>
                  </a:cubicBezTo>
                  <a:cubicBezTo>
                    <a:pt x="12514" y="36594"/>
                    <a:pt x="3722" y="27814"/>
                    <a:pt x="425" y="42082"/>
                  </a:cubicBezTo>
                  <a:cubicBezTo>
                    <a:pt x="-673" y="55251"/>
                    <a:pt x="-673" y="60739"/>
                    <a:pt x="13613" y="66226"/>
                  </a:cubicBezTo>
                  <a:cubicBezTo>
                    <a:pt x="27899" y="70616"/>
                    <a:pt x="37790" y="62934"/>
                    <a:pt x="42186" y="78299"/>
                  </a:cubicBezTo>
                  <a:close/>
                </a:path>
              </a:pathLst>
            </a:custGeom>
            <a:solidFill>
              <a:srgbClr val="DBD6D2"/>
            </a:solidFill>
            <a:ln w="54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DK" sz="2400"/>
            </a:p>
          </p:txBody>
        </p:sp>
        <p:sp>
          <p:nvSpPr>
            <p:cNvPr id="52" name="Freeform 51">
              <a:extLst>
                <a:ext uri="{FF2B5EF4-FFF2-40B4-BE49-F238E27FC236}">
                  <a16:creationId xmlns:a16="http://schemas.microsoft.com/office/drawing/2014/main" id="{543CD937-0968-8C21-A4D4-E53920444FEE}"/>
                </a:ext>
              </a:extLst>
            </p:cNvPr>
            <p:cNvSpPr/>
            <p:nvPr/>
          </p:nvSpPr>
          <p:spPr>
            <a:xfrm>
              <a:off x="4601241" y="2306648"/>
              <a:ext cx="225369" cy="231949"/>
            </a:xfrm>
            <a:custGeom>
              <a:avLst/>
              <a:gdLst>
                <a:gd name="connsiteX0" fmla="*/ 208859 w 225369"/>
                <a:gd name="connsiteY0" fmla="*/ 4650 h 231949"/>
                <a:gd name="connsiteX1" fmla="*/ 141823 w 225369"/>
                <a:gd name="connsiteY1" fmla="*/ 54037 h 231949"/>
                <a:gd name="connsiteX2" fmla="*/ 114350 w 225369"/>
                <a:gd name="connsiteY2" fmla="*/ 82571 h 231949"/>
                <a:gd name="connsiteX3" fmla="*/ 60501 w 225369"/>
                <a:gd name="connsiteY3" fmla="*/ 107814 h 231949"/>
                <a:gd name="connsiteX4" fmla="*/ 31928 w 225369"/>
                <a:gd name="connsiteY4" fmla="*/ 161590 h 231949"/>
                <a:gd name="connsiteX5" fmla="*/ 59 w 225369"/>
                <a:gd name="connsiteY5" fmla="*/ 220854 h 231949"/>
                <a:gd name="connsiteX6" fmla="*/ 42918 w 225369"/>
                <a:gd name="connsiteY6" fmla="*/ 216464 h 231949"/>
                <a:gd name="connsiteX7" fmla="*/ 82480 w 225369"/>
                <a:gd name="connsiteY7" fmla="*/ 214269 h 231949"/>
                <a:gd name="connsiteX8" fmla="*/ 130834 w 225369"/>
                <a:gd name="connsiteY8" fmla="*/ 194515 h 231949"/>
                <a:gd name="connsiteX9" fmla="*/ 159407 w 225369"/>
                <a:gd name="connsiteY9" fmla="*/ 162688 h 231949"/>
                <a:gd name="connsiteX10" fmla="*/ 181385 w 225369"/>
                <a:gd name="connsiteY10" fmla="*/ 123178 h 231949"/>
                <a:gd name="connsiteX11" fmla="*/ 224244 w 225369"/>
                <a:gd name="connsiteY11" fmla="*/ 94644 h 231949"/>
                <a:gd name="connsiteX12" fmla="*/ 214354 w 225369"/>
                <a:gd name="connsiteY12" fmla="*/ 55134 h 231949"/>
                <a:gd name="connsiteX13" fmla="*/ 208859 w 225369"/>
                <a:gd name="connsiteY13" fmla="*/ 4650 h 231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25369" h="231949">
                  <a:moveTo>
                    <a:pt x="208859" y="4650"/>
                  </a:moveTo>
                  <a:cubicBezTo>
                    <a:pt x="190177" y="-15105"/>
                    <a:pt x="150615" y="33185"/>
                    <a:pt x="141823" y="54037"/>
                  </a:cubicBezTo>
                  <a:cubicBezTo>
                    <a:pt x="134130" y="73791"/>
                    <a:pt x="119844" y="73791"/>
                    <a:pt x="114350" y="82571"/>
                  </a:cubicBezTo>
                  <a:cubicBezTo>
                    <a:pt x="106657" y="91351"/>
                    <a:pt x="78084" y="101229"/>
                    <a:pt x="60501" y="107814"/>
                  </a:cubicBezTo>
                  <a:cubicBezTo>
                    <a:pt x="41819" y="113301"/>
                    <a:pt x="47314" y="126471"/>
                    <a:pt x="31928" y="161590"/>
                  </a:cubicBezTo>
                  <a:cubicBezTo>
                    <a:pt x="16543" y="196710"/>
                    <a:pt x="2257" y="196710"/>
                    <a:pt x="59" y="220854"/>
                  </a:cubicBezTo>
                  <a:cubicBezTo>
                    <a:pt x="-1040" y="247194"/>
                    <a:pt x="13246" y="218659"/>
                    <a:pt x="42918" y="216464"/>
                  </a:cubicBezTo>
                  <a:cubicBezTo>
                    <a:pt x="72589" y="215367"/>
                    <a:pt x="68194" y="225244"/>
                    <a:pt x="82480" y="214269"/>
                  </a:cubicBezTo>
                  <a:cubicBezTo>
                    <a:pt x="96766" y="202197"/>
                    <a:pt x="103360" y="201100"/>
                    <a:pt x="130834" y="194515"/>
                  </a:cubicBezTo>
                  <a:cubicBezTo>
                    <a:pt x="157208" y="185735"/>
                    <a:pt x="155010" y="180248"/>
                    <a:pt x="159407" y="162688"/>
                  </a:cubicBezTo>
                  <a:cubicBezTo>
                    <a:pt x="163802" y="146225"/>
                    <a:pt x="170396" y="144031"/>
                    <a:pt x="181385" y="123178"/>
                  </a:cubicBezTo>
                  <a:cubicBezTo>
                    <a:pt x="192375" y="103424"/>
                    <a:pt x="218750" y="113301"/>
                    <a:pt x="224244" y="94644"/>
                  </a:cubicBezTo>
                  <a:cubicBezTo>
                    <a:pt x="229739" y="75987"/>
                    <a:pt x="213255" y="82571"/>
                    <a:pt x="214354" y="55134"/>
                  </a:cubicBezTo>
                  <a:cubicBezTo>
                    <a:pt x="214354" y="54037"/>
                    <a:pt x="228640" y="25502"/>
                    <a:pt x="208859" y="4650"/>
                  </a:cubicBezTo>
                  <a:close/>
                </a:path>
              </a:pathLst>
            </a:custGeom>
            <a:solidFill>
              <a:srgbClr val="DBD6D2"/>
            </a:solidFill>
            <a:ln w="54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DK" sz="2400"/>
            </a:p>
          </p:txBody>
        </p:sp>
        <p:sp>
          <p:nvSpPr>
            <p:cNvPr id="53" name="Freeform 52">
              <a:extLst>
                <a:ext uri="{FF2B5EF4-FFF2-40B4-BE49-F238E27FC236}">
                  <a16:creationId xmlns:a16="http://schemas.microsoft.com/office/drawing/2014/main" id="{3F4B835C-CD35-A10F-045D-3E818AE57F14}"/>
                </a:ext>
              </a:extLst>
            </p:cNvPr>
            <p:cNvSpPr/>
            <p:nvPr/>
          </p:nvSpPr>
          <p:spPr>
            <a:xfrm>
              <a:off x="4132697" y="729108"/>
              <a:ext cx="101144" cy="66982"/>
            </a:xfrm>
            <a:custGeom>
              <a:avLst/>
              <a:gdLst>
                <a:gd name="connsiteX0" fmla="*/ 1549 w 101144"/>
                <a:gd name="connsiteY0" fmla="*/ 32544 h 66982"/>
                <a:gd name="connsiteX1" fmla="*/ 16934 w 101144"/>
                <a:gd name="connsiteY1" fmla="*/ 59981 h 66982"/>
                <a:gd name="connsiteX2" fmla="*/ 46606 w 101144"/>
                <a:gd name="connsiteY2" fmla="*/ 56688 h 66982"/>
                <a:gd name="connsiteX3" fmla="*/ 64189 w 101144"/>
                <a:gd name="connsiteY3" fmla="*/ 32544 h 66982"/>
                <a:gd name="connsiteX4" fmla="*/ 85069 w 101144"/>
                <a:gd name="connsiteY4" fmla="*/ 20471 h 66982"/>
                <a:gd name="connsiteX5" fmla="*/ 97157 w 101144"/>
                <a:gd name="connsiteY5" fmla="*/ 1814 h 66982"/>
                <a:gd name="connsiteX6" fmla="*/ 67486 w 101144"/>
                <a:gd name="connsiteY6" fmla="*/ 717 h 66982"/>
                <a:gd name="connsiteX7" fmla="*/ 19132 w 101144"/>
                <a:gd name="connsiteY7" fmla="*/ 8399 h 66982"/>
                <a:gd name="connsiteX8" fmla="*/ 1549 w 101144"/>
                <a:gd name="connsiteY8" fmla="*/ 32544 h 66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1144" h="66982">
                  <a:moveTo>
                    <a:pt x="1549" y="32544"/>
                  </a:moveTo>
                  <a:cubicBezTo>
                    <a:pt x="7044" y="44616"/>
                    <a:pt x="7044" y="51201"/>
                    <a:pt x="16934" y="59981"/>
                  </a:cubicBezTo>
                  <a:cubicBezTo>
                    <a:pt x="27924" y="67663"/>
                    <a:pt x="41111" y="72053"/>
                    <a:pt x="46606" y="56688"/>
                  </a:cubicBezTo>
                  <a:cubicBezTo>
                    <a:pt x="51002" y="42421"/>
                    <a:pt x="56497" y="38031"/>
                    <a:pt x="64189" y="32544"/>
                  </a:cubicBezTo>
                  <a:cubicBezTo>
                    <a:pt x="72981" y="28154"/>
                    <a:pt x="76278" y="20471"/>
                    <a:pt x="85069" y="20471"/>
                  </a:cubicBezTo>
                  <a:cubicBezTo>
                    <a:pt x="93861" y="19374"/>
                    <a:pt x="108147" y="5107"/>
                    <a:pt x="97157" y="1814"/>
                  </a:cubicBezTo>
                  <a:cubicBezTo>
                    <a:pt x="86168" y="-1478"/>
                    <a:pt x="67486" y="717"/>
                    <a:pt x="67486" y="717"/>
                  </a:cubicBezTo>
                  <a:cubicBezTo>
                    <a:pt x="43309" y="6204"/>
                    <a:pt x="34518" y="1814"/>
                    <a:pt x="19132" y="8399"/>
                  </a:cubicBezTo>
                  <a:cubicBezTo>
                    <a:pt x="5945" y="13886"/>
                    <a:pt x="-3946" y="20471"/>
                    <a:pt x="1549" y="32544"/>
                  </a:cubicBezTo>
                  <a:close/>
                </a:path>
              </a:pathLst>
            </a:custGeom>
            <a:solidFill>
              <a:srgbClr val="DBD6D2"/>
            </a:solidFill>
            <a:ln w="54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DK" sz="2400"/>
            </a:p>
          </p:txBody>
        </p:sp>
        <p:sp>
          <p:nvSpPr>
            <p:cNvPr id="54" name="Freeform 53">
              <a:extLst>
                <a:ext uri="{FF2B5EF4-FFF2-40B4-BE49-F238E27FC236}">
                  <a16:creationId xmlns:a16="http://schemas.microsoft.com/office/drawing/2014/main" id="{8DAE949F-2DA9-ED33-694A-C5733B6882CD}"/>
                </a:ext>
              </a:extLst>
            </p:cNvPr>
            <p:cNvSpPr/>
            <p:nvPr/>
          </p:nvSpPr>
          <p:spPr>
            <a:xfrm>
              <a:off x="4591409" y="1391341"/>
              <a:ext cx="111083" cy="198319"/>
            </a:xfrm>
            <a:custGeom>
              <a:avLst/>
              <a:gdLst>
                <a:gd name="connsiteX0" fmla="*/ 76926 w 111083"/>
                <a:gd name="connsiteY0" fmla="*/ 266 h 198319"/>
                <a:gd name="connsiteX1" fmla="*/ 35167 w 111083"/>
                <a:gd name="connsiteY1" fmla="*/ 11241 h 198319"/>
                <a:gd name="connsiteX2" fmla="*/ 0 w 111083"/>
                <a:gd name="connsiteY2" fmla="*/ 61725 h 198319"/>
                <a:gd name="connsiteX3" fmla="*/ 9891 w 111083"/>
                <a:gd name="connsiteY3" fmla="*/ 105624 h 198319"/>
                <a:gd name="connsiteX4" fmla="*/ 5495 w 111083"/>
                <a:gd name="connsiteY4" fmla="*/ 145134 h 198319"/>
                <a:gd name="connsiteX5" fmla="*/ 37365 w 111083"/>
                <a:gd name="connsiteY5" fmla="*/ 195618 h 198319"/>
                <a:gd name="connsiteX6" fmla="*/ 76926 w 111083"/>
                <a:gd name="connsiteY6" fmla="*/ 195618 h 198319"/>
                <a:gd name="connsiteX7" fmla="*/ 100004 w 111083"/>
                <a:gd name="connsiteY7" fmla="*/ 158304 h 198319"/>
                <a:gd name="connsiteX8" fmla="*/ 108796 w 111083"/>
                <a:gd name="connsiteY8" fmla="*/ 129769 h 198319"/>
                <a:gd name="connsiteX9" fmla="*/ 104400 w 111083"/>
                <a:gd name="connsiteY9" fmla="*/ 97942 h 198319"/>
                <a:gd name="connsiteX10" fmla="*/ 94510 w 111083"/>
                <a:gd name="connsiteY10" fmla="*/ 68310 h 198319"/>
                <a:gd name="connsiteX11" fmla="*/ 76926 w 111083"/>
                <a:gd name="connsiteY11" fmla="*/ 266 h 198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1083" h="198319">
                  <a:moveTo>
                    <a:pt x="76926" y="266"/>
                  </a:moveTo>
                  <a:cubicBezTo>
                    <a:pt x="61541" y="-1929"/>
                    <a:pt x="35167" y="10143"/>
                    <a:pt x="35167" y="11241"/>
                  </a:cubicBezTo>
                  <a:cubicBezTo>
                    <a:pt x="30771" y="20021"/>
                    <a:pt x="2198" y="38678"/>
                    <a:pt x="0" y="61725"/>
                  </a:cubicBezTo>
                  <a:cubicBezTo>
                    <a:pt x="0" y="84772"/>
                    <a:pt x="9891" y="85870"/>
                    <a:pt x="9891" y="105624"/>
                  </a:cubicBezTo>
                  <a:cubicBezTo>
                    <a:pt x="8792" y="125379"/>
                    <a:pt x="4396" y="114404"/>
                    <a:pt x="5495" y="145134"/>
                  </a:cubicBezTo>
                  <a:cubicBezTo>
                    <a:pt x="5495" y="175863"/>
                    <a:pt x="25276" y="193423"/>
                    <a:pt x="37365" y="195618"/>
                  </a:cubicBezTo>
                  <a:cubicBezTo>
                    <a:pt x="49453" y="196716"/>
                    <a:pt x="57145" y="201106"/>
                    <a:pt x="76926" y="195618"/>
                  </a:cubicBezTo>
                  <a:cubicBezTo>
                    <a:pt x="95609" y="187936"/>
                    <a:pt x="106598" y="176961"/>
                    <a:pt x="100004" y="158304"/>
                  </a:cubicBezTo>
                  <a:cubicBezTo>
                    <a:pt x="92312" y="140744"/>
                    <a:pt x="102202" y="145134"/>
                    <a:pt x="108796" y="129769"/>
                  </a:cubicBezTo>
                  <a:cubicBezTo>
                    <a:pt x="113192" y="115502"/>
                    <a:pt x="110994" y="114404"/>
                    <a:pt x="104400" y="97942"/>
                  </a:cubicBezTo>
                  <a:cubicBezTo>
                    <a:pt x="96708" y="81480"/>
                    <a:pt x="91213" y="84772"/>
                    <a:pt x="94510" y="68310"/>
                  </a:cubicBezTo>
                  <a:cubicBezTo>
                    <a:pt x="97807" y="48555"/>
                    <a:pt x="92312" y="3559"/>
                    <a:pt x="76926" y="266"/>
                  </a:cubicBezTo>
                  <a:close/>
                </a:path>
              </a:pathLst>
            </a:custGeom>
            <a:solidFill>
              <a:srgbClr val="DBD6D2"/>
            </a:solidFill>
            <a:ln w="54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DK" sz="2400"/>
            </a:p>
          </p:txBody>
        </p:sp>
        <p:sp>
          <p:nvSpPr>
            <p:cNvPr id="55" name="Freeform 54">
              <a:extLst>
                <a:ext uri="{FF2B5EF4-FFF2-40B4-BE49-F238E27FC236}">
                  <a16:creationId xmlns:a16="http://schemas.microsoft.com/office/drawing/2014/main" id="{BB00F5C3-4567-8532-12A6-EDB5E2238210}"/>
                </a:ext>
              </a:extLst>
            </p:cNvPr>
            <p:cNvSpPr/>
            <p:nvPr/>
          </p:nvSpPr>
          <p:spPr>
            <a:xfrm>
              <a:off x="4143706" y="63609"/>
              <a:ext cx="68959" cy="64332"/>
            </a:xfrm>
            <a:custGeom>
              <a:avLst/>
              <a:gdLst>
                <a:gd name="connsiteX0" fmla="*/ 65269 w 68959"/>
                <a:gd name="connsiteY0" fmla="*/ 27481 h 64332"/>
                <a:gd name="connsiteX1" fmla="*/ 29004 w 68959"/>
                <a:gd name="connsiteY1" fmla="*/ 44 h 64332"/>
                <a:gd name="connsiteX2" fmla="*/ 431 w 68959"/>
                <a:gd name="connsiteY2" fmla="*/ 18701 h 64332"/>
                <a:gd name="connsiteX3" fmla="*/ 2629 w 68959"/>
                <a:gd name="connsiteY3" fmla="*/ 43943 h 64332"/>
                <a:gd name="connsiteX4" fmla="*/ 22410 w 68959"/>
                <a:gd name="connsiteY4" fmla="*/ 61503 h 64332"/>
                <a:gd name="connsiteX5" fmla="*/ 42191 w 68959"/>
                <a:gd name="connsiteY5" fmla="*/ 63698 h 64332"/>
                <a:gd name="connsiteX6" fmla="*/ 67467 w 68959"/>
                <a:gd name="connsiteY6" fmla="*/ 50528 h 64332"/>
                <a:gd name="connsiteX7" fmla="*/ 65269 w 68959"/>
                <a:gd name="connsiteY7" fmla="*/ 27481 h 64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959" h="64332">
                  <a:moveTo>
                    <a:pt x="65269" y="27481"/>
                  </a:moveTo>
                  <a:cubicBezTo>
                    <a:pt x="61972" y="18701"/>
                    <a:pt x="43290" y="-1054"/>
                    <a:pt x="29004" y="44"/>
                  </a:cubicBezTo>
                  <a:cubicBezTo>
                    <a:pt x="14717" y="44"/>
                    <a:pt x="1530" y="4434"/>
                    <a:pt x="431" y="18701"/>
                  </a:cubicBezTo>
                  <a:cubicBezTo>
                    <a:pt x="-668" y="32968"/>
                    <a:pt x="431" y="31871"/>
                    <a:pt x="2629" y="43943"/>
                  </a:cubicBezTo>
                  <a:cubicBezTo>
                    <a:pt x="4827" y="56016"/>
                    <a:pt x="13618" y="60406"/>
                    <a:pt x="22410" y="61503"/>
                  </a:cubicBezTo>
                  <a:cubicBezTo>
                    <a:pt x="31202" y="62600"/>
                    <a:pt x="42191" y="63698"/>
                    <a:pt x="42191" y="63698"/>
                  </a:cubicBezTo>
                  <a:cubicBezTo>
                    <a:pt x="57576" y="65893"/>
                    <a:pt x="74061" y="62600"/>
                    <a:pt x="67467" y="50528"/>
                  </a:cubicBezTo>
                  <a:cubicBezTo>
                    <a:pt x="60873" y="40651"/>
                    <a:pt x="68566" y="36261"/>
                    <a:pt x="65269" y="27481"/>
                  </a:cubicBezTo>
                  <a:close/>
                </a:path>
              </a:pathLst>
            </a:custGeom>
            <a:solidFill>
              <a:srgbClr val="DBD6D2"/>
            </a:solidFill>
            <a:ln w="54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DK" sz="2400"/>
            </a:p>
          </p:txBody>
        </p:sp>
        <p:sp>
          <p:nvSpPr>
            <p:cNvPr id="56" name="Freeform 55">
              <a:extLst>
                <a:ext uri="{FF2B5EF4-FFF2-40B4-BE49-F238E27FC236}">
                  <a16:creationId xmlns:a16="http://schemas.microsoft.com/office/drawing/2014/main" id="{ACC8FB53-4248-D3A9-5778-969BE1044E24}"/>
                </a:ext>
              </a:extLst>
            </p:cNvPr>
            <p:cNvSpPr/>
            <p:nvPr/>
          </p:nvSpPr>
          <p:spPr>
            <a:xfrm>
              <a:off x="4197177" y="1185879"/>
              <a:ext cx="178499" cy="226351"/>
            </a:xfrm>
            <a:custGeom>
              <a:avLst/>
              <a:gdLst>
                <a:gd name="connsiteX0" fmla="*/ 78834 w 178499"/>
                <a:gd name="connsiteY0" fmla="*/ 166219 h 226351"/>
                <a:gd name="connsiteX1" fmla="*/ 53558 w 178499"/>
                <a:gd name="connsiteY1" fmla="*/ 202436 h 226351"/>
                <a:gd name="connsiteX2" fmla="*/ 88724 w 178499"/>
                <a:gd name="connsiteY2" fmla="*/ 215606 h 226351"/>
                <a:gd name="connsiteX3" fmla="*/ 107406 w 178499"/>
                <a:gd name="connsiteY3" fmla="*/ 195851 h 226351"/>
                <a:gd name="connsiteX4" fmla="*/ 142573 w 178499"/>
                <a:gd name="connsiteY4" fmla="*/ 192558 h 226351"/>
                <a:gd name="connsiteX5" fmla="*/ 165651 w 178499"/>
                <a:gd name="connsiteY5" fmla="*/ 172804 h 226351"/>
                <a:gd name="connsiteX6" fmla="*/ 176640 w 178499"/>
                <a:gd name="connsiteY6" fmla="*/ 143172 h 226351"/>
                <a:gd name="connsiteX7" fmla="*/ 173343 w 178499"/>
                <a:gd name="connsiteY7" fmla="*/ 115735 h 226351"/>
                <a:gd name="connsiteX8" fmla="*/ 156859 w 178499"/>
                <a:gd name="connsiteY8" fmla="*/ 99272 h 226351"/>
                <a:gd name="connsiteX9" fmla="*/ 161255 w 178499"/>
                <a:gd name="connsiteY9" fmla="*/ 64153 h 226351"/>
                <a:gd name="connsiteX10" fmla="*/ 175541 w 178499"/>
                <a:gd name="connsiteY10" fmla="*/ 19156 h 226351"/>
                <a:gd name="connsiteX11" fmla="*/ 145870 w 178499"/>
                <a:gd name="connsiteY11" fmla="*/ 2694 h 226351"/>
                <a:gd name="connsiteX12" fmla="*/ 109604 w 178499"/>
                <a:gd name="connsiteY12" fmla="*/ 22449 h 226351"/>
                <a:gd name="connsiteX13" fmla="*/ 94219 w 178499"/>
                <a:gd name="connsiteY13" fmla="*/ 50983 h 226351"/>
                <a:gd name="connsiteX14" fmla="*/ 86526 w 178499"/>
                <a:gd name="connsiteY14" fmla="*/ 19156 h 226351"/>
                <a:gd name="connsiteX15" fmla="*/ 62349 w 178499"/>
                <a:gd name="connsiteY15" fmla="*/ 27936 h 226351"/>
                <a:gd name="connsiteX16" fmla="*/ 40370 w 178499"/>
                <a:gd name="connsiteY16" fmla="*/ 32326 h 226351"/>
                <a:gd name="connsiteX17" fmla="*/ 27183 w 178499"/>
                <a:gd name="connsiteY17" fmla="*/ 63055 h 226351"/>
                <a:gd name="connsiteX18" fmla="*/ 17292 w 178499"/>
                <a:gd name="connsiteY18" fmla="*/ 89395 h 226351"/>
                <a:gd name="connsiteX19" fmla="*/ 808 w 178499"/>
                <a:gd name="connsiteY19" fmla="*/ 119027 h 226351"/>
                <a:gd name="connsiteX20" fmla="*/ 19490 w 178499"/>
                <a:gd name="connsiteY20" fmla="*/ 145367 h 226351"/>
                <a:gd name="connsiteX21" fmla="*/ 57954 w 178499"/>
                <a:gd name="connsiteY21" fmla="*/ 103662 h 226351"/>
                <a:gd name="connsiteX22" fmla="*/ 89823 w 178499"/>
                <a:gd name="connsiteY22" fmla="*/ 86103 h 226351"/>
                <a:gd name="connsiteX23" fmla="*/ 78834 w 178499"/>
                <a:gd name="connsiteY23" fmla="*/ 116832 h 226351"/>
                <a:gd name="connsiteX24" fmla="*/ 82130 w 178499"/>
                <a:gd name="connsiteY24" fmla="*/ 138782 h 226351"/>
                <a:gd name="connsiteX25" fmla="*/ 78834 w 178499"/>
                <a:gd name="connsiteY25" fmla="*/ 166219 h 226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78499" h="226351">
                  <a:moveTo>
                    <a:pt x="78834" y="166219"/>
                  </a:moveTo>
                  <a:cubicBezTo>
                    <a:pt x="65646" y="170609"/>
                    <a:pt x="49162" y="181584"/>
                    <a:pt x="53558" y="202436"/>
                  </a:cubicBezTo>
                  <a:cubicBezTo>
                    <a:pt x="56855" y="222191"/>
                    <a:pt x="76636" y="237555"/>
                    <a:pt x="88724" y="215606"/>
                  </a:cubicBezTo>
                  <a:cubicBezTo>
                    <a:pt x="100813" y="195851"/>
                    <a:pt x="107406" y="195851"/>
                    <a:pt x="107406" y="195851"/>
                  </a:cubicBezTo>
                  <a:cubicBezTo>
                    <a:pt x="127187" y="192558"/>
                    <a:pt x="127187" y="201338"/>
                    <a:pt x="142573" y="192558"/>
                  </a:cubicBezTo>
                  <a:cubicBezTo>
                    <a:pt x="155760" y="182681"/>
                    <a:pt x="154661" y="179389"/>
                    <a:pt x="165651" y="172804"/>
                  </a:cubicBezTo>
                  <a:cubicBezTo>
                    <a:pt x="177739" y="165121"/>
                    <a:pt x="181036" y="155244"/>
                    <a:pt x="176640" y="143172"/>
                  </a:cubicBezTo>
                  <a:cubicBezTo>
                    <a:pt x="172244" y="130002"/>
                    <a:pt x="178838" y="126709"/>
                    <a:pt x="173343" y="115735"/>
                  </a:cubicBezTo>
                  <a:cubicBezTo>
                    <a:pt x="168947" y="104760"/>
                    <a:pt x="159057" y="106955"/>
                    <a:pt x="156859" y="99272"/>
                  </a:cubicBezTo>
                  <a:cubicBezTo>
                    <a:pt x="155760" y="89395"/>
                    <a:pt x="159057" y="72933"/>
                    <a:pt x="161255" y="64153"/>
                  </a:cubicBezTo>
                  <a:cubicBezTo>
                    <a:pt x="162354" y="55373"/>
                    <a:pt x="175541" y="37813"/>
                    <a:pt x="175541" y="19156"/>
                  </a:cubicBezTo>
                  <a:cubicBezTo>
                    <a:pt x="175541" y="1596"/>
                    <a:pt x="153562" y="-3891"/>
                    <a:pt x="145870" y="2694"/>
                  </a:cubicBezTo>
                  <a:cubicBezTo>
                    <a:pt x="138177" y="10376"/>
                    <a:pt x="118396" y="12571"/>
                    <a:pt x="109604" y="22449"/>
                  </a:cubicBezTo>
                  <a:cubicBezTo>
                    <a:pt x="101912" y="33423"/>
                    <a:pt x="104109" y="58665"/>
                    <a:pt x="94219" y="50983"/>
                  </a:cubicBezTo>
                  <a:cubicBezTo>
                    <a:pt x="84328" y="43301"/>
                    <a:pt x="95318" y="21351"/>
                    <a:pt x="86526" y="19156"/>
                  </a:cubicBezTo>
                  <a:cubicBezTo>
                    <a:pt x="76636" y="16961"/>
                    <a:pt x="71141" y="23546"/>
                    <a:pt x="62349" y="27936"/>
                  </a:cubicBezTo>
                  <a:cubicBezTo>
                    <a:pt x="53558" y="31228"/>
                    <a:pt x="52459" y="25741"/>
                    <a:pt x="40370" y="32326"/>
                  </a:cubicBezTo>
                  <a:cubicBezTo>
                    <a:pt x="27183" y="40008"/>
                    <a:pt x="29381" y="50983"/>
                    <a:pt x="27183" y="63055"/>
                  </a:cubicBezTo>
                  <a:cubicBezTo>
                    <a:pt x="26084" y="75128"/>
                    <a:pt x="29381" y="79518"/>
                    <a:pt x="17292" y="89395"/>
                  </a:cubicBezTo>
                  <a:cubicBezTo>
                    <a:pt x="6303" y="100370"/>
                    <a:pt x="3006" y="98175"/>
                    <a:pt x="808" y="119027"/>
                  </a:cubicBezTo>
                  <a:cubicBezTo>
                    <a:pt x="-1390" y="142074"/>
                    <a:pt x="-291" y="160731"/>
                    <a:pt x="19490" y="145367"/>
                  </a:cubicBezTo>
                  <a:cubicBezTo>
                    <a:pt x="39271" y="128904"/>
                    <a:pt x="43667" y="114637"/>
                    <a:pt x="57954" y="103662"/>
                  </a:cubicBezTo>
                  <a:cubicBezTo>
                    <a:pt x="73339" y="92687"/>
                    <a:pt x="81031" y="70738"/>
                    <a:pt x="89823" y="86103"/>
                  </a:cubicBezTo>
                  <a:cubicBezTo>
                    <a:pt x="98615" y="101467"/>
                    <a:pt x="85427" y="105857"/>
                    <a:pt x="78834" y="116832"/>
                  </a:cubicBezTo>
                  <a:cubicBezTo>
                    <a:pt x="73339" y="128904"/>
                    <a:pt x="77735" y="121222"/>
                    <a:pt x="82130" y="138782"/>
                  </a:cubicBezTo>
                  <a:cubicBezTo>
                    <a:pt x="88724" y="153049"/>
                    <a:pt x="90922" y="160731"/>
                    <a:pt x="78834" y="166219"/>
                  </a:cubicBezTo>
                  <a:close/>
                </a:path>
              </a:pathLst>
            </a:custGeom>
            <a:solidFill>
              <a:srgbClr val="DBD6D2"/>
            </a:solidFill>
            <a:ln w="54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DK" sz="2400"/>
            </a:p>
          </p:txBody>
        </p:sp>
        <p:sp>
          <p:nvSpPr>
            <p:cNvPr id="57" name="Freeform 56">
              <a:extLst>
                <a:ext uri="{FF2B5EF4-FFF2-40B4-BE49-F238E27FC236}">
                  <a16:creationId xmlns:a16="http://schemas.microsoft.com/office/drawing/2014/main" id="{1B24D55D-56B2-4769-D937-CBDF9BD5C136}"/>
                </a:ext>
              </a:extLst>
            </p:cNvPr>
            <p:cNvSpPr/>
            <p:nvPr/>
          </p:nvSpPr>
          <p:spPr>
            <a:xfrm>
              <a:off x="3672658" y="-505579"/>
              <a:ext cx="3366376" cy="5679109"/>
            </a:xfrm>
            <a:custGeom>
              <a:avLst/>
              <a:gdLst>
                <a:gd name="connsiteX0" fmla="*/ 1031943 w 3366376"/>
                <a:gd name="connsiteY0" fmla="*/ 643861 h 5679109"/>
                <a:gd name="connsiteX1" fmla="*/ 1028646 w 3366376"/>
                <a:gd name="connsiteY1" fmla="*/ 673493 h 5679109"/>
                <a:gd name="connsiteX2" fmla="*/ 1009964 w 3366376"/>
                <a:gd name="connsiteY2" fmla="*/ 723977 h 5679109"/>
                <a:gd name="connsiteX3" fmla="*/ 1017656 w 3366376"/>
                <a:gd name="connsiteY3" fmla="*/ 755804 h 5679109"/>
                <a:gd name="connsiteX4" fmla="*/ 1023151 w 3366376"/>
                <a:gd name="connsiteY4" fmla="*/ 793119 h 5679109"/>
                <a:gd name="connsiteX5" fmla="*/ 1047328 w 3366376"/>
                <a:gd name="connsiteY5" fmla="*/ 779949 h 5679109"/>
                <a:gd name="connsiteX6" fmla="*/ 1073703 w 3366376"/>
                <a:gd name="connsiteY6" fmla="*/ 767877 h 5679109"/>
                <a:gd name="connsiteX7" fmla="*/ 1084692 w 3366376"/>
                <a:gd name="connsiteY7" fmla="*/ 743732 h 5679109"/>
                <a:gd name="connsiteX8" fmla="*/ 1089088 w 3366376"/>
                <a:gd name="connsiteY8" fmla="*/ 765682 h 5679109"/>
                <a:gd name="connsiteX9" fmla="*/ 1115463 w 3366376"/>
                <a:gd name="connsiteY9" fmla="*/ 761292 h 5679109"/>
                <a:gd name="connsiteX10" fmla="*/ 1145134 w 3366376"/>
                <a:gd name="connsiteY10" fmla="*/ 773364 h 5679109"/>
                <a:gd name="connsiteX11" fmla="*/ 1103375 w 3366376"/>
                <a:gd name="connsiteY11" fmla="*/ 785436 h 5679109"/>
                <a:gd name="connsiteX12" fmla="*/ 1068208 w 3366376"/>
                <a:gd name="connsiteY12" fmla="*/ 789826 h 5679109"/>
                <a:gd name="connsiteX13" fmla="*/ 1036339 w 3366376"/>
                <a:gd name="connsiteY13" fmla="*/ 813971 h 5679109"/>
                <a:gd name="connsiteX14" fmla="*/ 1051724 w 3366376"/>
                <a:gd name="connsiteY14" fmla="*/ 838116 h 5679109"/>
                <a:gd name="connsiteX15" fmla="*/ 1092385 w 3366376"/>
                <a:gd name="connsiteY15" fmla="*/ 828238 h 5679109"/>
                <a:gd name="connsiteX16" fmla="*/ 1120958 w 3366376"/>
                <a:gd name="connsiteY16" fmla="*/ 851285 h 5679109"/>
                <a:gd name="connsiteX17" fmla="*/ 1078099 w 3366376"/>
                <a:gd name="connsiteY17" fmla="*/ 846896 h 5679109"/>
                <a:gd name="connsiteX18" fmla="*/ 1068208 w 3366376"/>
                <a:gd name="connsiteY18" fmla="*/ 862260 h 5679109"/>
                <a:gd name="connsiteX19" fmla="*/ 1062713 w 3366376"/>
                <a:gd name="connsiteY19" fmla="*/ 889697 h 5679109"/>
                <a:gd name="connsiteX20" fmla="*/ 1046229 w 3366376"/>
                <a:gd name="connsiteY20" fmla="*/ 929207 h 5679109"/>
                <a:gd name="connsiteX21" fmla="*/ 1069307 w 3366376"/>
                <a:gd name="connsiteY21" fmla="*/ 947864 h 5679109"/>
                <a:gd name="connsiteX22" fmla="*/ 1106671 w 3366376"/>
                <a:gd name="connsiteY22" fmla="*/ 963229 h 5679109"/>
                <a:gd name="connsiteX23" fmla="*/ 1061614 w 3366376"/>
                <a:gd name="connsiteY23" fmla="*/ 965424 h 5679109"/>
                <a:gd name="connsiteX24" fmla="*/ 1035240 w 3366376"/>
                <a:gd name="connsiteY24" fmla="*/ 947864 h 5679109"/>
                <a:gd name="connsiteX25" fmla="*/ 1006667 w 3366376"/>
                <a:gd name="connsiteY25" fmla="*/ 953351 h 5679109"/>
                <a:gd name="connsiteX26" fmla="*/ 992381 w 3366376"/>
                <a:gd name="connsiteY26" fmla="*/ 988471 h 5679109"/>
                <a:gd name="connsiteX27" fmla="*/ 1025349 w 3366376"/>
                <a:gd name="connsiteY27" fmla="*/ 1020298 h 5679109"/>
                <a:gd name="connsiteX28" fmla="*/ 1001172 w 3366376"/>
                <a:gd name="connsiteY28" fmla="*/ 1030175 h 5679109"/>
                <a:gd name="connsiteX29" fmla="*/ 974797 w 3366376"/>
                <a:gd name="connsiteY29" fmla="*/ 1000543 h 5679109"/>
                <a:gd name="connsiteX30" fmla="*/ 946225 w 3366376"/>
                <a:gd name="connsiteY30" fmla="*/ 1041150 h 5679109"/>
                <a:gd name="connsiteX31" fmla="*/ 911058 w 3366376"/>
                <a:gd name="connsiteY31" fmla="*/ 1080660 h 5679109"/>
                <a:gd name="connsiteX32" fmla="*/ 956115 w 3366376"/>
                <a:gd name="connsiteY32" fmla="*/ 1088342 h 5679109"/>
                <a:gd name="connsiteX33" fmla="*/ 960511 w 3366376"/>
                <a:gd name="connsiteY33" fmla="*/ 1125656 h 5679109"/>
                <a:gd name="connsiteX34" fmla="*/ 919850 w 3366376"/>
                <a:gd name="connsiteY34" fmla="*/ 1126754 h 5679109"/>
                <a:gd name="connsiteX35" fmla="*/ 911058 w 3366376"/>
                <a:gd name="connsiteY35" fmla="*/ 1169556 h 5679109"/>
                <a:gd name="connsiteX36" fmla="*/ 870397 w 3366376"/>
                <a:gd name="connsiteY36" fmla="*/ 1146509 h 5679109"/>
                <a:gd name="connsiteX37" fmla="*/ 798965 w 3366376"/>
                <a:gd name="connsiteY37" fmla="*/ 1146509 h 5679109"/>
                <a:gd name="connsiteX38" fmla="*/ 772591 w 3366376"/>
                <a:gd name="connsiteY38" fmla="*/ 1188213 h 5679109"/>
                <a:gd name="connsiteX39" fmla="*/ 822043 w 3366376"/>
                <a:gd name="connsiteY39" fmla="*/ 1205773 h 5679109"/>
                <a:gd name="connsiteX40" fmla="*/ 867100 w 3366376"/>
                <a:gd name="connsiteY40" fmla="*/ 1210163 h 5679109"/>
                <a:gd name="connsiteX41" fmla="*/ 905564 w 3366376"/>
                <a:gd name="connsiteY41" fmla="*/ 1218942 h 5679109"/>
                <a:gd name="connsiteX42" fmla="*/ 979193 w 3366376"/>
                <a:gd name="connsiteY42" fmla="*/ 1204675 h 5679109"/>
                <a:gd name="connsiteX43" fmla="*/ 955016 w 3366376"/>
                <a:gd name="connsiteY43" fmla="*/ 1228820 h 5679109"/>
                <a:gd name="connsiteX44" fmla="*/ 903366 w 3366376"/>
                <a:gd name="connsiteY44" fmla="*/ 1247477 h 5679109"/>
                <a:gd name="connsiteX45" fmla="*/ 860507 w 3366376"/>
                <a:gd name="connsiteY45" fmla="*/ 1234307 h 5679109"/>
                <a:gd name="connsiteX46" fmla="*/ 871496 w 3366376"/>
                <a:gd name="connsiteY46" fmla="*/ 1285889 h 5679109"/>
                <a:gd name="connsiteX47" fmla="*/ 906663 w 3366376"/>
                <a:gd name="connsiteY47" fmla="*/ 1304546 h 5679109"/>
                <a:gd name="connsiteX48" fmla="*/ 931938 w 3366376"/>
                <a:gd name="connsiteY48" fmla="*/ 1341861 h 5679109"/>
                <a:gd name="connsiteX49" fmla="*/ 990183 w 3366376"/>
                <a:gd name="connsiteY49" fmla="*/ 1329788 h 5679109"/>
                <a:gd name="connsiteX50" fmla="*/ 1061614 w 3366376"/>
                <a:gd name="connsiteY50" fmla="*/ 1273817 h 5679109"/>
                <a:gd name="connsiteX51" fmla="*/ 1120958 w 3366376"/>
                <a:gd name="connsiteY51" fmla="*/ 1229917 h 5679109"/>
                <a:gd name="connsiteX52" fmla="*/ 1174806 w 3366376"/>
                <a:gd name="connsiteY52" fmla="*/ 1199188 h 5679109"/>
                <a:gd name="connsiteX53" fmla="*/ 1141838 w 3366376"/>
                <a:gd name="connsiteY53" fmla="*/ 1248574 h 5679109"/>
                <a:gd name="connsiteX54" fmla="*/ 1207775 w 3366376"/>
                <a:gd name="connsiteY54" fmla="*/ 1263939 h 5679109"/>
                <a:gd name="connsiteX55" fmla="*/ 1136343 w 3366376"/>
                <a:gd name="connsiteY55" fmla="*/ 1281499 h 5679109"/>
                <a:gd name="connsiteX56" fmla="*/ 1082495 w 3366376"/>
                <a:gd name="connsiteY56" fmla="*/ 1295766 h 5679109"/>
                <a:gd name="connsiteX57" fmla="*/ 1037438 w 3366376"/>
                <a:gd name="connsiteY57" fmla="*/ 1340763 h 5679109"/>
                <a:gd name="connsiteX58" fmla="*/ 1066010 w 3366376"/>
                <a:gd name="connsiteY58" fmla="*/ 1345153 h 5679109"/>
                <a:gd name="connsiteX59" fmla="*/ 1081396 w 3366376"/>
                <a:gd name="connsiteY59" fmla="*/ 1364908 h 5679109"/>
                <a:gd name="connsiteX60" fmla="*/ 1033042 w 3366376"/>
                <a:gd name="connsiteY60" fmla="*/ 1382467 h 5679109"/>
                <a:gd name="connsiteX61" fmla="*/ 1077000 w 3366376"/>
                <a:gd name="connsiteY61" fmla="*/ 1408807 h 5679109"/>
                <a:gd name="connsiteX62" fmla="*/ 1100078 w 3366376"/>
                <a:gd name="connsiteY62" fmla="*/ 1423074 h 5679109"/>
                <a:gd name="connsiteX63" fmla="*/ 1028646 w 3366376"/>
                <a:gd name="connsiteY63" fmla="*/ 1412099 h 5679109"/>
                <a:gd name="connsiteX64" fmla="*/ 989084 w 3366376"/>
                <a:gd name="connsiteY64" fmla="*/ 1417587 h 5679109"/>
                <a:gd name="connsiteX65" fmla="*/ 987985 w 3366376"/>
                <a:gd name="connsiteY65" fmla="*/ 1462584 h 5679109"/>
                <a:gd name="connsiteX66" fmla="*/ 949522 w 3366376"/>
                <a:gd name="connsiteY66" fmla="*/ 1488923 h 5679109"/>
                <a:gd name="connsiteX67" fmla="*/ 958313 w 3366376"/>
                <a:gd name="connsiteY67" fmla="*/ 1533920 h 5679109"/>
                <a:gd name="connsiteX68" fmla="*/ 926444 w 3366376"/>
                <a:gd name="connsiteY68" fmla="*/ 1569040 h 5679109"/>
                <a:gd name="connsiteX69" fmla="*/ 946225 w 3366376"/>
                <a:gd name="connsiteY69" fmla="*/ 1618426 h 5679109"/>
                <a:gd name="connsiteX70" fmla="*/ 901168 w 3366376"/>
                <a:gd name="connsiteY70" fmla="*/ 1659033 h 5679109"/>
                <a:gd name="connsiteX71" fmla="*/ 875892 w 3366376"/>
                <a:gd name="connsiteY71" fmla="*/ 1687568 h 5679109"/>
                <a:gd name="connsiteX72" fmla="*/ 873694 w 3366376"/>
                <a:gd name="connsiteY72" fmla="*/ 1739150 h 5679109"/>
                <a:gd name="connsiteX73" fmla="*/ 870397 w 3366376"/>
                <a:gd name="connsiteY73" fmla="*/ 1766587 h 5679109"/>
                <a:gd name="connsiteX74" fmla="*/ 852814 w 3366376"/>
                <a:gd name="connsiteY74" fmla="*/ 1819266 h 5679109"/>
                <a:gd name="connsiteX75" fmla="*/ 889079 w 3366376"/>
                <a:gd name="connsiteY75" fmla="*/ 1814876 h 5679109"/>
                <a:gd name="connsiteX76" fmla="*/ 927543 w 3366376"/>
                <a:gd name="connsiteY76" fmla="*/ 1813778 h 5679109"/>
                <a:gd name="connsiteX77" fmla="*/ 862705 w 3366376"/>
                <a:gd name="connsiteY77" fmla="*/ 1868653 h 5679109"/>
                <a:gd name="connsiteX78" fmla="*/ 819845 w 3366376"/>
                <a:gd name="connsiteY78" fmla="*/ 1905967 h 5679109"/>
                <a:gd name="connsiteX79" fmla="*/ 797866 w 3366376"/>
                <a:gd name="connsiteY79" fmla="*/ 1968524 h 5679109"/>
                <a:gd name="connsiteX80" fmla="*/ 769294 w 3366376"/>
                <a:gd name="connsiteY80" fmla="*/ 2036568 h 5679109"/>
                <a:gd name="connsiteX81" fmla="*/ 725336 w 3366376"/>
                <a:gd name="connsiteY81" fmla="*/ 2115586 h 5679109"/>
                <a:gd name="connsiteX82" fmla="*/ 783580 w 3366376"/>
                <a:gd name="connsiteY82" fmla="*/ 2138634 h 5679109"/>
                <a:gd name="connsiteX83" fmla="*/ 839627 w 3366376"/>
                <a:gd name="connsiteY83" fmla="*/ 2105709 h 5679109"/>
                <a:gd name="connsiteX84" fmla="*/ 829736 w 3366376"/>
                <a:gd name="connsiteY84" fmla="*/ 2045347 h 5679109"/>
                <a:gd name="connsiteX85" fmla="*/ 860507 w 3366376"/>
                <a:gd name="connsiteY85" fmla="*/ 2008033 h 5679109"/>
                <a:gd name="connsiteX86" fmla="*/ 882486 w 3366376"/>
                <a:gd name="connsiteY86" fmla="*/ 1935599 h 5679109"/>
                <a:gd name="connsiteX87" fmla="*/ 946225 w 3366376"/>
                <a:gd name="connsiteY87" fmla="*/ 1869750 h 5679109"/>
                <a:gd name="connsiteX88" fmla="*/ 970402 w 3366376"/>
                <a:gd name="connsiteY88" fmla="*/ 1828046 h 5679109"/>
                <a:gd name="connsiteX89" fmla="*/ 955016 w 3366376"/>
                <a:gd name="connsiteY89" fmla="*/ 1788536 h 5679109"/>
                <a:gd name="connsiteX90" fmla="*/ 955016 w 3366376"/>
                <a:gd name="connsiteY90" fmla="*/ 1733662 h 5679109"/>
                <a:gd name="connsiteX91" fmla="*/ 990183 w 3366376"/>
                <a:gd name="connsiteY91" fmla="*/ 1702933 h 5679109"/>
                <a:gd name="connsiteX92" fmla="*/ 1058318 w 3366376"/>
                <a:gd name="connsiteY92" fmla="*/ 1637084 h 5679109"/>
                <a:gd name="connsiteX93" fmla="*/ 1100078 w 3366376"/>
                <a:gd name="connsiteY93" fmla="*/ 1611842 h 5679109"/>
                <a:gd name="connsiteX94" fmla="*/ 1055021 w 3366376"/>
                <a:gd name="connsiteY94" fmla="*/ 1653546 h 5679109"/>
                <a:gd name="connsiteX95" fmla="*/ 1027547 w 3366376"/>
                <a:gd name="connsiteY95" fmla="*/ 1695250 h 5679109"/>
                <a:gd name="connsiteX96" fmla="*/ 995677 w 3366376"/>
                <a:gd name="connsiteY96" fmla="*/ 1733662 h 5679109"/>
                <a:gd name="connsiteX97" fmla="*/ 986886 w 3366376"/>
                <a:gd name="connsiteY97" fmla="*/ 1784146 h 5679109"/>
                <a:gd name="connsiteX98" fmla="*/ 1000073 w 3366376"/>
                <a:gd name="connsiteY98" fmla="*/ 1822558 h 5679109"/>
                <a:gd name="connsiteX99" fmla="*/ 1030844 w 3366376"/>
                <a:gd name="connsiteY99" fmla="*/ 1818168 h 5679109"/>
                <a:gd name="connsiteX100" fmla="*/ 1035240 w 3366376"/>
                <a:gd name="connsiteY100" fmla="*/ 1762197 h 5679109"/>
                <a:gd name="connsiteX101" fmla="*/ 1072604 w 3366376"/>
                <a:gd name="connsiteY101" fmla="*/ 1725980 h 5679109"/>
                <a:gd name="connsiteX102" fmla="*/ 1053922 w 3366376"/>
                <a:gd name="connsiteY102" fmla="*/ 1784146 h 5679109"/>
                <a:gd name="connsiteX103" fmla="*/ 1080297 w 3366376"/>
                <a:gd name="connsiteY103" fmla="*/ 1778659 h 5679109"/>
                <a:gd name="connsiteX104" fmla="*/ 1094583 w 3366376"/>
                <a:gd name="connsiteY104" fmla="*/ 1826948 h 5679109"/>
                <a:gd name="connsiteX105" fmla="*/ 1113265 w 3366376"/>
                <a:gd name="connsiteY105" fmla="*/ 1797316 h 5679109"/>
                <a:gd name="connsiteX106" fmla="*/ 1127551 w 3366376"/>
                <a:gd name="connsiteY106" fmla="*/ 1764392 h 5679109"/>
                <a:gd name="connsiteX107" fmla="*/ 1171509 w 3366376"/>
                <a:gd name="connsiteY107" fmla="*/ 1765489 h 5679109"/>
                <a:gd name="connsiteX108" fmla="*/ 1166014 w 3366376"/>
                <a:gd name="connsiteY108" fmla="*/ 1709517 h 5679109"/>
                <a:gd name="connsiteX109" fmla="*/ 1151728 w 3366376"/>
                <a:gd name="connsiteY109" fmla="*/ 1646961 h 5679109"/>
                <a:gd name="connsiteX110" fmla="*/ 1186895 w 3366376"/>
                <a:gd name="connsiteY110" fmla="*/ 1643668 h 5679109"/>
                <a:gd name="connsiteX111" fmla="*/ 1227556 w 3366376"/>
                <a:gd name="connsiteY111" fmla="*/ 1612939 h 5679109"/>
                <a:gd name="connsiteX112" fmla="*/ 1215467 w 3366376"/>
                <a:gd name="connsiteY112" fmla="*/ 1662326 h 5679109"/>
                <a:gd name="connsiteX113" fmla="*/ 1197884 w 3366376"/>
                <a:gd name="connsiteY113" fmla="*/ 1732565 h 5679109"/>
                <a:gd name="connsiteX114" fmla="*/ 1223160 w 3366376"/>
                <a:gd name="connsiteY114" fmla="*/ 1764392 h 5679109"/>
                <a:gd name="connsiteX115" fmla="*/ 1300086 w 3366376"/>
                <a:gd name="connsiteY115" fmla="*/ 1807194 h 5679109"/>
                <a:gd name="connsiteX116" fmla="*/ 1258326 w 3366376"/>
                <a:gd name="connsiteY116" fmla="*/ 1836826 h 5679109"/>
                <a:gd name="connsiteX117" fmla="*/ 1202280 w 3366376"/>
                <a:gd name="connsiteY117" fmla="*/ 1797316 h 5679109"/>
                <a:gd name="connsiteX118" fmla="*/ 1149530 w 3366376"/>
                <a:gd name="connsiteY118" fmla="*/ 1804999 h 5679109"/>
                <a:gd name="connsiteX119" fmla="*/ 1144035 w 3366376"/>
                <a:gd name="connsiteY119" fmla="*/ 1888407 h 5679109"/>
                <a:gd name="connsiteX120" fmla="*/ 1108869 w 3366376"/>
                <a:gd name="connsiteY120" fmla="*/ 1934502 h 5679109"/>
                <a:gd name="connsiteX121" fmla="*/ 1140739 w 3366376"/>
                <a:gd name="connsiteY121" fmla="*/ 1979498 h 5679109"/>
                <a:gd name="connsiteX122" fmla="*/ 1167113 w 3366376"/>
                <a:gd name="connsiteY122" fmla="*/ 2038762 h 5679109"/>
                <a:gd name="connsiteX123" fmla="*/ 1196785 w 3366376"/>
                <a:gd name="connsiteY123" fmla="*/ 2076077 h 5679109"/>
                <a:gd name="connsiteX124" fmla="*/ 1158322 w 3366376"/>
                <a:gd name="connsiteY124" fmla="*/ 2127659 h 5679109"/>
                <a:gd name="connsiteX125" fmla="*/ 1100078 w 3366376"/>
                <a:gd name="connsiteY125" fmla="*/ 2185825 h 5679109"/>
                <a:gd name="connsiteX126" fmla="*/ 1037438 w 3366376"/>
                <a:gd name="connsiteY126" fmla="*/ 2285696 h 5679109"/>
                <a:gd name="connsiteX127" fmla="*/ 1001172 w 3366376"/>
                <a:gd name="connsiteY127" fmla="*/ 2314231 h 5679109"/>
                <a:gd name="connsiteX128" fmla="*/ 970402 w 3366376"/>
                <a:gd name="connsiteY128" fmla="*/ 2363618 h 5679109"/>
                <a:gd name="connsiteX129" fmla="*/ 978094 w 3366376"/>
                <a:gd name="connsiteY129" fmla="*/ 2437149 h 5679109"/>
                <a:gd name="connsiteX130" fmla="*/ 949522 w 3366376"/>
                <a:gd name="connsiteY130" fmla="*/ 2418492 h 5679109"/>
                <a:gd name="connsiteX131" fmla="*/ 937433 w 3366376"/>
                <a:gd name="connsiteY131" fmla="*/ 2355935 h 5679109"/>
                <a:gd name="connsiteX132" fmla="*/ 912157 w 3366376"/>
                <a:gd name="connsiteY132" fmla="*/ 2384470 h 5679109"/>
                <a:gd name="connsiteX133" fmla="*/ 903366 w 3366376"/>
                <a:gd name="connsiteY133" fmla="*/ 2467879 h 5679109"/>
                <a:gd name="connsiteX134" fmla="*/ 931938 w 3366376"/>
                <a:gd name="connsiteY134" fmla="*/ 2526045 h 5679109"/>
                <a:gd name="connsiteX135" fmla="*/ 951719 w 3366376"/>
                <a:gd name="connsiteY135" fmla="*/ 2594089 h 5679109"/>
                <a:gd name="connsiteX136" fmla="*/ 986886 w 3366376"/>
                <a:gd name="connsiteY136" fmla="*/ 2633598 h 5679109"/>
                <a:gd name="connsiteX137" fmla="*/ 976995 w 3366376"/>
                <a:gd name="connsiteY137" fmla="*/ 2592992 h 5679109"/>
                <a:gd name="connsiteX138" fmla="*/ 980292 w 3366376"/>
                <a:gd name="connsiteY138" fmla="*/ 2509583 h 5679109"/>
                <a:gd name="connsiteX139" fmla="*/ 1025349 w 3366376"/>
                <a:gd name="connsiteY139" fmla="*/ 2507388 h 5679109"/>
                <a:gd name="connsiteX140" fmla="*/ 1081396 w 3366376"/>
                <a:gd name="connsiteY140" fmla="*/ 2549092 h 5679109"/>
                <a:gd name="connsiteX141" fmla="*/ 1123156 w 3366376"/>
                <a:gd name="connsiteY141" fmla="*/ 2603966 h 5679109"/>
                <a:gd name="connsiteX142" fmla="*/ 1182499 w 3366376"/>
                <a:gd name="connsiteY142" fmla="*/ 2634696 h 5679109"/>
                <a:gd name="connsiteX143" fmla="*/ 1193488 w 3366376"/>
                <a:gd name="connsiteY143" fmla="*/ 2585309 h 5679109"/>
                <a:gd name="connsiteX144" fmla="*/ 1182499 w 3366376"/>
                <a:gd name="connsiteY144" fmla="*/ 2545800 h 5679109"/>
                <a:gd name="connsiteX145" fmla="*/ 1183598 w 3366376"/>
                <a:gd name="connsiteY145" fmla="*/ 2475561 h 5679109"/>
                <a:gd name="connsiteX146" fmla="*/ 1213269 w 3366376"/>
                <a:gd name="connsiteY146" fmla="*/ 2534825 h 5679109"/>
                <a:gd name="connsiteX147" fmla="*/ 1263821 w 3366376"/>
                <a:gd name="connsiteY147" fmla="*/ 2588602 h 5679109"/>
                <a:gd name="connsiteX148" fmla="*/ 1283602 w 3366376"/>
                <a:gd name="connsiteY148" fmla="*/ 2543605 h 5679109"/>
                <a:gd name="connsiteX149" fmla="*/ 1297888 w 3366376"/>
                <a:gd name="connsiteY149" fmla="*/ 2595187 h 5679109"/>
                <a:gd name="connsiteX150" fmla="*/ 1353935 w 3366376"/>
                <a:gd name="connsiteY150" fmla="*/ 2613844 h 5679109"/>
                <a:gd name="connsiteX151" fmla="*/ 1393497 w 3366376"/>
                <a:gd name="connsiteY151" fmla="*/ 2577627 h 5679109"/>
                <a:gd name="connsiteX152" fmla="*/ 1444049 w 3366376"/>
                <a:gd name="connsiteY152" fmla="*/ 2558970 h 5679109"/>
                <a:gd name="connsiteX153" fmla="*/ 1492402 w 3366376"/>
                <a:gd name="connsiteY153" fmla="*/ 2558970 h 5679109"/>
                <a:gd name="connsiteX154" fmla="*/ 1534162 w 3366376"/>
                <a:gd name="connsiteY154" fmla="*/ 2513973 h 5679109"/>
                <a:gd name="connsiteX155" fmla="*/ 1556141 w 3366376"/>
                <a:gd name="connsiteY155" fmla="*/ 2502998 h 5679109"/>
                <a:gd name="connsiteX156" fmla="*/ 1606693 w 3366376"/>
                <a:gd name="connsiteY156" fmla="*/ 2542508 h 5679109"/>
                <a:gd name="connsiteX157" fmla="*/ 1656146 w 3366376"/>
                <a:gd name="connsiteY157" fmla="*/ 2542508 h 5679109"/>
                <a:gd name="connsiteX158" fmla="*/ 1713291 w 3366376"/>
                <a:gd name="connsiteY158" fmla="*/ 2556775 h 5679109"/>
                <a:gd name="connsiteX159" fmla="*/ 1656146 w 3366376"/>
                <a:gd name="connsiteY159" fmla="*/ 2568847 h 5679109"/>
                <a:gd name="connsiteX160" fmla="*/ 1616584 w 3366376"/>
                <a:gd name="connsiteY160" fmla="*/ 2568847 h 5679109"/>
                <a:gd name="connsiteX161" fmla="*/ 1606693 w 3366376"/>
                <a:gd name="connsiteY161" fmla="*/ 2605064 h 5679109"/>
                <a:gd name="connsiteX162" fmla="*/ 1570428 w 3366376"/>
                <a:gd name="connsiteY162" fmla="*/ 2605064 h 5679109"/>
                <a:gd name="connsiteX163" fmla="*/ 1548449 w 3366376"/>
                <a:gd name="connsiteY163" fmla="*/ 2650061 h 5679109"/>
                <a:gd name="connsiteX164" fmla="*/ 1504491 w 3366376"/>
                <a:gd name="connsiteY164" fmla="*/ 2699447 h 5679109"/>
                <a:gd name="connsiteX165" fmla="*/ 1479215 w 3366376"/>
                <a:gd name="connsiteY165" fmla="*/ 2747737 h 5679109"/>
                <a:gd name="connsiteX166" fmla="*/ 1450643 w 3366376"/>
                <a:gd name="connsiteY166" fmla="*/ 2799319 h 5679109"/>
                <a:gd name="connsiteX167" fmla="*/ 1463830 w 3366376"/>
                <a:gd name="connsiteY167" fmla="*/ 2869557 h 5679109"/>
                <a:gd name="connsiteX168" fmla="*/ 1498996 w 3366376"/>
                <a:gd name="connsiteY168" fmla="*/ 2973818 h 5679109"/>
                <a:gd name="connsiteX169" fmla="*/ 1504491 w 3366376"/>
                <a:gd name="connsiteY169" fmla="*/ 3034180 h 5679109"/>
                <a:gd name="connsiteX170" fmla="*/ 1552845 w 3366376"/>
                <a:gd name="connsiteY170" fmla="*/ 3002353 h 5679109"/>
                <a:gd name="connsiteX171" fmla="*/ 1537459 w 3366376"/>
                <a:gd name="connsiteY171" fmla="*/ 3082469 h 5679109"/>
                <a:gd name="connsiteX172" fmla="*/ 1562735 w 3366376"/>
                <a:gd name="connsiteY172" fmla="*/ 3141733 h 5679109"/>
                <a:gd name="connsiteX173" fmla="*/ 1599001 w 3366376"/>
                <a:gd name="connsiteY173" fmla="*/ 3096737 h 5679109"/>
                <a:gd name="connsiteX174" fmla="*/ 1634167 w 3366376"/>
                <a:gd name="connsiteY174" fmla="*/ 3041862 h 5679109"/>
                <a:gd name="connsiteX175" fmla="*/ 1633068 w 3366376"/>
                <a:gd name="connsiteY175" fmla="*/ 3096737 h 5679109"/>
                <a:gd name="connsiteX176" fmla="*/ 1674828 w 3366376"/>
                <a:gd name="connsiteY176" fmla="*/ 3079177 h 5679109"/>
                <a:gd name="connsiteX177" fmla="*/ 1718786 w 3366376"/>
                <a:gd name="connsiteY177" fmla="*/ 3038570 h 5679109"/>
                <a:gd name="connsiteX178" fmla="*/ 1708896 w 3366376"/>
                <a:gd name="connsiteY178" fmla="*/ 3070397 h 5679109"/>
                <a:gd name="connsiteX179" fmla="*/ 1704500 w 3366376"/>
                <a:gd name="connsiteY179" fmla="*/ 3127466 h 5679109"/>
                <a:gd name="connsiteX180" fmla="*/ 1647354 w 3366376"/>
                <a:gd name="connsiteY180" fmla="*/ 3191120 h 5679109"/>
                <a:gd name="connsiteX181" fmla="*/ 1652849 w 3366376"/>
                <a:gd name="connsiteY181" fmla="*/ 3237214 h 5679109"/>
                <a:gd name="connsiteX182" fmla="*/ 1602297 w 3366376"/>
                <a:gd name="connsiteY182" fmla="*/ 3238312 h 5679109"/>
                <a:gd name="connsiteX183" fmla="*/ 1584714 w 3366376"/>
                <a:gd name="connsiteY183" fmla="*/ 3287699 h 5679109"/>
                <a:gd name="connsiteX184" fmla="*/ 1568230 w 3366376"/>
                <a:gd name="connsiteY184" fmla="*/ 3344768 h 5679109"/>
                <a:gd name="connsiteX185" fmla="*/ 1607792 w 3366376"/>
                <a:gd name="connsiteY185" fmla="*/ 3386472 h 5679109"/>
                <a:gd name="connsiteX186" fmla="*/ 1544053 w 3366376"/>
                <a:gd name="connsiteY186" fmla="*/ 3443541 h 5679109"/>
                <a:gd name="connsiteX187" fmla="*/ 1530866 w 3366376"/>
                <a:gd name="connsiteY187" fmla="*/ 3510488 h 5679109"/>
                <a:gd name="connsiteX188" fmla="*/ 1530866 w 3366376"/>
                <a:gd name="connsiteY188" fmla="*/ 3569752 h 5679109"/>
                <a:gd name="connsiteX189" fmla="*/ 1557240 w 3366376"/>
                <a:gd name="connsiteY189" fmla="*/ 3614749 h 5679109"/>
                <a:gd name="connsiteX190" fmla="*/ 1603396 w 3366376"/>
                <a:gd name="connsiteY190" fmla="*/ 3632308 h 5679109"/>
                <a:gd name="connsiteX191" fmla="*/ 1603396 w 3366376"/>
                <a:gd name="connsiteY191" fmla="*/ 3671818 h 5679109"/>
                <a:gd name="connsiteX192" fmla="*/ 1544053 w 3366376"/>
                <a:gd name="connsiteY192" fmla="*/ 3631211 h 5679109"/>
                <a:gd name="connsiteX193" fmla="*/ 1515480 w 3366376"/>
                <a:gd name="connsiteY193" fmla="*/ 3573044 h 5679109"/>
                <a:gd name="connsiteX194" fmla="*/ 1471523 w 3366376"/>
                <a:gd name="connsiteY194" fmla="*/ 3594994 h 5679109"/>
                <a:gd name="connsiteX195" fmla="*/ 1496798 w 3366376"/>
                <a:gd name="connsiteY195" fmla="*/ 3643283 h 5679109"/>
                <a:gd name="connsiteX196" fmla="*/ 1478116 w 3366376"/>
                <a:gd name="connsiteY196" fmla="*/ 3682793 h 5679109"/>
                <a:gd name="connsiteX197" fmla="*/ 1418773 w 3366376"/>
                <a:gd name="connsiteY197" fmla="*/ 3625723 h 5679109"/>
                <a:gd name="connsiteX198" fmla="*/ 1372617 w 3366376"/>
                <a:gd name="connsiteY198" fmla="*/ 3603774 h 5679109"/>
                <a:gd name="connsiteX199" fmla="*/ 1287998 w 3366376"/>
                <a:gd name="connsiteY199" fmla="*/ 3605969 h 5679109"/>
                <a:gd name="connsiteX200" fmla="*/ 1214368 w 3366376"/>
                <a:gd name="connsiteY200" fmla="*/ 3565362 h 5679109"/>
                <a:gd name="connsiteX201" fmla="*/ 1185796 w 3366376"/>
                <a:gd name="connsiteY201" fmla="*/ 3562069 h 5679109"/>
                <a:gd name="connsiteX202" fmla="*/ 1203379 w 3366376"/>
                <a:gd name="connsiteY202" fmla="*/ 3599384 h 5679109"/>
                <a:gd name="connsiteX203" fmla="*/ 1146234 w 3366376"/>
                <a:gd name="connsiteY203" fmla="*/ 3613651 h 5679109"/>
                <a:gd name="connsiteX204" fmla="*/ 1101177 w 3366376"/>
                <a:gd name="connsiteY204" fmla="*/ 3610359 h 5679109"/>
                <a:gd name="connsiteX205" fmla="*/ 1057219 w 3366376"/>
                <a:gd name="connsiteY205" fmla="*/ 3635601 h 5679109"/>
                <a:gd name="connsiteX206" fmla="*/ 1120958 w 3366376"/>
                <a:gd name="connsiteY206" fmla="*/ 3579629 h 5679109"/>
                <a:gd name="connsiteX207" fmla="*/ 1095682 w 3366376"/>
                <a:gd name="connsiteY207" fmla="*/ 3560972 h 5679109"/>
                <a:gd name="connsiteX208" fmla="*/ 1051724 w 3366376"/>
                <a:gd name="connsiteY208" fmla="*/ 3542315 h 5679109"/>
                <a:gd name="connsiteX209" fmla="*/ 1035240 w 3366376"/>
                <a:gd name="connsiteY209" fmla="*/ 3496220 h 5679109"/>
                <a:gd name="connsiteX210" fmla="*/ 990183 w 3366376"/>
                <a:gd name="connsiteY210" fmla="*/ 3484148 h 5679109"/>
                <a:gd name="connsiteX211" fmla="*/ 949522 w 3366376"/>
                <a:gd name="connsiteY211" fmla="*/ 3480856 h 5679109"/>
                <a:gd name="connsiteX212" fmla="*/ 925345 w 3366376"/>
                <a:gd name="connsiteY212" fmla="*/ 3540120 h 5679109"/>
                <a:gd name="connsiteX213" fmla="*/ 936334 w 3366376"/>
                <a:gd name="connsiteY213" fmla="*/ 3585117 h 5679109"/>
                <a:gd name="connsiteX214" fmla="*/ 966006 w 3366376"/>
                <a:gd name="connsiteY214" fmla="*/ 3624626 h 5679109"/>
                <a:gd name="connsiteX215" fmla="*/ 984688 w 3366376"/>
                <a:gd name="connsiteY215" fmla="*/ 3661941 h 5679109"/>
                <a:gd name="connsiteX216" fmla="*/ 1038537 w 3366376"/>
                <a:gd name="connsiteY216" fmla="*/ 3654258 h 5679109"/>
                <a:gd name="connsiteX217" fmla="*/ 1005568 w 3366376"/>
                <a:gd name="connsiteY217" fmla="*/ 3700352 h 5679109"/>
                <a:gd name="connsiteX218" fmla="*/ 955016 w 3366376"/>
                <a:gd name="connsiteY218" fmla="*/ 3743154 h 5679109"/>
                <a:gd name="connsiteX219" fmla="*/ 871496 w 3366376"/>
                <a:gd name="connsiteY219" fmla="*/ 3791443 h 5679109"/>
                <a:gd name="connsiteX220" fmla="*/ 771492 w 3366376"/>
                <a:gd name="connsiteY220" fmla="*/ 3846318 h 5679109"/>
                <a:gd name="connsiteX221" fmla="*/ 831934 w 3366376"/>
                <a:gd name="connsiteY221" fmla="*/ 3851805 h 5679109"/>
                <a:gd name="connsiteX222" fmla="*/ 868199 w 3366376"/>
                <a:gd name="connsiteY222" fmla="*/ 3868267 h 5679109"/>
                <a:gd name="connsiteX223" fmla="*/ 919850 w 3366376"/>
                <a:gd name="connsiteY223" fmla="*/ 3826563 h 5679109"/>
                <a:gd name="connsiteX224" fmla="*/ 1000073 w 3366376"/>
                <a:gd name="connsiteY224" fmla="*/ 3821076 h 5679109"/>
                <a:gd name="connsiteX225" fmla="*/ 1048427 w 3366376"/>
                <a:gd name="connsiteY225" fmla="*/ 3861682 h 5679109"/>
                <a:gd name="connsiteX226" fmla="*/ 1034141 w 3366376"/>
                <a:gd name="connsiteY226" fmla="*/ 3922044 h 5679109"/>
                <a:gd name="connsiteX227" fmla="*/ 1029745 w 3366376"/>
                <a:gd name="connsiteY227" fmla="*/ 3985698 h 5679109"/>
                <a:gd name="connsiteX228" fmla="*/ 1011063 w 3366376"/>
                <a:gd name="connsiteY228" fmla="*/ 4042767 h 5679109"/>
                <a:gd name="connsiteX229" fmla="*/ 1059417 w 3366376"/>
                <a:gd name="connsiteY229" fmla="*/ 4071302 h 5679109"/>
                <a:gd name="connsiteX230" fmla="*/ 1049526 w 3366376"/>
                <a:gd name="connsiteY230" fmla="*/ 4094349 h 5679109"/>
                <a:gd name="connsiteX231" fmla="*/ 1001172 w 3366376"/>
                <a:gd name="connsiteY231" fmla="*/ 4129469 h 5679109"/>
                <a:gd name="connsiteX232" fmla="*/ 957214 w 3366376"/>
                <a:gd name="connsiteY232" fmla="*/ 4201902 h 5679109"/>
                <a:gd name="connsiteX233" fmla="*/ 897871 w 3366376"/>
                <a:gd name="connsiteY233" fmla="*/ 4261167 h 5679109"/>
                <a:gd name="connsiteX234" fmla="*/ 792372 w 3366376"/>
                <a:gd name="connsiteY234" fmla="*/ 4284214 h 5679109"/>
                <a:gd name="connsiteX235" fmla="*/ 716544 w 3366376"/>
                <a:gd name="connsiteY235" fmla="*/ 4306163 h 5679109"/>
                <a:gd name="connsiteX236" fmla="*/ 644014 w 3366376"/>
                <a:gd name="connsiteY236" fmla="*/ 4344575 h 5679109"/>
                <a:gd name="connsiteX237" fmla="*/ 564889 w 3366376"/>
                <a:gd name="connsiteY237" fmla="*/ 4331406 h 5679109"/>
                <a:gd name="connsiteX238" fmla="*/ 501150 w 3366376"/>
                <a:gd name="connsiteY238" fmla="*/ 4350063 h 5679109"/>
                <a:gd name="connsiteX239" fmla="*/ 424224 w 3366376"/>
                <a:gd name="connsiteY239" fmla="*/ 4400547 h 5679109"/>
                <a:gd name="connsiteX240" fmla="*/ 478073 w 3366376"/>
                <a:gd name="connsiteY240" fmla="*/ 4419204 h 5679109"/>
                <a:gd name="connsiteX241" fmla="*/ 462687 w 3366376"/>
                <a:gd name="connsiteY241" fmla="*/ 4482858 h 5679109"/>
                <a:gd name="connsiteX242" fmla="*/ 472578 w 3366376"/>
                <a:gd name="connsiteY242" fmla="*/ 4531147 h 5679109"/>
                <a:gd name="connsiteX243" fmla="*/ 545108 w 3366376"/>
                <a:gd name="connsiteY243" fmla="*/ 4508100 h 5679109"/>
                <a:gd name="connsiteX244" fmla="*/ 598957 w 3366376"/>
                <a:gd name="connsiteY244" fmla="*/ 4531147 h 5679109"/>
                <a:gd name="connsiteX245" fmla="*/ 497853 w 3366376"/>
                <a:gd name="connsiteY245" fmla="*/ 4559682 h 5679109"/>
                <a:gd name="connsiteX246" fmla="*/ 536317 w 3366376"/>
                <a:gd name="connsiteY246" fmla="*/ 4613459 h 5679109"/>
                <a:gd name="connsiteX247" fmla="*/ 600056 w 3366376"/>
                <a:gd name="connsiteY247" fmla="*/ 4590412 h 5679109"/>
                <a:gd name="connsiteX248" fmla="*/ 672586 w 3366376"/>
                <a:gd name="connsiteY248" fmla="*/ 4552000 h 5679109"/>
                <a:gd name="connsiteX249" fmla="*/ 785778 w 3366376"/>
                <a:gd name="connsiteY249" fmla="*/ 4561877 h 5679109"/>
                <a:gd name="connsiteX250" fmla="*/ 820944 w 3366376"/>
                <a:gd name="connsiteY250" fmla="*/ 4628824 h 5679109"/>
                <a:gd name="connsiteX251" fmla="*/ 909959 w 3366376"/>
                <a:gd name="connsiteY251" fmla="*/ 4647481 h 5679109"/>
                <a:gd name="connsiteX252" fmla="*/ 818747 w 3366376"/>
                <a:gd name="connsiteY252" fmla="*/ 4672723 h 5679109"/>
                <a:gd name="connsiteX253" fmla="*/ 820944 w 3366376"/>
                <a:gd name="connsiteY253" fmla="*/ 4723207 h 5679109"/>
                <a:gd name="connsiteX254" fmla="*/ 903366 w 3366376"/>
                <a:gd name="connsiteY254" fmla="*/ 4730889 h 5679109"/>
                <a:gd name="connsiteX255" fmla="*/ 975896 w 3366376"/>
                <a:gd name="connsiteY255" fmla="*/ 4686990 h 5679109"/>
                <a:gd name="connsiteX256" fmla="*/ 997875 w 3366376"/>
                <a:gd name="connsiteY256" fmla="*/ 4756131 h 5679109"/>
                <a:gd name="connsiteX257" fmla="*/ 1051724 w 3366376"/>
                <a:gd name="connsiteY257" fmla="*/ 4828565 h 5679109"/>
                <a:gd name="connsiteX258" fmla="*/ 1216566 w 3366376"/>
                <a:gd name="connsiteY258" fmla="*/ 4887829 h 5679109"/>
                <a:gd name="connsiteX259" fmla="*/ 1336352 w 3366376"/>
                <a:gd name="connsiteY259" fmla="*/ 4824175 h 5679109"/>
                <a:gd name="connsiteX260" fmla="*/ 1457236 w 3366376"/>
                <a:gd name="connsiteY260" fmla="*/ 4801128 h 5679109"/>
                <a:gd name="connsiteX261" fmla="*/ 1568230 w 3366376"/>
                <a:gd name="connsiteY261" fmla="*/ 4703452 h 5679109"/>
                <a:gd name="connsiteX262" fmla="*/ 1595704 w 3366376"/>
                <a:gd name="connsiteY262" fmla="*/ 4726500 h 5679109"/>
                <a:gd name="connsiteX263" fmla="*/ 1506689 w 3366376"/>
                <a:gd name="connsiteY263" fmla="*/ 4790153 h 5679109"/>
                <a:gd name="connsiteX264" fmla="*/ 1442950 w 3366376"/>
                <a:gd name="connsiteY264" fmla="*/ 4856002 h 5679109"/>
                <a:gd name="connsiteX265" fmla="*/ 1351737 w 3366376"/>
                <a:gd name="connsiteY265" fmla="*/ 4907584 h 5679109"/>
                <a:gd name="connsiteX266" fmla="*/ 1305581 w 3366376"/>
                <a:gd name="connsiteY266" fmla="*/ 4986603 h 5679109"/>
                <a:gd name="connsiteX267" fmla="*/ 1235248 w 3366376"/>
                <a:gd name="connsiteY267" fmla="*/ 5021722 h 5679109"/>
                <a:gd name="connsiteX268" fmla="*/ 1104474 w 3366376"/>
                <a:gd name="connsiteY268" fmla="*/ 4986603 h 5679109"/>
                <a:gd name="connsiteX269" fmla="*/ 1053922 w 3366376"/>
                <a:gd name="connsiteY269" fmla="*/ 4953678 h 5679109"/>
                <a:gd name="connsiteX270" fmla="*/ 961610 w 3366376"/>
                <a:gd name="connsiteY270" fmla="*/ 4963556 h 5679109"/>
                <a:gd name="connsiteX271" fmla="*/ 809955 w 3366376"/>
                <a:gd name="connsiteY271" fmla="*/ 4949289 h 5679109"/>
                <a:gd name="connsiteX272" fmla="*/ 779185 w 3366376"/>
                <a:gd name="connsiteY272" fmla="*/ 5001968 h 5679109"/>
                <a:gd name="connsiteX273" fmla="*/ 720940 w 3366376"/>
                <a:gd name="connsiteY273" fmla="*/ 5062330 h 5679109"/>
                <a:gd name="connsiteX274" fmla="*/ 683576 w 3366376"/>
                <a:gd name="connsiteY274" fmla="*/ 5025015 h 5679109"/>
                <a:gd name="connsiteX275" fmla="*/ 652805 w 3366376"/>
                <a:gd name="connsiteY275" fmla="*/ 5049160 h 5679109"/>
                <a:gd name="connsiteX276" fmla="*/ 608847 w 3366376"/>
                <a:gd name="connsiteY276" fmla="*/ 5093059 h 5679109"/>
                <a:gd name="connsiteX277" fmla="*/ 595660 w 3366376"/>
                <a:gd name="connsiteY277" fmla="*/ 5146836 h 5679109"/>
                <a:gd name="connsiteX278" fmla="*/ 553900 w 3366376"/>
                <a:gd name="connsiteY278" fmla="*/ 5200612 h 5679109"/>
                <a:gd name="connsiteX279" fmla="*/ 505546 w 3366376"/>
                <a:gd name="connsiteY279" fmla="*/ 5231342 h 5679109"/>
                <a:gd name="connsiteX280" fmla="*/ 463786 w 3366376"/>
                <a:gd name="connsiteY280" fmla="*/ 5276339 h 5679109"/>
                <a:gd name="connsiteX281" fmla="*/ 419828 w 3366376"/>
                <a:gd name="connsiteY281" fmla="*/ 5302678 h 5679109"/>
                <a:gd name="connsiteX282" fmla="*/ 407739 w 3366376"/>
                <a:gd name="connsiteY282" fmla="*/ 5332310 h 5679109"/>
                <a:gd name="connsiteX283" fmla="*/ 370375 w 3366376"/>
                <a:gd name="connsiteY283" fmla="*/ 5303776 h 5679109"/>
                <a:gd name="connsiteX284" fmla="*/ 359386 w 3366376"/>
                <a:gd name="connsiteY284" fmla="*/ 5346578 h 5679109"/>
                <a:gd name="connsiteX285" fmla="*/ 314329 w 3366376"/>
                <a:gd name="connsiteY285" fmla="*/ 5377307 h 5679109"/>
                <a:gd name="connsiteX286" fmla="*/ 285756 w 3366376"/>
                <a:gd name="connsiteY286" fmla="*/ 5404744 h 5679109"/>
                <a:gd name="connsiteX287" fmla="*/ 237402 w 3366376"/>
                <a:gd name="connsiteY287" fmla="*/ 5440961 h 5679109"/>
                <a:gd name="connsiteX288" fmla="*/ 146190 w 3366376"/>
                <a:gd name="connsiteY288" fmla="*/ 5493640 h 5679109"/>
                <a:gd name="connsiteX289" fmla="*/ 106627 w 3366376"/>
                <a:gd name="connsiteY289" fmla="*/ 5456326 h 5679109"/>
                <a:gd name="connsiteX290" fmla="*/ 35196 w 3366376"/>
                <a:gd name="connsiteY290" fmla="*/ 5499128 h 5679109"/>
                <a:gd name="connsiteX291" fmla="*/ 30 w 3366376"/>
                <a:gd name="connsiteY291" fmla="*/ 5571562 h 5679109"/>
                <a:gd name="connsiteX292" fmla="*/ 60472 w 3366376"/>
                <a:gd name="connsiteY292" fmla="*/ 5575952 h 5679109"/>
                <a:gd name="connsiteX293" fmla="*/ 106627 w 3366376"/>
                <a:gd name="connsiteY293" fmla="*/ 5534247 h 5679109"/>
                <a:gd name="connsiteX294" fmla="*/ 160476 w 3366376"/>
                <a:gd name="connsiteY294" fmla="*/ 5567172 h 5679109"/>
                <a:gd name="connsiteX295" fmla="*/ 191247 w 3366376"/>
                <a:gd name="connsiteY295" fmla="*/ 5648386 h 5679109"/>
                <a:gd name="connsiteX296" fmla="*/ 235205 w 3366376"/>
                <a:gd name="connsiteY296" fmla="*/ 5650580 h 5679109"/>
                <a:gd name="connsiteX297" fmla="*/ 284657 w 3366376"/>
                <a:gd name="connsiteY297" fmla="*/ 5631923 h 5679109"/>
                <a:gd name="connsiteX298" fmla="*/ 282459 w 3366376"/>
                <a:gd name="connsiteY298" fmla="*/ 5594609 h 5679109"/>
                <a:gd name="connsiteX299" fmla="*/ 292350 w 3366376"/>
                <a:gd name="connsiteY299" fmla="*/ 5571562 h 5679109"/>
                <a:gd name="connsiteX300" fmla="*/ 293449 w 3366376"/>
                <a:gd name="connsiteY300" fmla="*/ 5532052 h 5679109"/>
                <a:gd name="connsiteX301" fmla="*/ 334110 w 3366376"/>
                <a:gd name="connsiteY301" fmla="*/ 5532052 h 5679109"/>
                <a:gd name="connsiteX302" fmla="*/ 380266 w 3366376"/>
                <a:gd name="connsiteY302" fmla="*/ 5523273 h 5679109"/>
                <a:gd name="connsiteX303" fmla="*/ 426422 w 3366376"/>
                <a:gd name="connsiteY303" fmla="*/ 5522175 h 5679109"/>
                <a:gd name="connsiteX304" fmla="*/ 444005 w 3366376"/>
                <a:gd name="connsiteY304" fmla="*/ 5473886 h 5679109"/>
                <a:gd name="connsiteX305" fmla="*/ 496754 w 3366376"/>
                <a:gd name="connsiteY305" fmla="*/ 5478276 h 5679109"/>
                <a:gd name="connsiteX306" fmla="*/ 595660 w 3366376"/>
                <a:gd name="connsiteY306" fmla="*/ 5480470 h 5679109"/>
                <a:gd name="connsiteX307" fmla="*/ 646212 w 3366376"/>
                <a:gd name="connsiteY307" fmla="*/ 5477178 h 5679109"/>
                <a:gd name="connsiteX308" fmla="*/ 681378 w 3366376"/>
                <a:gd name="connsiteY308" fmla="*/ 5432181 h 5679109"/>
                <a:gd name="connsiteX309" fmla="*/ 689071 w 3366376"/>
                <a:gd name="connsiteY309" fmla="*/ 5448643 h 5679109"/>
                <a:gd name="connsiteX310" fmla="*/ 681378 w 3366376"/>
                <a:gd name="connsiteY310" fmla="*/ 5494738 h 5679109"/>
                <a:gd name="connsiteX311" fmla="*/ 720940 w 3366376"/>
                <a:gd name="connsiteY311" fmla="*/ 5512298 h 5679109"/>
                <a:gd name="connsiteX312" fmla="*/ 764898 w 3366376"/>
                <a:gd name="connsiteY312" fmla="*/ 5543027 h 5679109"/>
                <a:gd name="connsiteX313" fmla="*/ 816549 w 3366376"/>
                <a:gd name="connsiteY313" fmla="*/ 5578147 h 5679109"/>
                <a:gd name="connsiteX314" fmla="*/ 874793 w 3366376"/>
                <a:gd name="connsiteY314" fmla="*/ 5631923 h 5679109"/>
                <a:gd name="connsiteX315" fmla="*/ 911058 w 3366376"/>
                <a:gd name="connsiteY315" fmla="*/ 5578147 h 5679109"/>
                <a:gd name="connsiteX316" fmla="*/ 982490 w 3366376"/>
                <a:gd name="connsiteY316" fmla="*/ 5540832 h 5679109"/>
                <a:gd name="connsiteX317" fmla="*/ 963808 w 3366376"/>
                <a:gd name="connsiteY317" fmla="*/ 5515590 h 5679109"/>
                <a:gd name="connsiteX318" fmla="*/ 987985 w 3366376"/>
                <a:gd name="connsiteY318" fmla="*/ 5485958 h 5679109"/>
                <a:gd name="connsiteX319" fmla="*/ 989084 w 3366376"/>
                <a:gd name="connsiteY319" fmla="*/ 5449741 h 5679109"/>
                <a:gd name="connsiteX320" fmla="*/ 1029745 w 3366376"/>
                <a:gd name="connsiteY320" fmla="*/ 5401452 h 5679109"/>
                <a:gd name="connsiteX321" fmla="*/ 1024250 w 3366376"/>
                <a:gd name="connsiteY321" fmla="*/ 5359747 h 5679109"/>
                <a:gd name="connsiteX322" fmla="*/ 1051724 w 3366376"/>
                <a:gd name="connsiteY322" fmla="*/ 5367430 h 5679109"/>
                <a:gd name="connsiteX323" fmla="*/ 1078099 w 3366376"/>
                <a:gd name="connsiteY323" fmla="*/ 5378405 h 5679109"/>
                <a:gd name="connsiteX324" fmla="*/ 1172608 w 3366376"/>
                <a:gd name="connsiteY324" fmla="*/ 5354260 h 5679109"/>
                <a:gd name="connsiteX325" fmla="*/ 1248436 w 3366376"/>
                <a:gd name="connsiteY325" fmla="*/ 5346578 h 5679109"/>
                <a:gd name="connsiteX326" fmla="*/ 1358331 w 3366376"/>
                <a:gd name="connsiteY326" fmla="*/ 5391575 h 5679109"/>
                <a:gd name="connsiteX327" fmla="*/ 1422070 w 3366376"/>
                <a:gd name="connsiteY327" fmla="*/ 5449741 h 5679109"/>
                <a:gd name="connsiteX328" fmla="*/ 1437455 w 3366376"/>
                <a:gd name="connsiteY328" fmla="*/ 5519980 h 5679109"/>
                <a:gd name="connsiteX329" fmla="*/ 1466028 w 3366376"/>
                <a:gd name="connsiteY329" fmla="*/ 5500225 h 5679109"/>
                <a:gd name="connsiteX330" fmla="*/ 1458335 w 3366376"/>
                <a:gd name="connsiteY330" fmla="*/ 5439864 h 5679109"/>
                <a:gd name="connsiteX331" fmla="*/ 1539657 w 3366376"/>
                <a:gd name="connsiteY331" fmla="*/ 5462911 h 5679109"/>
                <a:gd name="connsiteX332" fmla="*/ 1640761 w 3366376"/>
                <a:gd name="connsiteY332" fmla="*/ 5509005 h 5679109"/>
                <a:gd name="connsiteX333" fmla="*/ 1659443 w 3366376"/>
                <a:gd name="connsiteY333" fmla="*/ 5454131 h 5679109"/>
                <a:gd name="connsiteX334" fmla="*/ 1619881 w 3366376"/>
                <a:gd name="connsiteY334" fmla="*/ 5388282 h 5679109"/>
                <a:gd name="connsiteX335" fmla="*/ 1692411 w 3366376"/>
                <a:gd name="connsiteY335" fmla="*/ 5429986 h 5679109"/>
                <a:gd name="connsiteX336" fmla="*/ 1783624 w 3366376"/>
                <a:gd name="connsiteY336" fmla="*/ 5421206 h 5679109"/>
                <a:gd name="connsiteX337" fmla="*/ 1833077 w 3366376"/>
                <a:gd name="connsiteY337" fmla="*/ 5446449 h 5679109"/>
                <a:gd name="connsiteX338" fmla="*/ 1879233 w 3366376"/>
                <a:gd name="connsiteY338" fmla="*/ 5435474 h 5679109"/>
                <a:gd name="connsiteX339" fmla="*/ 1928685 w 3366376"/>
                <a:gd name="connsiteY339" fmla="*/ 5404744 h 5679109"/>
                <a:gd name="connsiteX340" fmla="*/ 1882529 w 3366376"/>
                <a:gd name="connsiteY340" fmla="*/ 5326823 h 5679109"/>
                <a:gd name="connsiteX341" fmla="*/ 1942972 w 3366376"/>
                <a:gd name="connsiteY341" fmla="*/ 5367430 h 5679109"/>
                <a:gd name="connsiteX342" fmla="*/ 2013305 w 3366376"/>
                <a:gd name="connsiteY342" fmla="*/ 5424499 h 5679109"/>
                <a:gd name="connsiteX343" fmla="*/ 2036382 w 3366376"/>
                <a:gd name="connsiteY343" fmla="*/ 5391575 h 5679109"/>
                <a:gd name="connsiteX344" fmla="*/ 2094626 w 3366376"/>
                <a:gd name="connsiteY344" fmla="*/ 5411329 h 5679109"/>
                <a:gd name="connsiteX345" fmla="*/ 2124298 w 3366376"/>
                <a:gd name="connsiteY345" fmla="*/ 5449741 h 5679109"/>
                <a:gd name="connsiteX346" fmla="*/ 2173751 w 3366376"/>
                <a:gd name="connsiteY346" fmla="*/ 5473886 h 5679109"/>
                <a:gd name="connsiteX347" fmla="*/ 2280349 w 3366376"/>
                <a:gd name="connsiteY347" fmla="*/ 5465106 h 5679109"/>
                <a:gd name="connsiteX348" fmla="*/ 2486952 w 3366376"/>
                <a:gd name="connsiteY348" fmla="*/ 5493640 h 5679109"/>
                <a:gd name="connsiteX349" fmla="*/ 2566076 w 3366376"/>
                <a:gd name="connsiteY349" fmla="*/ 5538637 h 5679109"/>
                <a:gd name="connsiteX350" fmla="*/ 2637508 w 3366376"/>
                <a:gd name="connsiteY350" fmla="*/ 5510103 h 5679109"/>
                <a:gd name="connsiteX351" fmla="*/ 2777074 w 3366376"/>
                <a:gd name="connsiteY351" fmla="*/ 5480470 h 5679109"/>
                <a:gd name="connsiteX352" fmla="*/ 2839714 w 3366376"/>
                <a:gd name="connsiteY352" fmla="*/ 5449741 h 5679109"/>
                <a:gd name="connsiteX353" fmla="*/ 2919938 w 3366376"/>
                <a:gd name="connsiteY353" fmla="*/ 5464008 h 5679109"/>
                <a:gd name="connsiteX354" fmla="*/ 2955104 w 3366376"/>
                <a:gd name="connsiteY354" fmla="*/ 5386087 h 5679109"/>
                <a:gd name="connsiteX355" fmla="*/ 3092472 w 3366376"/>
                <a:gd name="connsiteY355" fmla="*/ 5356455 h 5679109"/>
                <a:gd name="connsiteX356" fmla="*/ 3119946 w 3366376"/>
                <a:gd name="connsiteY356" fmla="*/ 5292801 h 5679109"/>
                <a:gd name="connsiteX357" fmla="*/ 3125441 w 3366376"/>
                <a:gd name="connsiteY357" fmla="*/ 5224757 h 5679109"/>
                <a:gd name="connsiteX358" fmla="*/ 3163904 w 3366376"/>
                <a:gd name="connsiteY358" fmla="*/ 5165493 h 5679109"/>
                <a:gd name="connsiteX359" fmla="*/ 3111155 w 3366376"/>
                <a:gd name="connsiteY359" fmla="*/ 5162200 h 5679109"/>
                <a:gd name="connsiteX360" fmla="*/ 3047416 w 3366376"/>
                <a:gd name="connsiteY360" fmla="*/ 5157810 h 5679109"/>
                <a:gd name="connsiteX361" fmla="*/ 2986973 w 3366376"/>
                <a:gd name="connsiteY361" fmla="*/ 5175370 h 5679109"/>
                <a:gd name="connsiteX362" fmla="*/ 2886969 w 3366376"/>
                <a:gd name="connsiteY362" fmla="*/ 5189637 h 5679109"/>
                <a:gd name="connsiteX363" fmla="*/ 2938619 w 3366376"/>
                <a:gd name="connsiteY363" fmla="*/ 5165493 h 5679109"/>
                <a:gd name="connsiteX364" fmla="*/ 2911146 w 3366376"/>
                <a:gd name="connsiteY364" fmla="*/ 5109521 h 5679109"/>
                <a:gd name="connsiteX365" fmla="*/ 2861693 w 3366376"/>
                <a:gd name="connsiteY365" fmla="*/ 5151225 h 5679109"/>
                <a:gd name="connsiteX366" fmla="*/ 2785866 w 3366376"/>
                <a:gd name="connsiteY366" fmla="*/ 5140251 h 5679109"/>
                <a:gd name="connsiteX367" fmla="*/ 2866089 w 3366376"/>
                <a:gd name="connsiteY367" fmla="*/ 5113911 h 5679109"/>
                <a:gd name="connsiteX368" fmla="*/ 2836417 w 3366376"/>
                <a:gd name="connsiteY368" fmla="*/ 5076597 h 5679109"/>
                <a:gd name="connsiteX369" fmla="*/ 2775975 w 3366376"/>
                <a:gd name="connsiteY369" fmla="*/ 5088669 h 5679109"/>
                <a:gd name="connsiteX370" fmla="*/ 2761689 w 3366376"/>
                <a:gd name="connsiteY370" fmla="*/ 5057939 h 5679109"/>
                <a:gd name="connsiteX371" fmla="*/ 2857298 w 3366376"/>
                <a:gd name="connsiteY371" fmla="*/ 5053549 h 5679109"/>
                <a:gd name="connsiteX372" fmla="*/ 2937521 w 3366376"/>
                <a:gd name="connsiteY372" fmla="*/ 5028307 h 5679109"/>
                <a:gd name="connsiteX373" fmla="*/ 2981479 w 3366376"/>
                <a:gd name="connsiteY373" fmla="*/ 4962458 h 5679109"/>
                <a:gd name="connsiteX374" fmla="*/ 2957302 w 3366376"/>
                <a:gd name="connsiteY374" fmla="*/ 4916364 h 5679109"/>
                <a:gd name="connsiteX375" fmla="*/ 2875980 w 3366376"/>
                <a:gd name="connsiteY375" fmla="*/ 4916364 h 5679109"/>
                <a:gd name="connsiteX376" fmla="*/ 2945213 w 3366376"/>
                <a:gd name="connsiteY376" fmla="*/ 4893317 h 5679109"/>
                <a:gd name="connsiteX377" fmla="*/ 2988072 w 3366376"/>
                <a:gd name="connsiteY377" fmla="*/ 4854905 h 5679109"/>
                <a:gd name="connsiteX378" fmla="*/ 3016645 w 3366376"/>
                <a:gd name="connsiteY378" fmla="*/ 4892220 h 5679109"/>
                <a:gd name="connsiteX379" fmla="*/ 3074889 w 3366376"/>
                <a:gd name="connsiteY379" fmla="*/ 4896609 h 5679109"/>
                <a:gd name="connsiteX380" fmla="*/ 3127639 w 3366376"/>
                <a:gd name="connsiteY380" fmla="*/ 4861490 h 5679109"/>
                <a:gd name="connsiteX381" fmla="*/ 3138628 w 3366376"/>
                <a:gd name="connsiteY381" fmla="*/ 4826371 h 5679109"/>
                <a:gd name="connsiteX382" fmla="*/ 3083681 w 3366376"/>
                <a:gd name="connsiteY382" fmla="*/ 4828565 h 5679109"/>
                <a:gd name="connsiteX383" fmla="*/ 3070493 w 3366376"/>
                <a:gd name="connsiteY383" fmla="*/ 4801128 h 5679109"/>
                <a:gd name="connsiteX384" fmla="*/ 3119946 w 3366376"/>
                <a:gd name="connsiteY384" fmla="*/ 4791251 h 5679109"/>
                <a:gd name="connsiteX385" fmla="*/ 3108957 w 3366376"/>
                <a:gd name="connsiteY385" fmla="*/ 4745157 h 5679109"/>
                <a:gd name="connsiteX386" fmla="*/ 3165003 w 3366376"/>
                <a:gd name="connsiteY386" fmla="*/ 4796738 h 5679109"/>
                <a:gd name="connsiteX387" fmla="*/ 3243028 w 3366376"/>
                <a:gd name="connsiteY387" fmla="*/ 4738572 h 5679109"/>
                <a:gd name="connsiteX388" fmla="*/ 3284788 w 3366376"/>
                <a:gd name="connsiteY388" fmla="*/ 4662845 h 5679109"/>
                <a:gd name="connsiteX389" fmla="*/ 3328746 w 3366376"/>
                <a:gd name="connsiteY389" fmla="*/ 4532245 h 5679109"/>
                <a:gd name="connsiteX390" fmla="*/ 3354023 w 3366376"/>
                <a:gd name="connsiteY390" fmla="*/ 4441154 h 5679109"/>
                <a:gd name="connsiteX391" fmla="*/ 3358418 w 3366376"/>
                <a:gd name="connsiteY391" fmla="*/ 4342380 h 5679109"/>
                <a:gd name="connsiteX392" fmla="*/ 3319955 w 3366376"/>
                <a:gd name="connsiteY392" fmla="*/ 4234827 h 5679109"/>
                <a:gd name="connsiteX393" fmla="*/ 3199070 w 3366376"/>
                <a:gd name="connsiteY393" fmla="*/ 4151418 h 5679109"/>
                <a:gd name="connsiteX394" fmla="*/ 3140826 w 3366376"/>
                <a:gd name="connsiteY394" fmla="*/ 4140443 h 5679109"/>
                <a:gd name="connsiteX395" fmla="*/ 3060603 w 3366376"/>
                <a:gd name="connsiteY395" fmla="*/ 4073497 h 5679109"/>
                <a:gd name="connsiteX396" fmla="*/ 2992468 w 3366376"/>
                <a:gd name="connsiteY396" fmla="*/ 4064717 h 5679109"/>
                <a:gd name="connsiteX397" fmla="*/ 2914443 w 3366376"/>
                <a:gd name="connsiteY397" fmla="*/ 4092154 h 5679109"/>
                <a:gd name="connsiteX398" fmla="*/ 2862792 w 3366376"/>
                <a:gd name="connsiteY398" fmla="*/ 4164588 h 5679109"/>
                <a:gd name="connsiteX399" fmla="*/ 2805647 w 3366376"/>
                <a:gd name="connsiteY399" fmla="*/ 4186537 h 5679109"/>
                <a:gd name="connsiteX400" fmla="*/ 2756194 w 3366376"/>
                <a:gd name="connsiteY400" fmla="*/ 4121786 h 5679109"/>
                <a:gd name="connsiteX401" fmla="*/ 2707840 w 3366376"/>
                <a:gd name="connsiteY401" fmla="*/ 4118494 h 5679109"/>
                <a:gd name="connsiteX402" fmla="*/ 2739710 w 3366376"/>
                <a:gd name="connsiteY402" fmla="*/ 4072399 h 5679109"/>
                <a:gd name="connsiteX403" fmla="*/ 2685861 w 3366376"/>
                <a:gd name="connsiteY403" fmla="*/ 4064717 h 5679109"/>
                <a:gd name="connsiteX404" fmla="*/ 2732017 w 3366376"/>
                <a:gd name="connsiteY404" fmla="*/ 4041670 h 5679109"/>
                <a:gd name="connsiteX405" fmla="*/ 2781470 w 3366376"/>
                <a:gd name="connsiteY405" fmla="*/ 4013135 h 5679109"/>
                <a:gd name="connsiteX406" fmla="*/ 2833121 w 3366376"/>
                <a:gd name="connsiteY406" fmla="*/ 3942896 h 5679109"/>
                <a:gd name="connsiteX407" fmla="*/ 2843011 w 3366376"/>
                <a:gd name="connsiteY407" fmla="*/ 3878145 h 5679109"/>
                <a:gd name="connsiteX408" fmla="*/ 2815538 w 3366376"/>
                <a:gd name="connsiteY408" fmla="*/ 3769494 h 5679109"/>
                <a:gd name="connsiteX409" fmla="*/ 2725424 w 3366376"/>
                <a:gd name="connsiteY409" fmla="*/ 3627918 h 5679109"/>
                <a:gd name="connsiteX410" fmla="*/ 2667179 w 3366376"/>
                <a:gd name="connsiteY410" fmla="*/ 3603774 h 5679109"/>
                <a:gd name="connsiteX411" fmla="*/ 2641903 w 3366376"/>
                <a:gd name="connsiteY411" fmla="*/ 3553290 h 5679109"/>
                <a:gd name="connsiteX412" fmla="*/ 2575966 w 3366376"/>
                <a:gd name="connsiteY412" fmla="*/ 3545607 h 5679109"/>
                <a:gd name="connsiteX413" fmla="*/ 2492446 w 3366376"/>
                <a:gd name="connsiteY413" fmla="*/ 3530243 h 5679109"/>
                <a:gd name="connsiteX414" fmla="*/ 2548492 w 3366376"/>
                <a:gd name="connsiteY414" fmla="*/ 3519268 h 5679109"/>
                <a:gd name="connsiteX415" fmla="*/ 2622122 w 3366376"/>
                <a:gd name="connsiteY415" fmla="*/ 3518170 h 5679109"/>
                <a:gd name="connsiteX416" fmla="*/ 2690257 w 3366376"/>
                <a:gd name="connsiteY416" fmla="*/ 3571947 h 5679109"/>
                <a:gd name="connsiteX417" fmla="*/ 2766085 w 3366376"/>
                <a:gd name="connsiteY417" fmla="*/ 3622431 h 5679109"/>
                <a:gd name="connsiteX418" fmla="*/ 2834219 w 3366376"/>
                <a:gd name="connsiteY418" fmla="*/ 3612554 h 5679109"/>
                <a:gd name="connsiteX419" fmla="*/ 2794657 w 3366376"/>
                <a:gd name="connsiteY419" fmla="*/ 3574142 h 5679109"/>
                <a:gd name="connsiteX420" fmla="*/ 2751798 w 3366376"/>
                <a:gd name="connsiteY420" fmla="*/ 3506098 h 5679109"/>
                <a:gd name="connsiteX421" fmla="*/ 2705643 w 3366376"/>
                <a:gd name="connsiteY421" fmla="*/ 3362327 h 5679109"/>
                <a:gd name="connsiteX422" fmla="*/ 2759491 w 3366376"/>
                <a:gd name="connsiteY422" fmla="*/ 3308551 h 5679109"/>
                <a:gd name="connsiteX423" fmla="*/ 2745205 w 3366376"/>
                <a:gd name="connsiteY423" fmla="*/ 3269041 h 5679109"/>
                <a:gd name="connsiteX424" fmla="*/ 2703445 w 3366376"/>
                <a:gd name="connsiteY424" fmla="*/ 3215265 h 5679109"/>
                <a:gd name="connsiteX425" fmla="*/ 2648497 w 3366376"/>
                <a:gd name="connsiteY425" fmla="*/ 3152708 h 5679109"/>
                <a:gd name="connsiteX426" fmla="*/ 2635310 w 3366376"/>
                <a:gd name="connsiteY426" fmla="*/ 3068202 h 5679109"/>
                <a:gd name="connsiteX427" fmla="*/ 2597945 w 3366376"/>
                <a:gd name="connsiteY427" fmla="*/ 2999060 h 5679109"/>
                <a:gd name="connsiteX428" fmla="*/ 2512227 w 3366376"/>
                <a:gd name="connsiteY428" fmla="*/ 2955161 h 5679109"/>
                <a:gd name="connsiteX429" fmla="*/ 2456181 w 3366376"/>
                <a:gd name="connsiteY429" fmla="*/ 2906872 h 5679109"/>
                <a:gd name="connsiteX430" fmla="*/ 2412223 w 3366376"/>
                <a:gd name="connsiteY430" fmla="*/ 2906872 h 5679109"/>
                <a:gd name="connsiteX431" fmla="*/ 2393541 w 3366376"/>
                <a:gd name="connsiteY431" fmla="*/ 2827853 h 5679109"/>
                <a:gd name="connsiteX432" fmla="*/ 2351781 w 3366376"/>
                <a:gd name="connsiteY432" fmla="*/ 2760907 h 5679109"/>
                <a:gd name="connsiteX433" fmla="*/ 2374859 w 3366376"/>
                <a:gd name="connsiteY433" fmla="*/ 2678595 h 5679109"/>
                <a:gd name="connsiteX434" fmla="*/ 2336395 w 3366376"/>
                <a:gd name="connsiteY434" fmla="*/ 2562262 h 5679109"/>
                <a:gd name="connsiteX435" fmla="*/ 2336395 w 3366376"/>
                <a:gd name="connsiteY435" fmla="*/ 2413004 h 5679109"/>
                <a:gd name="connsiteX436" fmla="*/ 2321010 w 3366376"/>
                <a:gd name="connsiteY436" fmla="*/ 2283501 h 5679109"/>
                <a:gd name="connsiteX437" fmla="*/ 2295734 w 3366376"/>
                <a:gd name="connsiteY437" fmla="*/ 2185825 h 5679109"/>
                <a:gd name="connsiteX438" fmla="*/ 2203423 w 3366376"/>
                <a:gd name="connsiteY438" fmla="*/ 2132049 h 5679109"/>
                <a:gd name="connsiteX439" fmla="*/ 2188037 w 3366376"/>
                <a:gd name="connsiteY439" fmla="*/ 2017910 h 5679109"/>
                <a:gd name="connsiteX440" fmla="*/ 2111111 w 3366376"/>
                <a:gd name="connsiteY440" fmla="*/ 1938892 h 5679109"/>
                <a:gd name="connsiteX441" fmla="*/ 2018799 w 3366376"/>
                <a:gd name="connsiteY441" fmla="*/ 1875238 h 5679109"/>
                <a:gd name="connsiteX442" fmla="*/ 1964951 w 3366376"/>
                <a:gd name="connsiteY442" fmla="*/ 1830241 h 5679109"/>
                <a:gd name="connsiteX443" fmla="*/ 1905607 w 3366376"/>
                <a:gd name="connsiteY443" fmla="*/ 1874140 h 5679109"/>
                <a:gd name="connsiteX444" fmla="*/ 1823186 w 3366376"/>
                <a:gd name="connsiteY444" fmla="*/ 1864263 h 5679109"/>
                <a:gd name="connsiteX445" fmla="*/ 1729776 w 3366376"/>
                <a:gd name="connsiteY445" fmla="*/ 1858775 h 5679109"/>
                <a:gd name="connsiteX446" fmla="*/ 1683620 w 3366376"/>
                <a:gd name="connsiteY446" fmla="*/ 1841215 h 5679109"/>
                <a:gd name="connsiteX447" fmla="*/ 1640761 w 3366376"/>
                <a:gd name="connsiteY447" fmla="*/ 1839021 h 5679109"/>
                <a:gd name="connsiteX448" fmla="*/ 1585813 w 3366376"/>
                <a:gd name="connsiteY448" fmla="*/ 1836826 h 5679109"/>
                <a:gd name="connsiteX449" fmla="*/ 1616584 w 3366376"/>
                <a:gd name="connsiteY449" fmla="*/ 1801706 h 5679109"/>
                <a:gd name="connsiteX450" fmla="*/ 1563834 w 3366376"/>
                <a:gd name="connsiteY450" fmla="*/ 1745734 h 5679109"/>
                <a:gd name="connsiteX451" fmla="*/ 1635266 w 3366376"/>
                <a:gd name="connsiteY451" fmla="*/ 1777561 h 5679109"/>
                <a:gd name="connsiteX452" fmla="*/ 1679224 w 3366376"/>
                <a:gd name="connsiteY452" fmla="*/ 1817071 h 5679109"/>
                <a:gd name="connsiteX453" fmla="*/ 1761645 w 3366376"/>
                <a:gd name="connsiteY453" fmla="*/ 1814876 h 5679109"/>
                <a:gd name="connsiteX454" fmla="*/ 1875936 w 3366376"/>
                <a:gd name="connsiteY454" fmla="*/ 1751222 h 5679109"/>
                <a:gd name="connsiteX455" fmla="*/ 1967149 w 3366376"/>
                <a:gd name="connsiteY455" fmla="*/ 1741344 h 5679109"/>
                <a:gd name="connsiteX456" fmla="*/ 2039679 w 3366376"/>
                <a:gd name="connsiteY456" fmla="*/ 1717200 h 5679109"/>
                <a:gd name="connsiteX457" fmla="*/ 2010007 w 3366376"/>
                <a:gd name="connsiteY457" fmla="*/ 1673301 h 5679109"/>
                <a:gd name="connsiteX458" fmla="*/ 1977039 w 3366376"/>
                <a:gd name="connsiteY458" fmla="*/ 1640376 h 5679109"/>
                <a:gd name="connsiteX459" fmla="*/ 1977039 w 3366376"/>
                <a:gd name="connsiteY459" fmla="*/ 1595379 h 5679109"/>
                <a:gd name="connsiteX460" fmla="*/ 1928685 w 3366376"/>
                <a:gd name="connsiteY460" fmla="*/ 1598672 h 5679109"/>
                <a:gd name="connsiteX461" fmla="*/ 1860550 w 3366376"/>
                <a:gd name="connsiteY461" fmla="*/ 1626109 h 5679109"/>
                <a:gd name="connsiteX462" fmla="*/ 1820988 w 3366376"/>
                <a:gd name="connsiteY462" fmla="*/ 1611842 h 5679109"/>
                <a:gd name="connsiteX463" fmla="*/ 1888024 w 3366376"/>
                <a:gd name="connsiteY463" fmla="*/ 1574527 h 5679109"/>
                <a:gd name="connsiteX464" fmla="*/ 1964951 w 3366376"/>
                <a:gd name="connsiteY464" fmla="*/ 1570137 h 5679109"/>
                <a:gd name="connsiteX465" fmla="*/ 2020997 w 3366376"/>
                <a:gd name="connsiteY465" fmla="*/ 1560260 h 5679109"/>
                <a:gd name="connsiteX466" fmla="*/ 2070449 w 3366376"/>
                <a:gd name="connsiteY466" fmla="*/ 1531725 h 5679109"/>
                <a:gd name="connsiteX467" fmla="*/ 2108913 w 3366376"/>
                <a:gd name="connsiteY467" fmla="*/ 1495508 h 5679109"/>
                <a:gd name="connsiteX468" fmla="*/ 2144079 w 3366376"/>
                <a:gd name="connsiteY468" fmla="*/ 1453804 h 5679109"/>
                <a:gd name="connsiteX469" fmla="*/ 2111111 w 3366376"/>
                <a:gd name="connsiteY469" fmla="*/ 1441732 h 5679109"/>
                <a:gd name="connsiteX470" fmla="*/ 2147376 w 3366376"/>
                <a:gd name="connsiteY470" fmla="*/ 1427464 h 5679109"/>
                <a:gd name="connsiteX471" fmla="*/ 2190235 w 3366376"/>
                <a:gd name="connsiteY471" fmla="*/ 1384662 h 5679109"/>
                <a:gd name="connsiteX472" fmla="*/ 2242985 w 3366376"/>
                <a:gd name="connsiteY472" fmla="*/ 1344056 h 5679109"/>
                <a:gd name="connsiteX473" fmla="*/ 2270458 w 3366376"/>
                <a:gd name="connsiteY473" fmla="*/ 1276012 h 5679109"/>
                <a:gd name="connsiteX474" fmla="*/ 2314416 w 3366376"/>
                <a:gd name="connsiteY474" fmla="*/ 1222235 h 5679109"/>
                <a:gd name="connsiteX475" fmla="*/ 2314416 w 3366376"/>
                <a:gd name="connsiteY475" fmla="*/ 1176141 h 5679109"/>
                <a:gd name="connsiteX476" fmla="*/ 2351781 w 3366376"/>
                <a:gd name="connsiteY476" fmla="*/ 1124559 h 5679109"/>
                <a:gd name="connsiteX477" fmla="*/ 2382551 w 3366376"/>
                <a:gd name="connsiteY477" fmla="*/ 1046638 h 5679109"/>
                <a:gd name="connsiteX478" fmla="*/ 2448488 w 3366376"/>
                <a:gd name="connsiteY478" fmla="*/ 1013713 h 5679109"/>
                <a:gd name="connsiteX479" fmla="*/ 2471566 w 3366376"/>
                <a:gd name="connsiteY479" fmla="*/ 921524 h 5679109"/>
                <a:gd name="connsiteX480" fmla="*/ 2453983 w 3366376"/>
                <a:gd name="connsiteY480" fmla="*/ 871040 h 5679109"/>
                <a:gd name="connsiteX481" fmla="*/ 2414421 w 3366376"/>
                <a:gd name="connsiteY481" fmla="*/ 811776 h 5679109"/>
                <a:gd name="connsiteX482" fmla="*/ 2344088 w 3366376"/>
                <a:gd name="connsiteY482" fmla="*/ 808484 h 5679109"/>
                <a:gd name="connsiteX483" fmla="*/ 2271558 w 3366376"/>
                <a:gd name="connsiteY483" fmla="*/ 811776 h 5679109"/>
                <a:gd name="connsiteX484" fmla="*/ 2236391 w 3366376"/>
                <a:gd name="connsiteY484" fmla="*/ 795314 h 5679109"/>
                <a:gd name="connsiteX485" fmla="*/ 2194631 w 3366376"/>
                <a:gd name="connsiteY485" fmla="*/ 782144 h 5679109"/>
                <a:gd name="connsiteX486" fmla="*/ 2163860 w 3366376"/>
                <a:gd name="connsiteY486" fmla="*/ 774462 h 5679109"/>
                <a:gd name="connsiteX487" fmla="*/ 2134189 w 3366376"/>
                <a:gd name="connsiteY487" fmla="*/ 768974 h 5679109"/>
                <a:gd name="connsiteX488" fmla="*/ 2104517 w 3366376"/>
                <a:gd name="connsiteY488" fmla="*/ 740440 h 5679109"/>
                <a:gd name="connsiteX489" fmla="*/ 2035284 w 3366376"/>
                <a:gd name="connsiteY489" fmla="*/ 760194 h 5679109"/>
                <a:gd name="connsiteX490" fmla="*/ 1968247 w 3366376"/>
                <a:gd name="connsiteY490" fmla="*/ 715198 h 5679109"/>
                <a:gd name="connsiteX491" fmla="*/ 1908904 w 3366376"/>
                <a:gd name="connsiteY491" fmla="*/ 709710 h 5679109"/>
                <a:gd name="connsiteX492" fmla="*/ 1875936 w 3366376"/>
                <a:gd name="connsiteY492" fmla="*/ 739342 h 5679109"/>
                <a:gd name="connsiteX493" fmla="*/ 1817692 w 3366376"/>
                <a:gd name="connsiteY493" fmla="*/ 730562 h 5679109"/>
                <a:gd name="connsiteX494" fmla="*/ 1757249 w 3366376"/>
                <a:gd name="connsiteY494" fmla="*/ 760194 h 5679109"/>
                <a:gd name="connsiteX495" fmla="*/ 1685818 w 3366376"/>
                <a:gd name="connsiteY495" fmla="*/ 763487 h 5679109"/>
                <a:gd name="connsiteX496" fmla="*/ 1615485 w 3366376"/>
                <a:gd name="connsiteY496" fmla="*/ 816166 h 5679109"/>
                <a:gd name="connsiteX497" fmla="*/ 1601198 w 3366376"/>
                <a:gd name="connsiteY497" fmla="*/ 776657 h 5679109"/>
                <a:gd name="connsiteX498" fmla="*/ 1649552 w 3366376"/>
                <a:gd name="connsiteY498" fmla="*/ 748122 h 5679109"/>
                <a:gd name="connsiteX499" fmla="*/ 1689114 w 3366376"/>
                <a:gd name="connsiteY499" fmla="*/ 718490 h 5679109"/>
                <a:gd name="connsiteX500" fmla="*/ 1672630 w 3366376"/>
                <a:gd name="connsiteY500" fmla="*/ 704223 h 5679109"/>
                <a:gd name="connsiteX501" fmla="*/ 1649552 w 3366376"/>
                <a:gd name="connsiteY501" fmla="*/ 688858 h 5679109"/>
                <a:gd name="connsiteX502" fmla="*/ 1577022 w 3366376"/>
                <a:gd name="connsiteY502" fmla="*/ 725075 h 5679109"/>
                <a:gd name="connsiteX503" fmla="*/ 1549548 w 3366376"/>
                <a:gd name="connsiteY503" fmla="*/ 723977 h 5679109"/>
                <a:gd name="connsiteX504" fmla="*/ 1612188 w 3366376"/>
                <a:gd name="connsiteY504" fmla="*/ 685565 h 5679109"/>
                <a:gd name="connsiteX505" fmla="*/ 1652849 w 3366376"/>
                <a:gd name="connsiteY505" fmla="*/ 675688 h 5679109"/>
                <a:gd name="connsiteX506" fmla="*/ 1695708 w 3366376"/>
                <a:gd name="connsiteY506" fmla="*/ 664713 h 5679109"/>
                <a:gd name="connsiteX507" fmla="*/ 1699005 w 3366376"/>
                <a:gd name="connsiteY507" fmla="*/ 700930 h 5679109"/>
                <a:gd name="connsiteX508" fmla="*/ 1744062 w 3366376"/>
                <a:gd name="connsiteY508" fmla="*/ 676786 h 5679109"/>
                <a:gd name="connsiteX509" fmla="*/ 1808900 w 3366376"/>
                <a:gd name="connsiteY509" fmla="*/ 597767 h 5679109"/>
                <a:gd name="connsiteX510" fmla="*/ 1760546 w 3366376"/>
                <a:gd name="connsiteY510" fmla="*/ 597767 h 5679109"/>
                <a:gd name="connsiteX511" fmla="*/ 1718786 w 3366376"/>
                <a:gd name="connsiteY511" fmla="*/ 593377 h 5679109"/>
                <a:gd name="connsiteX512" fmla="*/ 1677026 w 3366376"/>
                <a:gd name="connsiteY512" fmla="*/ 578012 h 5679109"/>
                <a:gd name="connsiteX513" fmla="*/ 1606693 w 3366376"/>
                <a:gd name="connsiteY513" fmla="*/ 567037 h 5679109"/>
                <a:gd name="connsiteX514" fmla="*/ 1626474 w 3366376"/>
                <a:gd name="connsiteY514" fmla="*/ 554965 h 5679109"/>
                <a:gd name="connsiteX515" fmla="*/ 1671531 w 3366376"/>
                <a:gd name="connsiteY515" fmla="*/ 557160 h 5679109"/>
                <a:gd name="connsiteX516" fmla="*/ 1709994 w 3366376"/>
                <a:gd name="connsiteY516" fmla="*/ 567037 h 5679109"/>
                <a:gd name="connsiteX517" fmla="*/ 1741864 w 3366376"/>
                <a:gd name="connsiteY517" fmla="*/ 548380 h 5679109"/>
                <a:gd name="connsiteX518" fmla="*/ 1719885 w 3366376"/>
                <a:gd name="connsiteY518" fmla="*/ 515456 h 5679109"/>
                <a:gd name="connsiteX519" fmla="*/ 1757249 w 3366376"/>
                <a:gd name="connsiteY519" fmla="*/ 530820 h 5679109"/>
                <a:gd name="connsiteX520" fmla="*/ 1797910 w 3366376"/>
                <a:gd name="connsiteY520" fmla="*/ 485823 h 5679109"/>
                <a:gd name="connsiteX521" fmla="*/ 1857254 w 3366376"/>
                <a:gd name="connsiteY521" fmla="*/ 457289 h 5679109"/>
                <a:gd name="connsiteX522" fmla="*/ 1934180 w 3366376"/>
                <a:gd name="connsiteY522" fmla="*/ 416682 h 5679109"/>
                <a:gd name="connsiteX523" fmla="*/ 2005612 w 3366376"/>
                <a:gd name="connsiteY523" fmla="*/ 350833 h 5679109"/>
                <a:gd name="connsiteX524" fmla="*/ 2064955 w 3366376"/>
                <a:gd name="connsiteY524" fmla="*/ 325591 h 5679109"/>
                <a:gd name="connsiteX525" fmla="*/ 2115507 w 3366376"/>
                <a:gd name="connsiteY525" fmla="*/ 280594 h 5679109"/>
                <a:gd name="connsiteX526" fmla="*/ 2124298 w 3366376"/>
                <a:gd name="connsiteY526" fmla="*/ 238890 h 5679109"/>
                <a:gd name="connsiteX527" fmla="*/ 2138585 w 3366376"/>
                <a:gd name="connsiteY527" fmla="*/ 187308 h 5679109"/>
                <a:gd name="connsiteX528" fmla="*/ 2189137 w 3366376"/>
                <a:gd name="connsiteY528" fmla="*/ 136824 h 5679109"/>
                <a:gd name="connsiteX529" fmla="*/ 2153970 w 3366376"/>
                <a:gd name="connsiteY529" fmla="*/ 133531 h 5679109"/>
                <a:gd name="connsiteX530" fmla="*/ 2105616 w 3366376"/>
                <a:gd name="connsiteY530" fmla="*/ 115972 h 5679109"/>
                <a:gd name="connsiteX531" fmla="*/ 2055065 w 3366376"/>
                <a:gd name="connsiteY531" fmla="*/ 94022 h 5679109"/>
                <a:gd name="connsiteX532" fmla="*/ 2027591 w 3366376"/>
                <a:gd name="connsiteY532" fmla="*/ 83047 h 5679109"/>
                <a:gd name="connsiteX533" fmla="*/ 2027591 w 3366376"/>
                <a:gd name="connsiteY533" fmla="*/ 120362 h 5679109"/>
                <a:gd name="connsiteX534" fmla="*/ 1985831 w 3366376"/>
                <a:gd name="connsiteY534" fmla="*/ 115972 h 5679109"/>
                <a:gd name="connsiteX535" fmla="*/ 1942972 w 3366376"/>
                <a:gd name="connsiteY535" fmla="*/ 114874 h 5679109"/>
                <a:gd name="connsiteX536" fmla="*/ 1879233 w 3366376"/>
                <a:gd name="connsiteY536" fmla="*/ 123654 h 5679109"/>
                <a:gd name="connsiteX537" fmla="*/ 1795713 w 3366376"/>
                <a:gd name="connsiteY537" fmla="*/ 125849 h 5679109"/>
                <a:gd name="connsiteX538" fmla="*/ 1733072 w 3366376"/>
                <a:gd name="connsiteY538" fmla="*/ 115972 h 5679109"/>
                <a:gd name="connsiteX539" fmla="*/ 1644057 w 3366376"/>
                <a:gd name="connsiteY539" fmla="*/ 164261 h 5679109"/>
                <a:gd name="connsiteX540" fmla="*/ 1685818 w 3366376"/>
                <a:gd name="connsiteY540" fmla="*/ 119264 h 5679109"/>
                <a:gd name="connsiteX541" fmla="*/ 1644057 w 3366376"/>
                <a:gd name="connsiteY541" fmla="*/ 77560 h 5679109"/>
                <a:gd name="connsiteX542" fmla="*/ 1605594 w 3366376"/>
                <a:gd name="connsiteY542" fmla="*/ 58902 h 5679109"/>
                <a:gd name="connsiteX543" fmla="*/ 1568230 w 3366376"/>
                <a:gd name="connsiteY543" fmla="*/ 100607 h 5679109"/>
                <a:gd name="connsiteX544" fmla="*/ 1545152 w 3366376"/>
                <a:gd name="connsiteY544" fmla="*/ 77560 h 5679109"/>
                <a:gd name="connsiteX545" fmla="*/ 1555043 w 3366376"/>
                <a:gd name="connsiteY545" fmla="*/ 32563 h 5679109"/>
                <a:gd name="connsiteX546" fmla="*/ 1515480 w 3366376"/>
                <a:gd name="connsiteY546" fmla="*/ 9516 h 5679109"/>
                <a:gd name="connsiteX547" fmla="*/ 1477017 w 3366376"/>
                <a:gd name="connsiteY547" fmla="*/ 22685 h 5679109"/>
                <a:gd name="connsiteX548" fmla="*/ 1451741 w 3366376"/>
                <a:gd name="connsiteY548" fmla="*/ 47928 h 5679109"/>
                <a:gd name="connsiteX549" fmla="*/ 1461632 w 3366376"/>
                <a:gd name="connsiteY549" fmla="*/ 90729 h 5679109"/>
                <a:gd name="connsiteX550" fmla="*/ 1464929 w 3366376"/>
                <a:gd name="connsiteY550" fmla="*/ 144506 h 5679109"/>
                <a:gd name="connsiteX551" fmla="*/ 1439653 w 3366376"/>
                <a:gd name="connsiteY551" fmla="*/ 107192 h 5679109"/>
                <a:gd name="connsiteX552" fmla="*/ 1407783 w 3366376"/>
                <a:gd name="connsiteY552" fmla="*/ 135726 h 5679109"/>
                <a:gd name="connsiteX553" fmla="*/ 1391299 w 3366376"/>
                <a:gd name="connsiteY553" fmla="*/ 187308 h 5679109"/>
                <a:gd name="connsiteX554" fmla="*/ 1402289 w 3366376"/>
                <a:gd name="connsiteY554" fmla="*/ 216940 h 5679109"/>
                <a:gd name="connsiteX555" fmla="*/ 1447346 w 3366376"/>
                <a:gd name="connsiteY555" fmla="*/ 258644 h 5679109"/>
                <a:gd name="connsiteX556" fmla="*/ 1404487 w 3366376"/>
                <a:gd name="connsiteY556" fmla="*/ 247670 h 5679109"/>
                <a:gd name="connsiteX557" fmla="*/ 1374815 w 3366376"/>
                <a:gd name="connsiteY557" fmla="*/ 230110 h 5679109"/>
                <a:gd name="connsiteX558" fmla="*/ 1341846 w 3366376"/>
                <a:gd name="connsiteY558" fmla="*/ 216940 h 5679109"/>
                <a:gd name="connsiteX559" fmla="*/ 1306680 w 3366376"/>
                <a:gd name="connsiteY559" fmla="*/ 226817 h 5679109"/>
                <a:gd name="connsiteX560" fmla="*/ 1318769 w 3366376"/>
                <a:gd name="connsiteY560" fmla="*/ 268522 h 5679109"/>
                <a:gd name="connsiteX561" fmla="*/ 1296790 w 3366376"/>
                <a:gd name="connsiteY561" fmla="*/ 347541 h 5679109"/>
                <a:gd name="connsiteX562" fmla="*/ 1256128 w 3366376"/>
                <a:gd name="connsiteY562" fmla="*/ 327786 h 5679109"/>
                <a:gd name="connsiteX563" fmla="*/ 1258326 w 3366376"/>
                <a:gd name="connsiteY563" fmla="*/ 365100 h 5679109"/>
                <a:gd name="connsiteX564" fmla="*/ 1282503 w 3366376"/>
                <a:gd name="connsiteY564" fmla="*/ 394732 h 5679109"/>
                <a:gd name="connsiteX565" fmla="*/ 1326461 w 3366376"/>
                <a:gd name="connsiteY565" fmla="*/ 443022 h 5679109"/>
                <a:gd name="connsiteX566" fmla="*/ 1346242 w 3366376"/>
                <a:gd name="connsiteY566" fmla="*/ 497896 h 5679109"/>
                <a:gd name="connsiteX567" fmla="*/ 1307779 w 3366376"/>
                <a:gd name="connsiteY567" fmla="*/ 456191 h 5679109"/>
                <a:gd name="connsiteX568" fmla="*/ 1295691 w 3366376"/>
                <a:gd name="connsiteY568" fmla="*/ 483629 h 5679109"/>
                <a:gd name="connsiteX569" fmla="*/ 1295691 w 3366376"/>
                <a:gd name="connsiteY569" fmla="*/ 513261 h 5679109"/>
                <a:gd name="connsiteX570" fmla="*/ 1277008 w 3366376"/>
                <a:gd name="connsiteY570" fmla="*/ 461679 h 5679109"/>
                <a:gd name="connsiteX571" fmla="*/ 1252832 w 3366376"/>
                <a:gd name="connsiteY571" fmla="*/ 439729 h 5679109"/>
                <a:gd name="connsiteX572" fmla="*/ 1234149 w 3366376"/>
                <a:gd name="connsiteY572" fmla="*/ 471556 h 5679109"/>
                <a:gd name="connsiteX573" fmla="*/ 1207775 w 3366376"/>
                <a:gd name="connsiteY573" fmla="*/ 462776 h 5679109"/>
                <a:gd name="connsiteX574" fmla="*/ 1184697 w 3366376"/>
                <a:gd name="connsiteY574" fmla="*/ 419974 h 5679109"/>
                <a:gd name="connsiteX575" fmla="*/ 1169312 w 3366376"/>
                <a:gd name="connsiteY575" fmla="*/ 439729 h 5679109"/>
                <a:gd name="connsiteX576" fmla="*/ 1164916 w 3366376"/>
                <a:gd name="connsiteY576" fmla="*/ 480336 h 5679109"/>
                <a:gd name="connsiteX577" fmla="*/ 1170411 w 3366376"/>
                <a:gd name="connsiteY577" fmla="*/ 509968 h 5679109"/>
                <a:gd name="connsiteX578" fmla="*/ 1138541 w 3366376"/>
                <a:gd name="connsiteY578" fmla="*/ 496798 h 5679109"/>
                <a:gd name="connsiteX579" fmla="*/ 1140739 w 3366376"/>
                <a:gd name="connsiteY579" fmla="*/ 451802 h 5679109"/>
                <a:gd name="connsiteX580" fmla="*/ 1114364 w 3366376"/>
                <a:gd name="connsiteY580" fmla="*/ 436437 h 5679109"/>
                <a:gd name="connsiteX581" fmla="*/ 1100078 w 3366376"/>
                <a:gd name="connsiteY581" fmla="*/ 464971 h 5679109"/>
                <a:gd name="connsiteX582" fmla="*/ 1087989 w 3366376"/>
                <a:gd name="connsiteY582" fmla="*/ 509968 h 5679109"/>
                <a:gd name="connsiteX583" fmla="*/ 1112166 w 3366376"/>
                <a:gd name="connsiteY583" fmla="*/ 548380 h 5679109"/>
                <a:gd name="connsiteX584" fmla="*/ 1081396 w 3366376"/>
                <a:gd name="connsiteY584" fmla="*/ 561550 h 5679109"/>
                <a:gd name="connsiteX585" fmla="*/ 1084692 w 3366376"/>
                <a:gd name="connsiteY585" fmla="*/ 627399 h 5679109"/>
                <a:gd name="connsiteX586" fmla="*/ 1106671 w 3366376"/>
                <a:gd name="connsiteY586" fmla="*/ 652641 h 5679109"/>
                <a:gd name="connsiteX587" fmla="*/ 1108869 w 3366376"/>
                <a:gd name="connsiteY587" fmla="*/ 684468 h 5679109"/>
                <a:gd name="connsiteX588" fmla="*/ 1073703 w 3366376"/>
                <a:gd name="connsiteY588" fmla="*/ 646056 h 5679109"/>
                <a:gd name="connsiteX589" fmla="*/ 1031943 w 3366376"/>
                <a:gd name="connsiteY589" fmla="*/ 643861 h 5679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</a:cxnLst>
              <a:rect l="l" t="t" r="r" b="b"/>
              <a:pathLst>
                <a:path w="3366376" h="5679109">
                  <a:moveTo>
                    <a:pt x="1031943" y="643861"/>
                  </a:moveTo>
                  <a:cubicBezTo>
                    <a:pt x="1015459" y="651544"/>
                    <a:pt x="1028646" y="655933"/>
                    <a:pt x="1028646" y="673493"/>
                  </a:cubicBezTo>
                  <a:cubicBezTo>
                    <a:pt x="1028646" y="692150"/>
                    <a:pt x="1009964" y="703125"/>
                    <a:pt x="1009964" y="723977"/>
                  </a:cubicBezTo>
                  <a:cubicBezTo>
                    <a:pt x="1008865" y="743732"/>
                    <a:pt x="1017656" y="737147"/>
                    <a:pt x="1017656" y="755804"/>
                  </a:cubicBezTo>
                  <a:cubicBezTo>
                    <a:pt x="1016558" y="774462"/>
                    <a:pt x="1014360" y="779949"/>
                    <a:pt x="1023151" y="793119"/>
                  </a:cubicBezTo>
                  <a:cubicBezTo>
                    <a:pt x="1033042" y="806289"/>
                    <a:pt x="1036339" y="785436"/>
                    <a:pt x="1047328" y="779949"/>
                  </a:cubicBezTo>
                  <a:cubicBezTo>
                    <a:pt x="1059417" y="774462"/>
                    <a:pt x="1062713" y="772267"/>
                    <a:pt x="1073703" y="767877"/>
                  </a:cubicBezTo>
                  <a:cubicBezTo>
                    <a:pt x="1084692" y="763487"/>
                    <a:pt x="1077000" y="749220"/>
                    <a:pt x="1084692" y="743732"/>
                  </a:cubicBezTo>
                  <a:cubicBezTo>
                    <a:pt x="1093484" y="739342"/>
                    <a:pt x="1087989" y="755804"/>
                    <a:pt x="1089088" y="765682"/>
                  </a:cubicBezTo>
                  <a:cubicBezTo>
                    <a:pt x="1091286" y="775559"/>
                    <a:pt x="1101177" y="766779"/>
                    <a:pt x="1115463" y="761292"/>
                  </a:cubicBezTo>
                  <a:cubicBezTo>
                    <a:pt x="1129749" y="755804"/>
                    <a:pt x="1142937" y="760194"/>
                    <a:pt x="1145134" y="773364"/>
                  </a:cubicBezTo>
                  <a:cubicBezTo>
                    <a:pt x="1147333" y="786534"/>
                    <a:pt x="1119859" y="786534"/>
                    <a:pt x="1103375" y="785436"/>
                  </a:cubicBezTo>
                  <a:cubicBezTo>
                    <a:pt x="1086890" y="784339"/>
                    <a:pt x="1086890" y="796411"/>
                    <a:pt x="1068208" y="789826"/>
                  </a:cubicBezTo>
                  <a:cubicBezTo>
                    <a:pt x="1049526" y="784339"/>
                    <a:pt x="1033042" y="810679"/>
                    <a:pt x="1036339" y="813971"/>
                  </a:cubicBezTo>
                  <a:cubicBezTo>
                    <a:pt x="1038537" y="818361"/>
                    <a:pt x="1040734" y="838116"/>
                    <a:pt x="1051724" y="838116"/>
                  </a:cubicBezTo>
                  <a:cubicBezTo>
                    <a:pt x="1061614" y="837018"/>
                    <a:pt x="1074802" y="830433"/>
                    <a:pt x="1092385" y="828238"/>
                  </a:cubicBezTo>
                  <a:cubicBezTo>
                    <a:pt x="1109968" y="826043"/>
                    <a:pt x="1129749" y="839213"/>
                    <a:pt x="1120958" y="851285"/>
                  </a:cubicBezTo>
                  <a:cubicBezTo>
                    <a:pt x="1112166" y="863358"/>
                    <a:pt x="1094583" y="852383"/>
                    <a:pt x="1078099" y="846896"/>
                  </a:cubicBezTo>
                  <a:cubicBezTo>
                    <a:pt x="1061614" y="841408"/>
                    <a:pt x="1064911" y="852383"/>
                    <a:pt x="1068208" y="862260"/>
                  </a:cubicBezTo>
                  <a:cubicBezTo>
                    <a:pt x="1070406" y="873235"/>
                    <a:pt x="1066010" y="873235"/>
                    <a:pt x="1062713" y="889697"/>
                  </a:cubicBezTo>
                  <a:cubicBezTo>
                    <a:pt x="1059417" y="907257"/>
                    <a:pt x="1045130" y="921524"/>
                    <a:pt x="1046229" y="929207"/>
                  </a:cubicBezTo>
                  <a:cubicBezTo>
                    <a:pt x="1047328" y="936889"/>
                    <a:pt x="1055021" y="941279"/>
                    <a:pt x="1069307" y="947864"/>
                  </a:cubicBezTo>
                  <a:cubicBezTo>
                    <a:pt x="1084692" y="955546"/>
                    <a:pt x="1098979" y="952254"/>
                    <a:pt x="1106671" y="963229"/>
                  </a:cubicBezTo>
                  <a:cubicBezTo>
                    <a:pt x="1112166" y="975301"/>
                    <a:pt x="1079198" y="968716"/>
                    <a:pt x="1061614" y="965424"/>
                  </a:cubicBezTo>
                  <a:cubicBezTo>
                    <a:pt x="1044031" y="963229"/>
                    <a:pt x="1048427" y="955546"/>
                    <a:pt x="1035240" y="947864"/>
                  </a:cubicBezTo>
                  <a:cubicBezTo>
                    <a:pt x="1022052" y="937987"/>
                    <a:pt x="1016558" y="945669"/>
                    <a:pt x="1006667" y="953351"/>
                  </a:cubicBezTo>
                  <a:cubicBezTo>
                    <a:pt x="996776" y="961034"/>
                    <a:pt x="994579" y="975301"/>
                    <a:pt x="992381" y="988471"/>
                  </a:cubicBezTo>
                  <a:cubicBezTo>
                    <a:pt x="990183" y="1001641"/>
                    <a:pt x="1006667" y="1001641"/>
                    <a:pt x="1025349" y="1020298"/>
                  </a:cubicBezTo>
                  <a:cubicBezTo>
                    <a:pt x="1042932" y="1038955"/>
                    <a:pt x="1013261" y="1038955"/>
                    <a:pt x="1001172" y="1030175"/>
                  </a:cubicBezTo>
                  <a:cubicBezTo>
                    <a:pt x="987985" y="1020298"/>
                    <a:pt x="984688" y="1000543"/>
                    <a:pt x="974797" y="1000543"/>
                  </a:cubicBezTo>
                  <a:cubicBezTo>
                    <a:pt x="963808" y="1000543"/>
                    <a:pt x="966006" y="1015908"/>
                    <a:pt x="946225" y="1041150"/>
                  </a:cubicBezTo>
                  <a:cubicBezTo>
                    <a:pt x="927543" y="1066392"/>
                    <a:pt x="917652" y="1066392"/>
                    <a:pt x="911058" y="1080660"/>
                  </a:cubicBezTo>
                  <a:cubicBezTo>
                    <a:pt x="905564" y="1094927"/>
                    <a:pt x="924246" y="1096024"/>
                    <a:pt x="956115" y="1088342"/>
                  </a:cubicBezTo>
                  <a:cubicBezTo>
                    <a:pt x="989084" y="1080660"/>
                    <a:pt x="973698" y="1113584"/>
                    <a:pt x="960511" y="1125656"/>
                  </a:cubicBezTo>
                  <a:cubicBezTo>
                    <a:pt x="948423" y="1136631"/>
                    <a:pt x="935235" y="1126754"/>
                    <a:pt x="919850" y="1126754"/>
                  </a:cubicBezTo>
                  <a:cubicBezTo>
                    <a:pt x="904465" y="1126754"/>
                    <a:pt x="918751" y="1146509"/>
                    <a:pt x="911058" y="1169556"/>
                  </a:cubicBezTo>
                  <a:cubicBezTo>
                    <a:pt x="905564" y="1191505"/>
                    <a:pt x="894574" y="1165166"/>
                    <a:pt x="870397" y="1146509"/>
                  </a:cubicBezTo>
                  <a:cubicBezTo>
                    <a:pt x="846220" y="1130046"/>
                    <a:pt x="838528" y="1146509"/>
                    <a:pt x="798965" y="1146509"/>
                  </a:cubicBezTo>
                  <a:cubicBezTo>
                    <a:pt x="759403" y="1146509"/>
                    <a:pt x="768195" y="1173946"/>
                    <a:pt x="772591" y="1188213"/>
                  </a:cubicBezTo>
                  <a:cubicBezTo>
                    <a:pt x="776986" y="1202480"/>
                    <a:pt x="801164" y="1200285"/>
                    <a:pt x="822043" y="1205773"/>
                  </a:cubicBezTo>
                  <a:cubicBezTo>
                    <a:pt x="841824" y="1213455"/>
                    <a:pt x="848418" y="1210163"/>
                    <a:pt x="867100" y="1210163"/>
                  </a:cubicBezTo>
                  <a:cubicBezTo>
                    <a:pt x="885782" y="1210163"/>
                    <a:pt x="891277" y="1226625"/>
                    <a:pt x="905564" y="1218942"/>
                  </a:cubicBezTo>
                  <a:cubicBezTo>
                    <a:pt x="919850" y="1210163"/>
                    <a:pt x="958313" y="1202480"/>
                    <a:pt x="979193" y="1204675"/>
                  </a:cubicBezTo>
                  <a:cubicBezTo>
                    <a:pt x="1002271" y="1207968"/>
                    <a:pt x="984688" y="1233210"/>
                    <a:pt x="955016" y="1228820"/>
                  </a:cubicBezTo>
                  <a:cubicBezTo>
                    <a:pt x="925345" y="1224430"/>
                    <a:pt x="923147" y="1228820"/>
                    <a:pt x="903366" y="1247477"/>
                  </a:cubicBezTo>
                  <a:cubicBezTo>
                    <a:pt x="884684" y="1266134"/>
                    <a:pt x="886881" y="1247477"/>
                    <a:pt x="860507" y="1234307"/>
                  </a:cubicBezTo>
                  <a:cubicBezTo>
                    <a:pt x="833033" y="1222235"/>
                    <a:pt x="860507" y="1267232"/>
                    <a:pt x="871496" y="1285889"/>
                  </a:cubicBezTo>
                  <a:cubicBezTo>
                    <a:pt x="882486" y="1302351"/>
                    <a:pt x="884684" y="1311131"/>
                    <a:pt x="906663" y="1304546"/>
                  </a:cubicBezTo>
                  <a:cubicBezTo>
                    <a:pt x="929740" y="1296864"/>
                    <a:pt x="920949" y="1321008"/>
                    <a:pt x="931938" y="1341861"/>
                  </a:cubicBezTo>
                  <a:cubicBezTo>
                    <a:pt x="944027" y="1362713"/>
                    <a:pt x="973698" y="1339666"/>
                    <a:pt x="990183" y="1329788"/>
                  </a:cubicBezTo>
                  <a:cubicBezTo>
                    <a:pt x="1007766" y="1319911"/>
                    <a:pt x="1041833" y="1291376"/>
                    <a:pt x="1061614" y="1273817"/>
                  </a:cubicBezTo>
                  <a:cubicBezTo>
                    <a:pt x="1081396" y="1257354"/>
                    <a:pt x="1104474" y="1256257"/>
                    <a:pt x="1120958" y="1229917"/>
                  </a:cubicBezTo>
                  <a:cubicBezTo>
                    <a:pt x="1138541" y="1204675"/>
                    <a:pt x="1153926" y="1189310"/>
                    <a:pt x="1174806" y="1199188"/>
                  </a:cubicBezTo>
                  <a:cubicBezTo>
                    <a:pt x="1194587" y="1209065"/>
                    <a:pt x="1148432" y="1227722"/>
                    <a:pt x="1141838" y="1248574"/>
                  </a:cubicBezTo>
                  <a:cubicBezTo>
                    <a:pt x="1136343" y="1268329"/>
                    <a:pt x="1174806" y="1260647"/>
                    <a:pt x="1207775" y="1263939"/>
                  </a:cubicBezTo>
                  <a:cubicBezTo>
                    <a:pt x="1238545" y="1267232"/>
                    <a:pt x="1163817" y="1289181"/>
                    <a:pt x="1136343" y="1281499"/>
                  </a:cubicBezTo>
                  <a:cubicBezTo>
                    <a:pt x="1109968" y="1272719"/>
                    <a:pt x="1101177" y="1286986"/>
                    <a:pt x="1082495" y="1295766"/>
                  </a:cubicBezTo>
                  <a:cubicBezTo>
                    <a:pt x="1063812" y="1303449"/>
                    <a:pt x="1066010" y="1313326"/>
                    <a:pt x="1037438" y="1340763"/>
                  </a:cubicBezTo>
                  <a:cubicBezTo>
                    <a:pt x="1008865" y="1367103"/>
                    <a:pt x="1047328" y="1353933"/>
                    <a:pt x="1066010" y="1345153"/>
                  </a:cubicBezTo>
                  <a:cubicBezTo>
                    <a:pt x="1083593" y="1336373"/>
                    <a:pt x="1095682" y="1349543"/>
                    <a:pt x="1081396" y="1364908"/>
                  </a:cubicBezTo>
                  <a:cubicBezTo>
                    <a:pt x="1067109" y="1380272"/>
                    <a:pt x="1033042" y="1368200"/>
                    <a:pt x="1033042" y="1382467"/>
                  </a:cubicBezTo>
                  <a:cubicBezTo>
                    <a:pt x="1033042" y="1396735"/>
                    <a:pt x="1051724" y="1412099"/>
                    <a:pt x="1077000" y="1408807"/>
                  </a:cubicBezTo>
                  <a:cubicBezTo>
                    <a:pt x="1102276" y="1406612"/>
                    <a:pt x="1125354" y="1401125"/>
                    <a:pt x="1100078" y="1423074"/>
                  </a:cubicBezTo>
                  <a:cubicBezTo>
                    <a:pt x="1074802" y="1446121"/>
                    <a:pt x="1050625" y="1427464"/>
                    <a:pt x="1028646" y="1412099"/>
                  </a:cubicBezTo>
                  <a:cubicBezTo>
                    <a:pt x="1006667" y="1396735"/>
                    <a:pt x="1009964" y="1406612"/>
                    <a:pt x="989084" y="1417587"/>
                  </a:cubicBezTo>
                  <a:cubicBezTo>
                    <a:pt x="968204" y="1430757"/>
                    <a:pt x="987985" y="1442829"/>
                    <a:pt x="987985" y="1462584"/>
                  </a:cubicBezTo>
                  <a:cubicBezTo>
                    <a:pt x="987985" y="1484533"/>
                    <a:pt x="968204" y="1466974"/>
                    <a:pt x="949522" y="1488923"/>
                  </a:cubicBezTo>
                  <a:cubicBezTo>
                    <a:pt x="931938" y="1508678"/>
                    <a:pt x="946225" y="1505386"/>
                    <a:pt x="958313" y="1533920"/>
                  </a:cubicBezTo>
                  <a:cubicBezTo>
                    <a:pt x="969303" y="1562455"/>
                    <a:pt x="936334" y="1537213"/>
                    <a:pt x="926444" y="1569040"/>
                  </a:cubicBezTo>
                  <a:cubicBezTo>
                    <a:pt x="915454" y="1600867"/>
                    <a:pt x="940730" y="1600867"/>
                    <a:pt x="946225" y="1618426"/>
                  </a:cubicBezTo>
                  <a:cubicBezTo>
                    <a:pt x="953917" y="1635986"/>
                    <a:pt x="916553" y="1642571"/>
                    <a:pt x="901168" y="1659033"/>
                  </a:cubicBezTo>
                  <a:cubicBezTo>
                    <a:pt x="885782" y="1676593"/>
                    <a:pt x="887980" y="1673301"/>
                    <a:pt x="875892" y="1687568"/>
                  </a:cubicBezTo>
                  <a:cubicBezTo>
                    <a:pt x="862705" y="1701835"/>
                    <a:pt x="862705" y="1720492"/>
                    <a:pt x="873694" y="1739150"/>
                  </a:cubicBezTo>
                  <a:cubicBezTo>
                    <a:pt x="885782" y="1755612"/>
                    <a:pt x="890178" y="1753417"/>
                    <a:pt x="870397" y="1766587"/>
                  </a:cubicBezTo>
                  <a:cubicBezTo>
                    <a:pt x="848418" y="1780854"/>
                    <a:pt x="856111" y="1789634"/>
                    <a:pt x="852814" y="1819266"/>
                  </a:cubicBezTo>
                  <a:cubicBezTo>
                    <a:pt x="849517" y="1848898"/>
                    <a:pt x="868199" y="1828046"/>
                    <a:pt x="889079" y="1814876"/>
                  </a:cubicBezTo>
                  <a:cubicBezTo>
                    <a:pt x="911058" y="1802804"/>
                    <a:pt x="935235" y="1786341"/>
                    <a:pt x="927543" y="1813778"/>
                  </a:cubicBezTo>
                  <a:cubicBezTo>
                    <a:pt x="919850" y="1840118"/>
                    <a:pt x="884684" y="1849995"/>
                    <a:pt x="862705" y="1868653"/>
                  </a:cubicBezTo>
                  <a:cubicBezTo>
                    <a:pt x="839627" y="1887310"/>
                    <a:pt x="838528" y="1886212"/>
                    <a:pt x="819845" y="1905967"/>
                  </a:cubicBezTo>
                  <a:cubicBezTo>
                    <a:pt x="801164" y="1923527"/>
                    <a:pt x="808856" y="1937794"/>
                    <a:pt x="797866" y="1968524"/>
                  </a:cubicBezTo>
                  <a:cubicBezTo>
                    <a:pt x="785778" y="1999253"/>
                    <a:pt x="773690" y="2004741"/>
                    <a:pt x="769294" y="2036568"/>
                  </a:cubicBezTo>
                  <a:cubicBezTo>
                    <a:pt x="764898" y="2069492"/>
                    <a:pt x="741820" y="2073882"/>
                    <a:pt x="725336" y="2115586"/>
                  </a:cubicBezTo>
                  <a:cubicBezTo>
                    <a:pt x="707753" y="2158388"/>
                    <a:pt x="761601" y="2146316"/>
                    <a:pt x="783580" y="2138634"/>
                  </a:cubicBezTo>
                  <a:cubicBezTo>
                    <a:pt x="805559" y="2129854"/>
                    <a:pt x="829736" y="2124366"/>
                    <a:pt x="839627" y="2105709"/>
                  </a:cubicBezTo>
                  <a:cubicBezTo>
                    <a:pt x="849517" y="2087052"/>
                    <a:pt x="827538" y="2060712"/>
                    <a:pt x="829736" y="2045347"/>
                  </a:cubicBezTo>
                  <a:cubicBezTo>
                    <a:pt x="833033" y="2028885"/>
                    <a:pt x="846220" y="2021203"/>
                    <a:pt x="860507" y="2008033"/>
                  </a:cubicBezTo>
                  <a:cubicBezTo>
                    <a:pt x="873694" y="1995961"/>
                    <a:pt x="878090" y="1967426"/>
                    <a:pt x="882486" y="1935599"/>
                  </a:cubicBezTo>
                  <a:cubicBezTo>
                    <a:pt x="885782" y="1904870"/>
                    <a:pt x="931938" y="1870848"/>
                    <a:pt x="946225" y="1869750"/>
                  </a:cubicBezTo>
                  <a:cubicBezTo>
                    <a:pt x="960511" y="1867555"/>
                    <a:pt x="970402" y="1851093"/>
                    <a:pt x="970402" y="1828046"/>
                  </a:cubicBezTo>
                  <a:cubicBezTo>
                    <a:pt x="970402" y="1806096"/>
                    <a:pt x="955016" y="1811583"/>
                    <a:pt x="955016" y="1788536"/>
                  </a:cubicBezTo>
                  <a:cubicBezTo>
                    <a:pt x="955016" y="1766587"/>
                    <a:pt x="945126" y="1761099"/>
                    <a:pt x="955016" y="1733662"/>
                  </a:cubicBezTo>
                  <a:cubicBezTo>
                    <a:pt x="964907" y="1707323"/>
                    <a:pt x="969303" y="1709517"/>
                    <a:pt x="990183" y="1702933"/>
                  </a:cubicBezTo>
                  <a:cubicBezTo>
                    <a:pt x="1009964" y="1694153"/>
                    <a:pt x="1045130" y="1642571"/>
                    <a:pt x="1058318" y="1637084"/>
                  </a:cubicBezTo>
                  <a:cubicBezTo>
                    <a:pt x="1070406" y="1632694"/>
                    <a:pt x="1102276" y="1596477"/>
                    <a:pt x="1100078" y="1611842"/>
                  </a:cubicBezTo>
                  <a:cubicBezTo>
                    <a:pt x="1098979" y="1627206"/>
                    <a:pt x="1073703" y="1639279"/>
                    <a:pt x="1055021" y="1653546"/>
                  </a:cubicBezTo>
                  <a:cubicBezTo>
                    <a:pt x="1036339" y="1666716"/>
                    <a:pt x="1044031" y="1675495"/>
                    <a:pt x="1027547" y="1695250"/>
                  </a:cubicBezTo>
                  <a:cubicBezTo>
                    <a:pt x="1012162" y="1716102"/>
                    <a:pt x="1004469" y="1719395"/>
                    <a:pt x="995677" y="1733662"/>
                  </a:cubicBezTo>
                  <a:cubicBezTo>
                    <a:pt x="985787" y="1747929"/>
                    <a:pt x="985787" y="1764392"/>
                    <a:pt x="986886" y="1784146"/>
                  </a:cubicBezTo>
                  <a:cubicBezTo>
                    <a:pt x="987985" y="1802804"/>
                    <a:pt x="997875" y="1806096"/>
                    <a:pt x="1000073" y="1822558"/>
                  </a:cubicBezTo>
                  <a:cubicBezTo>
                    <a:pt x="1001172" y="1840118"/>
                    <a:pt x="1019854" y="1837923"/>
                    <a:pt x="1030844" y="1818168"/>
                  </a:cubicBezTo>
                  <a:cubicBezTo>
                    <a:pt x="1041833" y="1798414"/>
                    <a:pt x="1025349" y="1777561"/>
                    <a:pt x="1035240" y="1762197"/>
                  </a:cubicBezTo>
                  <a:cubicBezTo>
                    <a:pt x="1046229" y="1745734"/>
                    <a:pt x="1053922" y="1721590"/>
                    <a:pt x="1072604" y="1725980"/>
                  </a:cubicBezTo>
                  <a:cubicBezTo>
                    <a:pt x="1089088" y="1730370"/>
                    <a:pt x="1048427" y="1764392"/>
                    <a:pt x="1053922" y="1784146"/>
                  </a:cubicBezTo>
                  <a:cubicBezTo>
                    <a:pt x="1058318" y="1806096"/>
                    <a:pt x="1070406" y="1767684"/>
                    <a:pt x="1080297" y="1778659"/>
                  </a:cubicBezTo>
                  <a:cubicBezTo>
                    <a:pt x="1090187" y="1789634"/>
                    <a:pt x="1089088" y="1810486"/>
                    <a:pt x="1094583" y="1826948"/>
                  </a:cubicBezTo>
                  <a:cubicBezTo>
                    <a:pt x="1100078" y="1842313"/>
                    <a:pt x="1109968" y="1814876"/>
                    <a:pt x="1113265" y="1797316"/>
                  </a:cubicBezTo>
                  <a:cubicBezTo>
                    <a:pt x="1116562" y="1778659"/>
                    <a:pt x="1112166" y="1760002"/>
                    <a:pt x="1127551" y="1764392"/>
                  </a:cubicBezTo>
                  <a:cubicBezTo>
                    <a:pt x="1142937" y="1766587"/>
                    <a:pt x="1149530" y="1769879"/>
                    <a:pt x="1171509" y="1765489"/>
                  </a:cubicBezTo>
                  <a:cubicBezTo>
                    <a:pt x="1193488" y="1761099"/>
                    <a:pt x="1148432" y="1739150"/>
                    <a:pt x="1166014" y="1709517"/>
                  </a:cubicBezTo>
                  <a:cubicBezTo>
                    <a:pt x="1181400" y="1678788"/>
                    <a:pt x="1152827" y="1677691"/>
                    <a:pt x="1151728" y="1646961"/>
                  </a:cubicBezTo>
                  <a:cubicBezTo>
                    <a:pt x="1149530" y="1617329"/>
                    <a:pt x="1178103" y="1629401"/>
                    <a:pt x="1186895" y="1643668"/>
                  </a:cubicBezTo>
                  <a:cubicBezTo>
                    <a:pt x="1194587" y="1657936"/>
                    <a:pt x="1206676" y="1633791"/>
                    <a:pt x="1227556" y="1612939"/>
                  </a:cubicBezTo>
                  <a:cubicBezTo>
                    <a:pt x="1247337" y="1589892"/>
                    <a:pt x="1231951" y="1634889"/>
                    <a:pt x="1215467" y="1662326"/>
                  </a:cubicBezTo>
                  <a:cubicBezTo>
                    <a:pt x="1197884" y="1688665"/>
                    <a:pt x="1202280" y="1710615"/>
                    <a:pt x="1197884" y="1732565"/>
                  </a:cubicBezTo>
                  <a:cubicBezTo>
                    <a:pt x="1193488" y="1756709"/>
                    <a:pt x="1212170" y="1749027"/>
                    <a:pt x="1223160" y="1764392"/>
                  </a:cubicBezTo>
                  <a:cubicBezTo>
                    <a:pt x="1234149" y="1779756"/>
                    <a:pt x="1271514" y="1799511"/>
                    <a:pt x="1300086" y="1807194"/>
                  </a:cubicBezTo>
                  <a:cubicBezTo>
                    <a:pt x="1328659" y="1814876"/>
                    <a:pt x="1285800" y="1836826"/>
                    <a:pt x="1258326" y="1836826"/>
                  </a:cubicBezTo>
                  <a:cubicBezTo>
                    <a:pt x="1231951" y="1836826"/>
                    <a:pt x="1234149" y="1824753"/>
                    <a:pt x="1202280" y="1797316"/>
                  </a:cubicBezTo>
                  <a:cubicBezTo>
                    <a:pt x="1169312" y="1768782"/>
                    <a:pt x="1170411" y="1797316"/>
                    <a:pt x="1149530" y="1804999"/>
                  </a:cubicBezTo>
                  <a:cubicBezTo>
                    <a:pt x="1129749" y="1813778"/>
                    <a:pt x="1140739" y="1868653"/>
                    <a:pt x="1144035" y="1888407"/>
                  </a:cubicBezTo>
                  <a:cubicBezTo>
                    <a:pt x="1145134" y="1910357"/>
                    <a:pt x="1118760" y="1921332"/>
                    <a:pt x="1108869" y="1934502"/>
                  </a:cubicBezTo>
                  <a:cubicBezTo>
                    <a:pt x="1098979" y="1946574"/>
                    <a:pt x="1120958" y="1969621"/>
                    <a:pt x="1140739" y="1979498"/>
                  </a:cubicBezTo>
                  <a:cubicBezTo>
                    <a:pt x="1162718" y="1990473"/>
                    <a:pt x="1153926" y="2009130"/>
                    <a:pt x="1167113" y="2038762"/>
                  </a:cubicBezTo>
                  <a:cubicBezTo>
                    <a:pt x="1179202" y="2068394"/>
                    <a:pt x="1192390" y="2048640"/>
                    <a:pt x="1196785" y="2076077"/>
                  </a:cubicBezTo>
                  <a:cubicBezTo>
                    <a:pt x="1201181" y="2102417"/>
                    <a:pt x="1186895" y="2125464"/>
                    <a:pt x="1158322" y="2127659"/>
                  </a:cubicBezTo>
                  <a:cubicBezTo>
                    <a:pt x="1129749" y="2130951"/>
                    <a:pt x="1127551" y="2139731"/>
                    <a:pt x="1100078" y="2185825"/>
                  </a:cubicBezTo>
                  <a:cubicBezTo>
                    <a:pt x="1073703" y="2234115"/>
                    <a:pt x="1056120" y="2252772"/>
                    <a:pt x="1037438" y="2285696"/>
                  </a:cubicBezTo>
                  <a:cubicBezTo>
                    <a:pt x="1020953" y="2317523"/>
                    <a:pt x="1024250" y="2301061"/>
                    <a:pt x="1001172" y="2314231"/>
                  </a:cubicBezTo>
                  <a:cubicBezTo>
                    <a:pt x="978094" y="2326303"/>
                    <a:pt x="976995" y="2339473"/>
                    <a:pt x="970402" y="2363618"/>
                  </a:cubicBezTo>
                  <a:cubicBezTo>
                    <a:pt x="961610" y="2386665"/>
                    <a:pt x="978094" y="2409712"/>
                    <a:pt x="978094" y="2437149"/>
                  </a:cubicBezTo>
                  <a:cubicBezTo>
                    <a:pt x="978094" y="2463489"/>
                    <a:pt x="953917" y="2439344"/>
                    <a:pt x="949522" y="2418492"/>
                  </a:cubicBezTo>
                  <a:cubicBezTo>
                    <a:pt x="945126" y="2395445"/>
                    <a:pt x="961610" y="2375690"/>
                    <a:pt x="937433" y="2355935"/>
                  </a:cubicBezTo>
                  <a:cubicBezTo>
                    <a:pt x="913256" y="2337278"/>
                    <a:pt x="919850" y="2373495"/>
                    <a:pt x="912157" y="2384470"/>
                  </a:cubicBezTo>
                  <a:cubicBezTo>
                    <a:pt x="903366" y="2395445"/>
                    <a:pt x="894574" y="2438247"/>
                    <a:pt x="903366" y="2467879"/>
                  </a:cubicBezTo>
                  <a:cubicBezTo>
                    <a:pt x="913256" y="2497511"/>
                    <a:pt x="918751" y="2500803"/>
                    <a:pt x="931938" y="2526045"/>
                  </a:cubicBezTo>
                  <a:cubicBezTo>
                    <a:pt x="944027" y="2551287"/>
                    <a:pt x="953917" y="2569945"/>
                    <a:pt x="951719" y="2594089"/>
                  </a:cubicBezTo>
                  <a:cubicBezTo>
                    <a:pt x="950621" y="2618234"/>
                    <a:pt x="957214" y="2627014"/>
                    <a:pt x="986886" y="2633598"/>
                  </a:cubicBezTo>
                  <a:cubicBezTo>
                    <a:pt x="1015459" y="2639086"/>
                    <a:pt x="971501" y="2609454"/>
                    <a:pt x="976995" y="2592992"/>
                  </a:cubicBezTo>
                  <a:cubicBezTo>
                    <a:pt x="982490" y="2575432"/>
                    <a:pt x="962709" y="2530435"/>
                    <a:pt x="980292" y="2509583"/>
                  </a:cubicBezTo>
                  <a:cubicBezTo>
                    <a:pt x="1000073" y="2486536"/>
                    <a:pt x="1012162" y="2496413"/>
                    <a:pt x="1025349" y="2507388"/>
                  </a:cubicBezTo>
                  <a:cubicBezTo>
                    <a:pt x="1037438" y="2519460"/>
                    <a:pt x="1060516" y="2535923"/>
                    <a:pt x="1081396" y="2549092"/>
                  </a:cubicBezTo>
                  <a:cubicBezTo>
                    <a:pt x="1104474" y="2561165"/>
                    <a:pt x="1104474" y="2578724"/>
                    <a:pt x="1123156" y="2603966"/>
                  </a:cubicBezTo>
                  <a:cubicBezTo>
                    <a:pt x="1140739" y="2629209"/>
                    <a:pt x="1171509" y="2647866"/>
                    <a:pt x="1182499" y="2634696"/>
                  </a:cubicBezTo>
                  <a:cubicBezTo>
                    <a:pt x="1193488" y="2622624"/>
                    <a:pt x="1190191" y="2605064"/>
                    <a:pt x="1193488" y="2585309"/>
                  </a:cubicBezTo>
                  <a:cubicBezTo>
                    <a:pt x="1195686" y="2567749"/>
                    <a:pt x="1191290" y="2557872"/>
                    <a:pt x="1182499" y="2545800"/>
                  </a:cubicBezTo>
                  <a:cubicBezTo>
                    <a:pt x="1172608" y="2534825"/>
                    <a:pt x="1156124" y="2494218"/>
                    <a:pt x="1183598" y="2475561"/>
                  </a:cubicBezTo>
                  <a:cubicBezTo>
                    <a:pt x="1209972" y="2456904"/>
                    <a:pt x="1193488" y="2501900"/>
                    <a:pt x="1213269" y="2534825"/>
                  </a:cubicBezTo>
                  <a:cubicBezTo>
                    <a:pt x="1233050" y="2567749"/>
                    <a:pt x="1245139" y="2560067"/>
                    <a:pt x="1263821" y="2588602"/>
                  </a:cubicBezTo>
                  <a:cubicBezTo>
                    <a:pt x="1280305" y="2617136"/>
                    <a:pt x="1268217" y="2563360"/>
                    <a:pt x="1283602" y="2543605"/>
                  </a:cubicBezTo>
                  <a:cubicBezTo>
                    <a:pt x="1298987" y="2521655"/>
                    <a:pt x="1307779" y="2568847"/>
                    <a:pt x="1297888" y="2595187"/>
                  </a:cubicBezTo>
                  <a:cubicBezTo>
                    <a:pt x="1287998" y="2622624"/>
                    <a:pt x="1326461" y="2609454"/>
                    <a:pt x="1353935" y="2613844"/>
                  </a:cubicBezTo>
                  <a:cubicBezTo>
                    <a:pt x="1382508" y="2618234"/>
                    <a:pt x="1373716" y="2580919"/>
                    <a:pt x="1393497" y="2577627"/>
                  </a:cubicBezTo>
                  <a:cubicBezTo>
                    <a:pt x="1412179" y="2574334"/>
                    <a:pt x="1412179" y="2566652"/>
                    <a:pt x="1444049" y="2558970"/>
                  </a:cubicBezTo>
                  <a:cubicBezTo>
                    <a:pt x="1474819" y="2550190"/>
                    <a:pt x="1468225" y="2569945"/>
                    <a:pt x="1492402" y="2558970"/>
                  </a:cubicBezTo>
                  <a:cubicBezTo>
                    <a:pt x="1515480" y="2547995"/>
                    <a:pt x="1522074" y="2515070"/>
                    <a:pt x="1534162" y="2513973"/>
                  </a:cubicBezTo>
                  <a:cubicBezTo>
                    <a:pt x="1534162" y="2513973"/>
                    <a:pt x="1538558" y="2498608"/>
                    <a:pt x="1556141" y="2502998"/>
                  </a:cubicBezTo>
                  <a:cubicBezTo>
                    <a:pt x="1571527" y="2507388"/>
                    <a:pt x="1588011" y="2535923"/>
                    <a:pt x="1606693" y="2542508"/>
                  </a:cubicBezTo>
                  <a:cubicBezTo>
                    <a:pt x="1624276" y="2547995"/>
                    <a:pt x="1636365" y="2537020"/>
                    <a:pt x="1656146" y="2542508"/>
                  </a:cubicBezTo>
                  <a:cubicBezTo>
                    <a:pt x="1674828" y="2547995"/>
                    <a:pt x="1686917" y="2543605"/>
                    <a:pt x="1713291" y="2556775"/>
                  </a:cubicBezTo>
                  <a:cubicBezTo>
                    <a:pt x="1738567" y="2568847"/>
                    <a:pt x="1674828" y="2582017"/>
                    <a:pt x="1656146" y="2568847"/>
                  </a:cubicBezTo>
                  <a:cubicBezTo>
                    <a:pt x="1637464" y="2556775"/>
                    <a:pt x="1631969" y="2565555"/>
                    <a:pt x="1616584" y="2568847"/>
                  </a:cubicBezTo>
                  <a:cubicBezTo>
                    <a:pt x="1601198" y="2573237"/>
                    <a:pt x="1629771" y="2592992"/>
                    <a:pt x="1606693" y="2605064"/>
                  </a:cubicBezTo>
                  <a:cubicBezTo>
                    <a:pt x="1583615" y="2616039"/>
                    <a:pt x="1589110" y="2591894"/>
                    <a:pt x="1570428" y="2605064"/>
                  </a:cubicBezTo>
                  <a:cubicBezTo>
                    <a:pt x="1551746" y="2617136"/>
                    <a:pt x="1566032" y="2621526"/>
                    <a:pt x="1548449" y="2650061"/>
                  </a:cubicBezTo>
                  <a:cubicBezTo>
                    <a:pt x="1533064" y="2678595"/>
                    <a:pt x="1518777" y="2688473"/>
                    <a:pt x="1504491" y="2699447"/>
                  </a:cubicBezTo>
                  <a:cubicBezTo>
                    <a:pt x="1490204" y="2710422"/>
                    <a:pt x="1480314" y="2719202"/>
                    <a:pt x="1479215" y="2747737"/>
                  </a:cubicBezTo>
                  <a:cubicBezTo>
                    <a:pt x="1478116" y="2774076"/>
                    <a:pt x="1467127" y="2777369"/>
                    <a:pt x="1450643" y="2799319"/>
                  </a:cubicBezTo>
                  <a:cubicBezTo>
                    <a:pt x="1435257" y="2822366"/>
                    <a:pt x="1445148" y="2834438"/>
                    <a:pt x="1463830" y="2869557"/>
                  </a:cubicBezTo>
                  <a:cubicBezTo>
                    <a:pt x="1482512" y="2904677"/>
                    <a:pt x="1492402" y="2949674"/>
                    <a:pt x="1498996" y="2973818"/>
                  </a:cubicBezTo>
                  <a:cubicBezTo>
                    <a:pt x="1504491" y="2997963"/>
                    <a:pt x="1493502" y="3004548"/>
                    <a:pt x="1504491" y="3034180"/>
                  </a:cubicBezTo>
                  <a:cubicBezTo>
                    <a:pt x="1517678" y="3064909"/>
                    <a:pt x="1533064" y="3016620"/>
                    <a:pt x="1552845" y="3002353"/>
                  </a:cubicBezTo>
                  <a:cubicBezTo>
                    <a:pt x="1571527" y="2988086"/>
                    <a:pt x="1557240" y="3044057"/>
                    <a:pt x="1537459" y="3082469"/>
                  </a:cubicBezTo>
                  <a:cubicBezTo>
                    <a:pt x="1517678" y="3120881"/>
                    <a:pt x="1541855" y="3126369"/>
                    <a:pt x="1562735" y="3141733"/>
                  </a:cubicBezTo>
                  <a:cubicBezTo>
                    <a:pt x="1582516" y="3158196"/>
                    <a:pt x="1577022" y="3112101"/>
                    <a:pt x="1599001" y="3096737"/>
                  </a:cubicBezTo>
                  <a:cubicBezTo>
                    <a:pt x="1622078" y="3081372"/>
                    <a:pt x="1616584" y="3051740"/>
                    <a:pt x="1634167" y="3041862"/>
                  </a:cubicBezTo>
                  <a:cubicBezTo>
                    <a:pt x="1651750" y="3031985"/>
                    <a:pt x="1626474" y="3082469"/>
                    <a:pt x="1633068" y="3096737"/>
                  </a:cubicBezTo>
                  <a:cubicBezTo>
                    <a:pt x="1638563" y="3111004"/>
                    <a:pt x="1652849" y="3087957"/>
                    <a:pt x="1674828" y="3079177"/>
                  </a:cubicBezTo>
                  <a:cubicBezTo>
                    <a:pt x="1694609" y="3070397"/>
                    <a:pt x="1702302" y="3044057"/>
                    <a:pt x="1718786" y="3038570"/>
                  </a:cubicBezTo>
                  <a:cubicBezTo>
                    <a:pt x="1734171" y="3033083"/>
                    <a:pt x="1726479" y="3053935"/>
                    <a:pt x="1708896" y="3070397"/>
                  </a:cubicBezTo>
                  <a:cubicBezTo>
                    <a:pt x="1691312" y="3085762"/>
                    <a:pt x="1699005" y="3090152"/>
                    <a:pt x="1704500" y="3127466"/>
                  </a:cubicBezTo>
                  <a:cubicBezTo>
                    <a:pt x="1708896" y="3165878"/>
                    <a:pt x="1656146" y="3180145"/>
                    <a:pt x="1647354" y="3191120"/>
                  </a:cubicBezTo>
                  <a:cubicBezTo>
                    <a:pt x="1637464" y="3203192"/>
                    <a:pt x="1664938" y="3214167"/>
                    <a:pt x="1652849" y="3237214"/>
                  </a:cubicBezTo>
                  <a:cubicBezTo>
                    <a:pt x="1641860" y="3261359"/>
                    <a:pt x="1620980" y="3249287"/>
                    <a:pt x="1602297" y="3238312"/>
                  </a:cubicBezTo>
                  <a:cubicBezTo>
                    <a:pt x="1584714" y="3227337"/>
                    <a:pt x="1582516" y="3256969"/>
                    <a:pt x="1584714" y="3287699"/>
                  </a:cubicBezTo>
                  <a:cubicBezTo>
                    <a:pt x="1588011" y="3317331"/>
                    <a:pt x="1569329" y="3317331"/>
                    <a:pt x="1568230" y="3344768"/>
                  </a:cubicBezTo>
                  <a:cubicBezTo>
                    <a:pt x="1567131" y="3371107"/>
                    <a:pt x="1593506" y="3361230"/>
                    <a:pt x="1607792" y="3386472"/>
                  </a:cubicBezTo>
                  <a:cubicBezTo>
                    <a:pt x="1622078" y="3412812"/>
                    <a:pt x="1563834" y="3427079"/>
                    <a:pt x="1544053" y="3443541"/>
                  </a:cubicBezTo>
                  <a:cubicBezTo>
                    <a:pt x="1525371" y="3461101"/>
                    <a:pt x="1525371" y="3480856"/>
                    <a:pt x="1530866" y="3510488"/>
                  </a:cubicBezTo>
                  <a:cubicBezTo>
                    <a:pt x="1538558" y="3540120"/>
                    <a:pt x="1526470" y="3551095"/>
                    <a:pt x="1530866" y="3569752"/>
                  </a:cubicBezTo>
                  <a:cubicBezTo>
                    <a:pt x="1535261" y="3588409"/>
                    <a:pt x="1545152" y="3586214"/>
                    <a:pt x="1557240" y="3614749"/>
                  </a:cubicBezTo>
                  <a:cubicBezTo>
                    <a:pt x="1568230" y="3643283"/>
                    <a:pt x="1577022" y="3637796"/>
                    <a:pt x="1603396" y="3632308"/>
                  </a:cubicBezTo>
                  <a:cubicBezTo>
                    <a:pt x="1630870" y="3627918"/>
                    <a:pt x="1636365" y="3663038"/>
                    <a:pt x="1603396" y="3671818"/>
                  </a:cubicBezTo>
                  <a:cubicBezTo>
                    <a:pt x="1571527" y="3680598"/>
                    <a:pt x="1553944" y="3660843"/>
                    <a:pt x="1544053" y="3631211"/>
                  </a:cubicBezTo>
                  <a:cubicBezTo>
                    <a:pt x="1533064" y="3600481"/>
                    <a:pt x="1530866" y="3586214"/>
                    <a:pt x="1515480" y="3573044"/>
                  </a:cubicBezTo>
                  <a:cubicBezTo>
                    <a:pt x="1500095" y="3558777"/>
                    <a:pt x="1486908" y="3575239"/>
                    <a:pt x="1471523" y="3594994"/>
                  </a:cubicBezTo>
                  <a:cubicBezTo>
                    <a:pt x="1456137" y="3613651"/>
                    <a:pt x="1477017" y="3620236"/>
                    <a:pt x="1496798" y="3643283"/>
                  </a:cubicBezTo>
                  <a:cubicBezTo>
                    <a:pt x="1515480" y="3665233"/>
                    <a:pt x="1496798" y="3712425"/>
                    <a:pt x="1478116" y="3682793"/>
                  </a:cubicBezTo>
                  <a:cubicBezTo>
                    <a:pt x="1460533" y="3653160"/>
                    <a:pt x="1420971" y="3644381"/>
                    <a:pt x="1418773" y="3625723"/>
                  </a:cubicBezTo>
                  <a:cubicBezTo>
                    <a:pt x="1417674" y="3607066"/>
                    <a:pt x="1398992" y="3600481"/>
                    <a:pt x="1372617" y="3603774"/>
                  </a:cubicBezTo>
                  <a:cubicBezTo>
                    <a:pt x="1345143" y="3605969"/>
                    <a:pt x="1344044" y="3613651"/>
                    <a:pt x="1287998" y="3605969"/>
                  </a:cubicBezTo>
                  <a:cubicBezTo>
                    <a:pt x="1233050" y="3600481"/>
                    <a:pt x="1223160" y="3587311"/>
                    <a:pt x="1214368" y="3565362"/>
                  </a:cubicBezTo>
                  <a:cubicBezTo>
                    <a:pt x="1204478" y="3542315"/>
                    <a:pt x="1200082" y="3552192"/>
                    <a:pt x="1185796" y="3562069"/>
                  </a:cubicBezTo>
                  <a:cubicBezTo>
                    <a:pt x="1172608" y="3571947"/>
                    <a:pt x="1207775" y="3570849"/>
                    <a:pt x="1203379" y="3599384"/>
                  </a:cubicBezTo>
                  <a:cubicBezTo>
                    <a:pt x="1200082" y="3627918"/>
                    <a:pt x="1170411" y="3601579"/>
                    <a:pt x="1146234" y="3613651"/>
                  </a:cubicBezTo>
                  <a:cubicBezTo>
                    <a:pt x="1122056" y="3624626"/>
                    <a:pt x="1123156" y="3603774"/>
                    <a:pt x="1101177" y="3610359"/>
                  </a:cubicBezTo>
                  <a:cubicBezTo>
                    <a:pt x="1078099" y="3615846"/>
                    <a:pt x="1075901" y="3645478"/>
                    <a:pt x="1057219" y="3635601"/>
                  </a:cubicBezTo>
                  <a:cubicBezTo>
                    <a:pt x="1038537" y="3625723"/>
                    <a:pt x="1097880" y="3586214"/>
                    <a:pt x="1120958" y="3579629"/>
                  </a:cubicBezTo>
                  <a:cubicBezTo>
                    <a:pt x="1142937" y="3570849"/>
                    <a:pt x="1115463" y="3548900"/>
                    <a:pt x="1095682" y="3560972"/>
                  </a:cubicBezTo>
                  <a:cubicBezTo>
                    <a:pt x="1077000" y="3571947"/>
                    <a:pt x="1070406" y="3565362"/>
                    <a:pt x="1051724" y="3542315"/>
                  </a:cubicBezTo>
                  <a:cubicBezTo>
                    <a:pt x="1033042" y="3518170"/>
                    <a:pt x="1047328" y="3514878"/>
                    <a:pt x="1035240" y="3496220"/>
                  </a:cubicBezTo>
                  <a:cubicBezTo>
                    <a:pt x="1024250" y="3478661"/>
                    <a:pt x="1018755" y="3486343"/>
                    <a:pt x="990183" y="3484148"/>
                  </a:cubicBezTo>
                  <a:cubicBezTo>
                    <a:pt x="961610" y="3480856"/>
                    <a:pt x="966006" y="3479758"/>
                    <a:pt x="949522" y="3480856"/>
                  </a:cubicBezTo>
                  <a:cubicBezTo>
                    <a:pt x="931938" y="3483051"/>
                    <a:pt x="925345" y="3520365"/>
                    <a:pt x="925345" y="3540120"/>
                  </a:cubicBezTo>
                  <a:cubicBezTo>
                    <a:pt x="925345" y="3562069"/>
                    <a:pt x="933037" y="3562069"/>
                    <a:pt x="936334" y="3585117"/>
                  </a:cubicBezTo>
                  <a:cubicBezTo>
                    <a:pt x="939631" y="3608164"/>
                    <a:pt x="946225" y="3612554"/>
                    <a:pt x="966006" y="3624626"/>
                  </a:cubicBezTo>
                  <a:cubicBezTo>
                    <a:pt x="985787" y="3635601"/>
                    <a:pt x="974797" y="3649868"/>
                    <a:pt x="984688" y="3661941"/>
                  </a:cubicBezTo>
                  <a:cubicBezTo>
                    <a:pt x="995677" y="3675110"/>
                    <a:pt x="1012162" y="3654258"/>
                    <a:pt x="1038537" y="3654258"/>
                  </a:cubicBezTo>
                  <a:cubicBezTo>
                    <a:pt x="1066010" y="3654258"/>
                    <a:pt x="1025349" y="3684988"/>
                    <a:pt x="1005568" y="3700352"/>
                  </a:cubicBezTo>
                  <a:cubicBezTo>
                    <a:pt x="985787" y="3716815"/>
                    <a:pt x="981391" y="3719009"/>
                    <a:pt x="955016" y="3743154"/>
                  </a:cubicBezTo>
                  <a:cubicBezTo>
                    <a:pt x="927543" y="3767299"/>
                    <a:pt x="905564" y="3774981"/>
                    <a:pt x="871496" y="3791443"/>
                  </a:cubicBezTo>
                  <a:cubicBezTo>
                    <a:pt x="836330" y="3806808"/>
                    <a:pt x="794570" y="3819978"/>
                    <a:pt x="771492" y="3846318"/>
                  </a:cubicBezTo>
                  <a:cubicBezTo>
                    <a:pt x="748414" y="3873755"/>
                    <a:pt x="800064" y="3863877"/>
                    <a:pt x="831934" y="3851805"/>
                  </a:cubicBezTo>
                  <a:cubicBezTo>
                    <a:pt x="862705" y="3840830"/>
                    <a:pt x="848418" y="3860585"/>
                    <a:pt x="868199" y="3868267"/>
                  </a:cubicBezTo>
                  <a:cubicBezTo>
                    <a:pt x="886881" y="3875950"/>
                    <a:pt x="882486" y="3845220"/>
                    <a:pt x="919850" y="3826563"/>
                  </a:cubicBezTo>
                  <a:cubicBezTo>
                    <a:pt x="956115" y="3807906"/>
                    <a:pt x="976995" y="3829855"/>
                    <a:pt x="1000073" y="3821076"/>
                  </a:cubicBezTo>
                  <a:cubicBezTo>
                    <a:pt x="1023151" y="3811198"/>
                    <a:pt x="1053922" y="3840830"/>
                    <a:pt x="1048427" y="3861682"/>
                  </a:cubicBezTo>
                  <a:cubicBezTo>
                    <a:pt x="1040734" y="3883632"/>
                    <a:pt x="1025349" y="3893510"/>
                    <a:pt x="1034141" y="3922044"/>
                  </a:cubicBezTo>
                  <a:cubicBezTo>
                    <a:pt x="1041833" y="3949481"/>
                    <a:pt x="1067109" y="3957163"/>
                    <a:pt x="1029745" y="3985698"/>
                  </a:cubicBezTo>
                  <a:cubicBezTo>
                    <a:pt x="991282" y="4013135"/>
                    <a:pt x="1011063" y="4021915"/>
                    <a:pt x="1011063" y="4042767"/>
                  </a:cubicBezTo>
                  <a:cubicBezTo>
                    <a:pt x="1011063" y="4065814"/>
                    <a:pt x="1024250" y="4069107"/>
                    <a:pt x="1059417" y="4071302"/>
                  </a:cubicBezTo>
                  <a:cubicBezTo>
                    <a:pt x="1094583" y="4074594"/>
                    <a:pt x="1071505" y="4087764"/>
                    <a:pt x="1049526" y="4094349"/>
                  </a:cubicBezTo>
                  <a:cubicBezTo>
                    <a:pt x="1026448" y="4099836"/>
                    <a:pt x="1014360" y="4099836"/>
                    <a:pt x="1001172" y="4129469"/>
                  </a:cubicBezTo>
                  <a:cubicBezTo>
                    <a:pt x="987985" y="4158003"/>
                    <a:pt x="982490" y="4183245"/>
                    <a:pt x="957214" y="4201902"/>
                  </a:cubicBezTo>
                  <a:cubicBezTo>
                    <a:pt x="931938" y="4220560"/>
                    <a:pt x="928642" y="4232632"/>
                    <a:pt x="897871" y="4261167"/>
                  </a:cubicBezTo>
                  <a:cubicBezTo>
                    <a:pt x="866001" y="4289701"/>
                    <a:pt x="846220" y="4284214"/>
                    <a:pt x="792372" y="4284214"/>
                  </a:cubicBezTo>
                  <a:cubicBezTo>
                    <a:pt x="738523" y="4284214"/>
                    <a:pt x="751711" y="4284214"/>
                    <a:pt x="716544" y="4306163"/>
                  </a:cubicBezTo>
                  <a:cubicBezTo>
                    <a:pt x="681378" y="4329210"/>
                    <a:pt x="681378" y="4337990"/>
                    <a:pt x="644014" y="4344575"/>
                  </a:cubicBezTo>
                  <a:cubicBezTo>
                    <a:pt x="605550" y="4350063"/>
                    <a:pt x="613243" y="4329210"/>
                    <a:pt x="564889" y="4331406"/>
                  </a:cubicBezTo>
                  <a:cubicBezTo>
                    <a:pt x="516536" y="4334698"/>
                    <a:pt x="529723" y="4363232"/>
                    <a:pt x="501150" y="4350063"/>
                  </a:cubicBezTo>
                  <a:cubicBezTo>
                    <a:pt x="472578" y="4337990"/>
                    <a:pt x="460489" y="4355550"/>
                    <a:pt x="424224" y="4400547"/>
                  </a:cubicBezTo>
                  <a:cubicBezTo>
                    <a:pt x="389058" y="4444446"/>
                    <a:pt x="450599" y="4419204"/>
                    <a:pt x="478073" y="4419204"/>
                  </a:cubicBezTo>
                  <a:cubicBezTo>
                    <a:pt x="506645" y="4419204"/>
                    <a:pt x="501150" y="4444446"/>
                    <a:pt x="462687" y="4482858"/>
                  </a:cubicBezTo>
                  <a:cubicBezTo>
                    <a:pt x="424224" y="4521270"/>
                    <a:pt x="447302" y="4531147"/>
                    <a:pt x="472578" y="4531147"/>
                  </a:cubicBezTo>
                  <a:cubicBezTo>
                    <a:pt x="497853" y="4531147"/>
                    <a:pt x="523129" y="4521270"/>
                    <a:pt x="545108" y="4508100"/>
                  </a:cubicBezTo>
                  <a:cubicBezTo>
                    <a:pt x="568186" y="4496028"/>
                    <a:pt x="620936" y="4486151"/>
                    <a:pt x="598957" y="4531147"/>
                  </a:cubicBezTo>
                  <a:cubicBezTo>
                    <a:pt x="575879" y="4575047"/>
                    <a:pt x="531921" y="4541025"/>
                    <a:pt x="497853" y="4559682"/>
                  </a:cubicBezTo>
                  <a:cubicBezTo>
                    <a:pt x="462687" y="4578339"/>
                    <a:pt x="507744" y="4600289"/>
                    <a:pt x="536317" y="4613459"/>
                  </a:cubicBezTo>
                  <a:cubicBezTo>
                    <a:pt x="564889" y="4625531"/>
                    <a:pt x="571483" y="4590412"/>
                    <a:pt x="600056" y="4590412"/>
                  </a:cubicBezTo>
                  <a:cubicBezTo>
                    <a:pt x="628628" y="4590412"/>
                    <a:pt x="630826" y="4600289"/>
                    <a:pt x="672586" y="4552000"/>
                  </a:cubicBezTo>
                  <a:cubicBezTo>
                    <a:pt x="713248" y="4505905"/>
                    <a:pt x="738523" y="4559682"/>
                    <a:pt x="785778" y="4561877"/>
                  </a:cubicBezTo>
                  <a:cubicBezTo>
                    <a:pt x="834132" y="4565169"/>
                    <a:pt x="791273" y="4618946"/>
                    <a:pt x="820944" y="4628824"/>
                  </a:cubicBezTo>
                  <a:cubicBezTo>
                    <a:pt x="849517" y="4638701"/>
                    <a:pt x="887980" y="4618946"/>
                    <a:pt x="909959" y="4647481"/>
                  </a:cubicBezTo>
                  <a:cubicBezTo>
                    <a:pt x="933037" y="4676015"/>
                    <a:pt x="856111" y="4652968"/>
                    <a:pt x="818747" y="4672723"/>
                  </a:cubicBezTo>
                  <a:cubicBezTo>
                    <a:pt x="780284" y="4691380"/>
                    <a:pt x="792372" y="4731987"/>
                    <a:pt x="820944" y="4723207"/>
                  </a:cubicBezTo>
                  <a:cubicBezTo>
                    <a:pt x="849517" y="4713330"/>
                    <a:pt x="872595" y="4717719"/>
                    <a:pt x="903366" y="4730889"/>
                  </a:cubicBezTo>
                  <a:cubicBezTo>
                    <a:pt x="934136" y="4742962"/>
                    <a:pt x="941829" y="4692477"/>
                    <a:pt x="975896" y="4686990"/>
                  </a:cubicBezTo>
                  <a:cubicBezTo>
                    <a:pt x="1011063" y="4679308"/>
                    <a:pt x="997875" y="4717719"/>
                    <a:pt x="997875" y="4756131"/>
                  </a:cubicBezTo>
                  <a:cubicBezTo>
                    <a:pt x="997875" y="4794543"/>
                    <a:pt x="1024250" y="4786861"/>
                    <a:pt x="1051724" y="4828565"/>
                  </a:cubicBezTo>
                  <a:cubicBezTo>
                    <a:pt x="1080297" y="4869172"/>
                    <a:pt x="1166014" y="4909779"/>
                    <a:pt x="1216566" y="4887829"/>
                  </a:cubicBezTo>
                  <a:cubicBezTo>
                    <a:pt x="1267118" y="4864783"/>
                    <a:pt x="1285800" y="4834053"/>
                    <a:pt x="1336352" y="4824175"/>
                  </a:cubicBezTo>
                  <a:cubicBezTo>
                    <a:pt x="1388002" y="4814298"/>
                    <a:pt x="1403388" y="4814298"/>
                    <a:pt x="1457236" y="4801128"/>
                  </a:cubicBezTo>
                  <a:cubicBezTo>
                    <a:pt x="1511085" y="4789056"/>
                    <a:pt x="1536360" y="4741864"/>
                    <a:pt x="1568230" y="4703452"/>
                  </a:cubicBezTo>
                  <a:cubicBezTo>
                    <a:pt x="1599001" y="4666138"/>
                    <a:pt x="1624276" y="4691380"/>
                    <a:pt x="1595704" y="4726500"/>
                  </a:cubicBezTo>
                  <a:cubicBezTo>
                    <a:pt x="1568230" y="4761619"/>
                    <a:pt x="1531965" y="4767106"/>
                    <a:pt x="1506689" y="4790153"/>
                  </a:cubicBezTo>
                  <a:cubicBezTo>
                    <a:pt x="1481413" y="4812103"/>
                    <a:pt x="1488007" y="4834053"/>
                    <a:pt x="1442950" y="4856002"/>
                  </a:cubicBezTo>
                  <a:cubicBezTo>
                    <a:pt x="1398992" y="4879050"/>
                    <a:pt x="1366023" y="4892220"/>
                    <a:pt x="1351737" y="4907584"/>
                  </a:cubicBezTo>
                  <a:cubicBezTo>
                    <a:pt x="1337451" y="4922949"/>
                    <a:pt x="1324263" y="4931729"/>
                    <a:pt x="1305581" y="4986603"/>
                  </a:cubicBezTo>
                  <a:cubicBezTo>
                    <a:pt x="1286899" y="5041477"/>
                    <a:pt x="1280305" y="5026112"/>
                    <a:pt x="1235248" y="5021722"/>
                  </a:cubicBezTo>
                  <a:cubicBezTo>
                    <a:pt x="1189092" y="5017333"/>
                    <a:pt x="1129749" y="5021722"/>
                    <a:pt x="1104474" y="4986603"/>
                  </a:cubicBezTo>
                  <a:cubicBezTo>
                    <a:pt x="1079198" y="4951484"/>
                    <a:pt x="1080297" y="4975628"/>
                    <a:pt x="1053922" y="4953678"/>
                  </a:cubicBezTo>
                  <a:cubicBezTo>
                    <a:pt x="1026448" y="4931729"/>
                    <a:pt x="1020953" y="4956971"/>
                    <a:pt x="961610" y="4963556"/>
                  </a:cubicBezTo>
                  <a:cubicBezTo>
                    <a:pt x="903366" y="4969043"/>
                    <a:pt x="827538" y="4935021"/>
                    <a:pt x="809955" y="4949289"/>
                  </a:cubicBezTo>
                  <a:cubicBezTo>
                    <a:pt x="793471" y="4963556"/>
                    <a:pt x="784679" y="4963556"/>
                    <a:pt x="779185" y="5001968"/>
                  </a:cubicBezTo>
                  <a:cubicBezTo>
                    <a:pt x="771492" y="5040380"/>
                    <a:pt x="750612" y="5046964"/>
                    <a:pt x="720940" y="5062330"/>
                  </a:cubicBezTo>
                  <a:cubicBezTo>
                    <a:pt x="691269" y="5078792"/>
                    <a:pt x="702258" y="5044770"/>
                    <a:pt x="683576" y="5025015"/>
                  </a:cubicBezTo>
                  <a:cubicBezTo>
                    <a:pt x="667092" y="5006358"/>
                    <a:pt x="661597" y="5026112"/>
                    <a:pt x="652805" y="5049160"/>
                  </a:cubicBezTo>
                  <a:cubicBezTo>
                    <a:pt x="642915" y="5071109"/>
                    <a:pt x="629727" y="5064524"/>
                    <a:pt x="608847" y="5093059"/>
                  </a:cubicBezTo>
                  <a:cubicBezTo>
                    <a:pt x="585769" y="5120496"/>
                    <a:pt x="597858" y="5130373"/>
                    <a:pt x="595660" y="5146836"/>
                  </a:cubicBezTo>
                  <a:cubicBezTo>
                    <a:pt x="594561" y="5162200"/>
                    <a:pt x="576978" y="5181955"/>
                    <a:pt x="553900" y="5200612"/>
                  </a:cubicBezTo>
                  <a:cubicBezTo>
                    <a:pt x="529723" y="5218172"/>
                    <a:pt x="523129" y="5215977"/>
                    <a:pt x="505546" y="5231342"/>
                  </a:cubicBezTo>
                  <a:cubicBezTo>
                    <a:pt x="487963" y="5246707"/>
                    <a:pt x="500051" y="5260974"/>
                    <a:pt x="463786" y="5276339"/>
                  </a:cubicBezTo>
                  <a:cubicBezTo>
                    <a:pt x="428620" y="5292801"/>
                    <a:pt x="412136" y="5279631"/>
                    <a:pt x="419828" y="5302678"/>
                  </a:cubicBezTo>
                  <a:cubicBezTo>
                    <a:pt x="428620" y="5324628"/>
                    <a:pt x="428620" y="5344383"/>
                    <a:pt x="407739" y="5332310"/>
                  </a:cubicBezTo>
                  <a:cubicBezTo>
                    <a:pt x="387959" y="5319141"/>
                    <a:pt x="390157" y="5299386"/>
                    <a:pt x="370375" y="5303776"/>
                  </a:cubicBezTo>
                  <a:cubicBezTo>
                    <a:pt x="352792" y="5308166"/>
                    <a:pt x="361584" y="5315848"/>
                    <a:pt x="359386" y="5346578"/>
                  </a:cubicBezTo>
                  <a:cubicBezTo>
                    <a:pt x="358287" y="5376209"/>
                    <a:pt x="337407" y="5378405"/>
                    <a:pt x="314329" y="5377307"/>
                  </a:cubicBezTo>
                  <a:cubicBezTo>
                    <a:pt x="290152" y="5376209"/>
                    <a:pt x="289053" y="5387184"/>
                    <a:pt x="285756" y="5404744"/>
                  </a:cubicBezTo>
                  <a:cubicBezTo>
                    <a:pt x="282459" y="5421206"/>
                    <a:pt x="276965" y="5434376"/>
                    <a:pt x="237402" y="5440961"/>
                  </a:cubicBezTo>
                  <a:cubicBezTo>
                    <a:pt x="197840" y="5446449"/>
                    <a:pt x="182455" y="5490348"/>
                    <a:pt x="146190" y="5493640"/>
                  </a:cubicBezTo>
                  <a:cubicBezTo>
                    <a:pt x="108826" y="5495835"/>
                    <a:pt x="134101" y="5462911"/>
                    <a:pt x="106627" y="5456326"/>
                  </a:cubicBezTo>
                  <a:cubicBezTo>
                    <a:pt x="78055" y="5450839"/>
                    <a:pt x="70362" y="5493640"/>
                    <a:pt x="35196" y="5499128"/>
                  </a:cubicBezTo>
                  <a:cubicBezTo>
                    <a:pt x="-1069" y="5504615"/>
                    <a:pt x="2227" y="5535345"/>
                    <a:pt x="30" y="5571562"/>
                  </a:cubicBezTo>
                  <a:cubicBezTo>
                    <a:pt x="-1069" y="5607779"/>
                    <a:pt x="28602" y="5585829"/>
                    <a:pt x="60472" y="5575952"/>
                  </a:cubicBezTo>
                  <a:cubicBezTo>
                    <a:pt x="93440" y="5566074"/>
                    <a:pt x="79154" y="5538637"/>
                    <a:pt x="106627" y="5534247"/>
                  </a:cubicBezTo>
                  <a:cubicBezTo>
                    <a:pt x="133002" y="5529857"/>
                    <a:pt x="133002" y="5551807"/>
                    <a:pt x="160476" y="5567172"/>
                  </a:cubicBezTo>
                  <a:cubicBezTo>
                    <a:pt x="186851" y="5582537"/>
                    <a:pt x="191247" y="5596804"/>
                    <a:pt x="191247" y="5648386"/>
                  </a:cubicBezTo>
                  <a:cubicBezTo>
                    <a:pt x="191247" y="5698870"/>
                    <a:pt x="216522" y="5678017"/>
                    <a:pt x="235205" y="5650580"/>
                  </a:cubicBezTo>
                  <a:cubicBezTo>
                    <a:pt x="253887" y="5624241"/>
                    <a:pt x="260480" y="5646190"/>
                    <a:pt x="284657" y="5631923"/>
                  </a:cubicBezTo>
                  <a:cubicBezTo>
                    <a:pt x="308834" y="5617656"/>
                    <a:pt x="273668" y="5606681"/>
                    <a:pt x="282459" y="5594609"/>
                  </a:cubicBezTo>
                  <a:cubicBezTo>
                    <a:pt x="290152" y="5581439"/>
                    <a:pt x="304438" y="5578147"/>
                    <a:pt x="292350" y="5571562"/>
                  </a:cubicBezTo>
                  <a:cubicBezTo>
                    <a:pt x="279163" y="5566074"/>
                    <a:pt x="275866" y="5555099"/>
                    <a:pt x="293449" y="5532052"/>
                  </a:cubicBezTo>
                  <a:cubicBezTo>
                    <a:pt x="309933" y="5509005"/>
                    <a:pt x="318725" y="5543027"/>
                    <a:pt x="334110" y="5532052"/>
                  </a:cubicBezTo>
                  <a:cubicBezTo>
                    <a:pt x="350594" y="5521077"/>
                    <a:pt x="362683" y="5532052"/>
                    <a:pt x="380266" y="5523273"/>
                  </a:cubicBezTo>
                  <a:cubicBezTo>
                    <a:pt x="396750" y="5515590"/>
                    <a:pt x="404443" y="5525467"/>
                    <a:pt x="426422" y="5522175"/>
                  </a:cubicBezTo>
                  <a:cubicBezTo>
                    <a:pt x="450599" y="5518882"/>
                    <a:pt x="428620" y="5513395"/>
                    <a:pt x="444005" y="5473886"/>
                  </a:cubicBezTo>
                  <a:cubicBezTo>
                    <a:pt x="459390" y="5434376"/>
                    <a:pt x="468182" y="5468398"/>
                    <a:pt x="496754" y="5478276"/>
                  </a:cubicBezTo>
                  <a:cubicBezTo>
                    <a:pt x="524228" y="5490348"/>
                    <a:pt x="567087" y="5490348"/>
                    <a:pt x="595660" y="5480470"/>
                  </a:cubicBezTo>
                  <a:cubicBezTo>
                    <a:pt x="624233" y="5470593"/>
                    <a:pt x="620936" y="5481568"/>
                    <a:pt x="646212" y="5477178"/>
                  </a:cubicBezTo>
                  <a:cubicBezTo>
                    <a:pt x="671487" y="5472788"/>
                    <a:pt x="670389" y="5450839"/>
                    <a:pt x="681378" y="5432181"/>
                  </a:cubicBezTo>
                  <a:cubicBezTo>
                    <a:pt x="693466" y="5413524"/>
                    <a:pt x="703357" y="5427791"/>
                    <a:pt x="689071" y="5448643"/>
                  </a:cubicBezTo>
                  <a:cubicBezTo>
                    <a:pt x="674784" y="5471691"/>
                    <a:pt x="671487" y="5483763"/>
                    <a:pt x="681378" y="5494738"/>
                  </a:cubicBezTo>
                  <a:cubicBezTo>
                    <a:pt x="693466" y="5505713"/>
                    <a:pt x="703357" y="5490348"/>
                    <a:pt x="720940" y="5512298"/>
                  </a:cubicBezTo>
                  <a:cubicBezTo>
                    <a:pt x="739622" y="5536442"/>
                    <a:pt x="735227" y="5543027"/>
                    <a:pt x="764898" y="5543027"/>
                  </a:cubicBezTo>
                  <a:cubicBezTo>
                    <a:pt x="795669" y="5543027"/>
                    <a:pt x="796768" y="5533150"/>
                    <a:pt x="816549" y="5578147"/>
                  </a:cubicBezTo>
                  <a:cubicBezTo>
                    <a:pt x="835231" y="5622046"/>
                    <a:pt x="836330" y="5619851"/>
                    <a:pt x="874793" y="5631923"/>
                  </a:cubicBezTo>
                  <a:cubicBezTo>
                    <a:pt x="913256" y="5642898"/>
                    <a:pt x="891277" y="5614364"/>
                    <a:pt x="911058" y="5578147"/>
                  </a:cubicBezTo>
                  <a:cubicBezTo>
                    <a:pt x="929740" y="5540832"/>
                    <a:pt x="962709" y="5560587"/>
                    <a:pt x="982490" y="5540832"/>
                  </a:cubicBezTo>
                  <a:cubicBezTo>
                    <a:pt x="1003370" y="5522175"/>
                    <a:pt x="974797" y="5525467"/>
                    <a:pt x="963808" y="5515590"/>
                  </a:cubicBezTo>
                  <a:cubicBezTo>
                    <a:pt x="950621" y="5505713"/>
                    <a:pt x="959412" y="5501323"/>
                    <a:pt x="987985" y="5485958"/>
                  </a:cubicBezTo>
                  <a:cubicBezTo>
                    <a:pt x="1016558" y="5470593"/>
                    <a:pt x="973698" y="5470593"/>
                    <a:pt x="989084" y="5449741"/>
                  </a:cubicBezTo>
                  <a:cubicBezTo>
                    <a:pt x="1004469" y="5427791"/>
                    <a:pt x="1008865" y="5417914"/>
                    <a:pt x="1029745" y="5401452"/>
                  </a:cubicBezTo>
                  <a:cubicBezTo>
                    <a:pt x="1051724" y="5386087"/>
                    <a:pt x="1031943" y="5383892"/>
                    <a:pt x="1024250" y="5359747"/>
                  </a:cubicBezTo>
                  <a:cubicBezTo>
                    <a:pt x="1015459" y="5336700"/>
                    <a:pt x="1042932" y="5339993"/>
                    <a:pt x="1051724" y="5367430"/>
                  </a:cubicBezTo>
                  <a:cubicBezTo>
                    <a:pt x="1059417" y="5393769"/>
                    <a:pt x="1063812" y="5379502"/>
                    <a:pt x="1078099" y="5378405"/>
                  </a:cubicBezTo>
                  <a:cubicBezTo>
                    <a:pt x="1092385" y="5377307"/>
                    <a:pt x="1130848" y="5363040"/>
                    <a:pt x="1172608" y="5354260"/>
                  </a:cubicBezTo>
                  <a:cubicBezTo>
                    <a:pt x="1215467" y="5346578"/>
                    <a:pt x="1209972" y="5364137"/>
                    <a:pt x="1248436" y="5346578"/>
                  </a:cubicBezTo>
                  <a:cubicBezTo>
                    <a:pt x="1285800" y="5329018"/>
                    <a:pt x="1316571" y="5378405"/>
                    <a:pt x="1358331" y="5391575"/>
                  </a:cubicBezTo>
                  <a:cubicBezTo>
                    <a:pt x="1401190" y="5404744"/>
                    <a:pt x="1393497" y="5429986"/>
                    <a:pt x="1422070" y="5449741"/>
                  </a:cubicBezTo>
                  <a:cubicBezTo>
                    <a:pt x="1450643" y="5469496"/>
                    <a:pt x="1430861" y="5493640"/>
                    <a:pt x="1437455" y="5519980"/>
                  </a:cubicBezTo>
                  <a:cubicBezTo>
                    <a:pt x="1446246" y="5547417"/>
                    <a:pt x="1468225" y="5522175"/>
                    <a:pt x="1466028" y="5500225"/>
                  </a:cubicBezTo>
                  <a:cubicBezTo>
                    <a:pt x="1464929" y="5478276"/>
                    <a:pt x="1433059" y="5454131"/>
                    <a:pt x="1458335" y="5439864"/>
                  </a:cubicBezTo>
                  <a:cubicBezTo>
                    <a:pt x="1483611" y="5425596"/>
                    <a:pt x="1483611" y="5461813"/>
                    <a:pt x="1539657" y="5462911"/>
                  </a:cubicBezTo>
                  <a:cubicBezTo>
                    <a:pt x="1596803" y="5465106"/>
                    <a:pt x="1593506" y="5503518"/>
                    <a:pt x="1640761" y="5509005"/>
                  </a:cubicBezTo>
                  <a:cubicBezTo>
                    <a:pt x="1689114" y="5514492"/>
                    <a:pt x="1669333" y="5479373"/>
                    <a:pt x="1659443" y="5454131"/>
                  </a:cubicBezTo>
                  <a:cubicBezTo>
                    <a:pt x="1649552" y="5427791"/>
                    <a:pt x="1605594" y="5423401"/>
                    <a:pt x="1619881" y="5388282"/>
                  </a:cubicBezTo>
                  <a:cubicBezTo>
                    <a:pt x="1634167" y="5353163"/>
                    <a:pt x="1646255" y="5415719"/>
                    <a:pt x="1692411" y="5429986"/>
                  </a:cubicBezTo>
                  <a:cubicBezTo>
                    <a:pt x="1737468" y="5444254"/>
                    <a:pt x="1756150" y="5435474"/>
                    <a:pt x="1783624" y="5421206"/>
                  </a:cubicBezTo>
                  <a:cubicBezTo>
                    <a:pt x="1812197" y="5406939"/>
                    <a:pt x="1801207" y="5436571"/>
                    <a:pt x="1833077" y="5446449"/>
                  </a:cubicBezTo>
                  <a:cubicBezTo>
                    <a:pt x="1864946" y="5456326"/>
                    <a:pt x="1851759" y="5456326"/>
                    <a:pt x="1879233" y="5435474"/>
                  </a:cubicBezTo>
                  <a:cubicBezTo>
                    <a:pt x="1905607" y="5415719"/>
                    <a:pt x="1908904" y="5421206"/>
                    <a:pt x="1928685" y="5404744"/>
                  </a:cubicBezTo>
                  <a:cubicBezTo>
                    <a:pt x="1947367" y="5387184"/>
                    <a:pt x="1885826" y="5348772"/>
                    <a:pt x="1882529" y="5326823"/>
                  </a:cubicBezTo>
                  <a:cubicBezTo>
                    <a:pt x="1880331" y="5303776"/>
                    <a:pt x="1919894" y="5326823"/>
                    <a:pt x="1942972" y="5367430"/>
                  </a:cubicBezTo>
                  <a:cubicBezTo>
                    <a:pt x="1967149" y="5409134"/>
                    <a:pt x="1997919" y="5421206"/>
                    <a:pt x="2013305" y="5424499"/>
                  </a:cubicBezTo>
                  <a:cubicBezTo>
                    <a:pt x="2028690" y="5426694"/>
                    <a:pt x="2026492" y="5414621"/>
                    <a:pt x="2036382" y="5391575"/>
                  </a:cubicBezTo>
                  <a:cubicBezTo>
                    <a:pt x="2046273" y="5367430"/>
                    <a:pt x="2069351" y="5420109"/>
                    <a:pt x="2094626" y="5411329"/>
                  </a:cubicBezTo>
                  <a:cubicBezTo>
                    <a:pt x="2119902" y="5403647"/>
                    <a:pt x="2129793" y="5424499"/>
                    <a:pt x="2124298" y="5449741"/>
                  </a:cubicBezTo>
                  <a:cubicBezTo>
                    <a:pt x="2119902" y="5474983"/>
                    <a:pt x="2136386" y="5469496"/>
                    <a:pt x="2173751" y="5473886"/>
                  </a:cubicBezTo>
                  <a:cubicBezTo>
                    <a:pt x="2210016" y="5476081"/>
                    <a:pt x="2227600" y="5485958"/>
                    <a:pt x="2280349" y="5465106"/>
                  </a:cubicBezTo>
                  <a:cubicBezTo>
                    <a:pt x="2332000" y="5445351"/>
                    <a:pt x="2461676" y="5489250"/>
                    <a:pt x="2486952" y="5493640"/>
                  </a:cubicBezTo>
                  <a:cubicBezTo>
                    <a:pt x="2512227" y="5498030"/>
                    <a:pt x="2526513" y="5515590"/>
                    <a:pt x="2566076" y="5538637"/>
                  </a:cubicBezTo>
                  <a:cubicBezTo>
                    <a:pt x="2605638" y="5562782"/>
                    <a:pt x="2599044" y="5538637"/>
                    <a:pt x="2637508" y="5510103"/>
                  </a:cubicBezTo>
                  <a:cubicBezTo>
                    <a:pt x="2674872" y="5482666"/>
                    <a:pt x="2746303" y="5488153"/>
                    <a:pt x="2777074" y="5480470"/>
                  </a:cubicBezTo>
                  <a:cubicBezTo>
                    <a:pt x="2808944" y="5472788"/>
                    <a:pt x="2804548" y="5468398"/>
                    <a:pt x="2839714" y="5449741"/>
                  </a:cubicBezTo>
                  <a:cubicBezTo>
                    <a:pt x="2874880" y="5431084"/>
                    <a:pt x="2878177" y="5468398"/>
                    <a:pt x="2919938" y="5464008"/>
                  </a:cubicBezTo>
                  <a:cubicBezTo>
                    <a:pt x="2962796" y="5459618"/>
                    <a:pt x="2924333" y="5428889"/>
                    <a:pt x="2955104" y="5386087"/>
                  </a:cubicBezTo>
                  <a:cubicBezTo>
                    <a:pt x="2985875" y="5343285"/>
                    <a:pt x="3040822" y="5368527"/>
                    <a:pt x="3092472" y="5356455"/>
                  </a:cubicBezTo>
                  <a:cubicBezTo>
                    <a:pt x="3145222" y="5343285"/>
                    <a:pt x="3128738" y="5326823"/>
                    <a:pt x="3119946" y="5292801"/>
                  </a:cubicBezTo>
                  <a:cubicBezTo>
                    <a:pt x="3111155" y="5258779"/>
                    <a:pt x="3119946" y="5252194"/>
                    <a:pt x="3125441" y="5224757"/>
                  </a:cubicBezTo>
                  <a:cubicBezTo>
                    <a:pt x="3133134" y="5198417"/>
                    <a:pt x="3160607" y="5199515"/>
                    <a:pt x="3163904" y="5165493"/>
                  </a:cubicBezTo>
                  <a:cubicBezTo>
                    <a:pt x="3167201" y="5130373"/>
                    <a:pt x="3135332" y="5157810"/>
                    <a:pt x="3111155" y="5162200"/>
                  </a:cubicBezTo>
                  <a:cubicBezTo>
                    <a:pt x="3088077" y="5165493"/>
                    <a:pt x="3070493" y="5175370"/>
                    <a:pt x="3047416" y="5157810"/>
                  </a:cubicBezTo>
                  <a:cubicBezTo>
                    <a:pt x="3025437" y="5141348"/>
                    <a:pt x="3017744" y="5157810"/>
                    <a:pt x="2986973" y="5175370"/>
                  </a:cubicBezTo>
                  <a:cubicBezTo>
                    <a:pt x="2955104" y="5191832"/>
                    <a:pt x="2910047" y="5200612"/>
                    <a:pt x="2886969" y="5189637"/>
                  </a:cubicBezTo>
                  <a:cubicBezTo>
                    <a:pt x="2863891" y="5177565"/>
                    <a:pt x="2904552" y="5166590"/>
                    <a:pt x="2938619" y="5165493"/>
                  </a:cubicBezTo>
                  <a:cubicBezTo>
                    <a:pt x="2971588" y="5163298"/>
                    <a:pt x="2943015" y="5123788"/>
                    <a:pt x="2911146" y="5109521"/>
                  </a:cubicBezTo>
                  <a:cubicBezTo>
                    <a:pt x="2880375" y="5096351"/>
                    <a:pt x="2885870" y="5128179"/>
                    <a:pt x="2861693" y="5151225"/>
                  </a:cubicBezTo>
                  <a:cubicBezTo>
                    <a:pt x="2837517" y="5173175"/>
                    <a:pt x="2811142" y="5167688"/>
                    <a:pt x="2785866" y="5140251"/>
                  </a:cubicBezTo>
                  <a:cubicBezTo>
                    <a:pt x="2760590" y="5111716"/>
                    <a:pt x="2829824" y="5122691"/>
                    <a:pt x="2866089" y="5113911"/>
                  </a:cubicBezTo>
                  <a:cubicBezTo>
                    <a:pt x="2903454" y="5106229"/>
                    <a:pt x="2861693" y="5087571"/>
                    <a:pt x="2836417" y="5076597"/>
                  </a:cubicBezTo>
                  <a:cubicBezTo>
                    <a:pt x="2811142" y="5064524"/>
                    <a:pt x="2803449" y="5077694"/>
                    <a:pt x="2775975" y="5088669"/>
                  </a:cubicBezTo>
                  <a:cubicBezTo>
                    <a:pt x="2747403" y="5100741"/>
                    <a:pt x="2734215" y="5073304"/>
                    <a:pt x="2761689" y="5057939"/>
                  </a:cubicBezTo>
                  <a:cubicBezTo>
                    <a:pt x="2788064" y="5042575"/>
                    <a:pt x="2821032" y="5049160"/>
                    <a:pt x="2857298" y="5053549"/>
                  </a:cubicBezTo>
                  <a:cubicBezTo>
                    <a:pt x="2894661" y="5055745"/>
                    <a:pt x="2896859" y="5055745"/>
                    <a:pt x="2937521" y="5028307"/>
                  </a:cubicBezTo>
                  <a:cubicBezTo>
                    <a:pt x="2977083" y="4999773"/>
                    <a:pt x="2962796" y="4982213"/>
                    <a:pt x="2981479" y="4962458"/>
                  </a:cubicBezTo>
                  <a:cubicBezTo>
                    <a:pt x="2999062" y="4944899"/>
                    <a:pt x="2982577" y="4922949"/>
                    <a:pt x="2957302" y="4916364"/>
                  </a:cubicBezTo>
                  <a:cubicBezTo>
                    <a:pt x="2932026" y="4907584"/>
                    <a:pt x="2894661" y="4931729"/>
                    <a:pt x="2875980" y="4916364"/>
                  </a:cubicBezTo>
                  <a:cubicBezTo>
                    <a:pt x="2857298" y="4900999"/>
                    <a:pt x="2919938" y="4897707"/>
                    <a:pt x="2945213" y="4893317"/>
                  </a:cubicBezTo>
                  <a:cubicBezTo>
                    <a:pt x="2971588" y="4891122"/>
                    <a:pt x="2961698" y="4862587"/>
                    <a:pt x="2988072" y="4854905"/>
                  </a:cubicBezTo>
                  <a:cubicBezTo>
                    <a:pt x="3015546" y="4849417"/>
                    <a:pt x="2997963" y="4872465"/>
                    <a:pt x="3016645" y="4892220"/>
                  </a:cubicBezTo>
                  <a:cubicBezTo>
                    <a:pt x="3035327" y="4910877"/>
                    <a:pt x="3041921" y="4902097"/>
                    <a:pt x="3074889" y="4896609"/>
                  </a:cubicBezTo>
                  <a:cubicBezTo>
                    <a:pt x="3107858" y="4892220"/>
                    <a:pt x="3100165" y="4885635"/>
                    <a:pt x="3127639" y="4861490"/>
                  </a:cubicBezTo>
                  <a:cubicBezTo>
                    <a:pt x="3154014" y="4837345"/>
                    <a:pt x="3159509" y="4832955"/>
                    <a:pt x="3138628" y="4826371"/>
                  </a:cubicBezTo>
                  <a:cubicBezTo>
                    <a:pt x="3115551" y="4818688"/>
                    <a:pt x="3115551" y="4828565"/>
                    <a:pt x="3083681" y="4828565"/>
                  </a:cubicBezTo>
                  <a:cubicBezTo>
                    <a:pt x="3050712" y="4828565"/>
                    <a:pt x="3050712" y="4803323"/>
                    <a:pt x="3070493" y="4801128"/>
                  </a:cubicBezTo>
                  <a:cubicBezTo>
                    <a:pt x="3090275" y="4797836"/>
                    <a:pt x="3121045" y="4804421"/>
                    <a:pt x="3119946" y="4791251"/>
                  </a:cubicBezTo>
                  <a:cubicBezTo>
                    <a:pt x="3118847" y="4776984"/>
                    <a:pt x="3083681" y="4748449"/>
                    <a:pt x="3108957" y="4745157"/>
                  </a:cubicBezTo>
                  <a:cubicBezTo>
                    <a:pt x="3134233" y="4742962"/>
                    <a:pt x="3145222" y="4791251"/>
                    <a:pt x="3165003" y="4796738"/>
                  </a:cubicBezTo>
                  <a:cubicBezTo>
                    <a:pt x="3186982" y="4801128"/>
                    <a:pt x="3194675" y="4763814"/>
                    <a:pt x="3243028" y="4738572"/>
                  </a:cubicBezTo>
                  <a:cubicBezTo>
                    <a:pt x="3291382" y="4712232"/>
                    <a:pt x="3285888" y="4710037"/>
                    <a:pt x="3284788" y="4662845"/>
                  </a:cubicBezTo>
                  <a:cubicBezTo>
                    <a:pt x="3282591" y="4617849"/>
                    <a:pt x="3304570" y="4562975"/>
                    <a:pt x="3328746" y="4532245"/>
                  </a:cubicBezTo>
                  <a:cubicBezTo>
                    <a:pt x="3351825" y="4501515"/>
                    <a:pt x="3348528" y="4496028"/>
                    <a:pt x="3354023" y="4441154"/>
                  </a:cubicBezTo>
                  <a:cubicBezTo>
                    <a:pt x="3358418" y="4386280"/>
                    <a:pt x="3338637" y="4385182"/>
                    <a:pt x="3358418" y="4342380"/>
                  </a:cubicBezTo>
                  <a:cubicBezTo>
                    <a:pt x="3378199" y="4299579"/>
                    <a:pt x="3359517" y="4279824"/>
                    <a:pt x="3319955" y="4234827"/>
                  </a:cubicBezTo>
                  <a:cubicBezTo>
                    <a:pt x="3280393" y="4189830"/>
                    <a:pt x="3236435" y="4163490"/>
                    <a:pt x="3199070" y="4151418"/>
                  </a:cubicBezTo>
                  <a:cubicBezTo>
                    <a:pt x="3162805" y="4138248"/>
                    <a:pt x="3179290" y="4140443"/>
                    <a:pt x="3140826" y="4140443"/>
                  </a:cubicBezTo>
                  <a:cubicBezTo>
                    <a:pt x="3103462" y="4140443"/>
                    <a:pt x="3089176" y="4122884"/>
                    <a:pt x="3060603" y="4073497"/>
                  </a:cubicBezTo>
                  <a:cubicBezTo>
                    <a:pt x="3032030" y="4024110"/>
                    <a:pt x="3006754" y="4060327"/>
                    <a:pt x="2992468" y="4064717"/>
                  </a:cubicBezTo>
                  <a:cubicBezTo>
                    <a:pt x="2978182" y="4069107"/>
                    <a:pt x="2935323" y="4083374"/>
                    <a:pt x="2914443" y="4092154"/>
                  </a:cubicBezTo>
                  <a:cubicBezTo>
                    <a:pt x="2894661" y="4099836"/>
                    <a:pt x="2883672" y="4125078"/>
                    <a:pt x="2862792" y="4164588"/>
                  </a:cubicBezTo>
                  <a:cubicBezTo>
                    <a:pt x="2840813" y="4204097"/>
                    <a:pt x="2845209" y="4181050"/>
                    <a:pt x="2805647" y="4186537"/>
                  </a:cubicBezTo>
                  <a:cubicBezTo>
                    <a:pt x="2766085" y="4190927"/>
                    <a:pt x="2766085" y="4147028"/>
                    <a:pt x="2756194" y="4121786"/>
                  </a:cubicBezTo>
                  <a:cubicBezTo>
                    <a:pt x="2746303" y="4096544"/>
                    <a:pt x="2737512" y="4121786"/>
                    <a:pt x="2707840" y="4118494"/>
                  </a:cubicBezTo>
                  <a:cubicBezTo>
                    <a:pt x="2679268" y="4116299"/>
                    <a:pt x="2727622" y="4093251"/>
                    <a:pt x="2739710" y="4072399"/>
                  </a:cubicBezTo>
                  <a:cubicBezTo>
                    <a:pt x="2750699" y="4049352"/>
                    <a:pt x="2719929" y="4070204"/>
                    <a:pt x="2685861" y="4064717"/>
                  </a:cubicBezTo>
                  <a:cubicBezTo>
                    <a:pt x="2652893" y="4060327"/>
                    <a:pt x="2714434" y="4028500"/>
                    <a:pt x="2732017" y="4041670"/>
                  </a:cubicBezTo>
                  <a:cubicBezTo>
                    <a:pt x="2750699" y="4053742"/>
                    <a:pt x="2758392" y="4039475"/>
                    <a:pt x="2781470" y="4013135"/>
                  </a:cubicBezTo>
                  <a:cubicBezTo>
                    <a:pt x="2805647" y="3985698"/>
                    <a:pt x="2803449" y="3960456"/>
                    <a:pt x="2833121" y="3942896"/>
                  </a:cubicBezTo>
                  <a:cubicBezTo>
                    <a:pt x="2862792" y="3926434"/>
                    <a:pt x="2844110" y="3901192"/>
                    <a:pt x="2843011" y="3878145"/>
                  </a:cubicBezTo>
                  <a:cubicBezTo>
                    <a:pt x="2840813" y="3856195"/>
                    <a:pt x="2845209" y="3810101"/>
                    <a:pt x="2815538" y="3769494"/>
                  </a:cubicBezTo>
                  <a:cubicBezTo>
                    <a:pt x="2785866" y="3728887"/>
                    <a:pt x="2747403" y="3637796"/>
                    <a:pt x="2725424" y="3627918"/>
                  </a:cubicBezTo>
                  <a:cubicBezTo>
                    <a:pt x="2702345" y="3616944"/>
                    <a:pt x="2688059" y="3618041"/>
                    <a:pt x="2667179" y="3603774"/>
                  </a:cubicBezTo>
                  <a:cubicBezTo>
                    <a:pt x="2644101" y="3589507"/>
                    <a:pt x="2651794" y="3579629"/>
                    <a:pt x="2641903" y="3553290"/>
                  </a:cubicBezTo>
                  <a:cubicBezTo>
                    <a:pt x="2632013" y="3525853"/>
                    <a:pt x="2610034" y="3543412"/>
                    <a:pt x="2575966" y="3545607"/>
                  </a:cubicBezTo>
                  <a:cubicBezTo>
                    <a:pt x="2544097" y="3548900"/>
                    <a:pt x="2521019" y="3544510"/>
                    <a:pt x="2492446" y="3530243"/>
                  </a:cubicBezTo>
                  <a:cubicBezTo>
                    <a:pt x="2464973" y="3515975"/>
                    <a:pt x="2511129" y="3513780"/>
                    <a:pt x="2548492" y="3519268"/>
                  </a:cubicBezTo>
                  <a:cubicBezTo>
                    <a:pt x="2584758" y="3524755"/>
                    <a:pt x="2590253" y="3524755"/>
                    <a:pt x="2622122" y="3518170"/>
                  </a:cubicBezTo>
                  <a:cubicBezTo>
                    <a:pt x="2652893" y="3509390"/>
                    <a:pt x="2670476" y="3548900"/>
                    <a:pt x="2690257" y="3571947"/>
                  </a:cubicBezTo>
                  <a:cubicBezTo>
                    <a:pt x="2710038" y="3593896"/>
                    <a:pt x="2735314" y="3603774"/>
                    <a:pt x="2766085" y="3622431"/>
                  </a:cubicBezTo>
                  <a:cubicBezTo>
                    <a:pt x="2795756" y="3638893"/>
                    <a:pt x="2822131" y="3637796"/>
                    <a:pt x="2834219" y="3612554"/>
                  </a:cubicBezTo>
                  <a:cubicBezTo>
                    <a:pt x="2847407" y="3587311"/>
                    <a:pt x="2801251" y="3608164"/>
                    <a:pt x="2794657" y="3574142"/>
                  </a:cubicBezTo>
                  <a:cubicBezTo>
                    <a:pt x="2789163" y="3541217"/>
                    <a:pt x="2768282" y="3557680"/>
                    <a:pt x="2751798" y="3506098"/>
                  </a:cubicBezTo>
                  <a:cubicBezTo>
                    <a:pt x="2736413" y="3455613"/>
                    <a:pt x="2714434" y="3391960"/>
                    <a:pt x="2705643" y="3362327"/>
                  </a:cubicBezTo>
                  <a:cubicBezTo>
                    <a:pt x="2695752" y="3333793"/>
                    <a:pt x="2735314" y="3319526"/>
                    <a:pt x="2759491" y="3308551"/>
                  </a:cubicBezTo>
                  <a:cubicBezTo>
                    <a:pt x="2782569" y="3297576"/>
                    <a:pt x="2767184" y="3278919"/>
                    <a:pt x="2745205" y="3269041"/>
                  </a:cubicBezTo>
                  <a:cubicBezTo>
                    <a:pt x="2722127" y="3259164"/>
                    <a:pt x="2716632" y="3265749"/>
                    <a:pt x="2703445" y="3215265"/>
                  </a:cubicBezTo>
                  <a:cubicBezTo>
                    <a:pt x="2691356" y="3164781"/>
                    <a:pt x="2653992" y="3185633"/>
                    <a:pt x="2648497" y="3152708"/>
                  </a:cubicBezTo>
                  <a:cubicBezTo>
                    <a:pt x="2643002" y="3121979"/>
                    <a:pt x="2635310" y="3108809"/>
                    <a:pt x="2635310" y="3068202"/>
                  </a:cubicBezTo>
                  <a:cubicBezTo>
                    <a:pt x="2635310" y="3026498"/>
                    <a:pt x="2629815" y="3024303"/>
                    <a:pt x="2597945" y="2999060"/>
                  </a:cubicBezTo>
                  <a:cubicBezTo>
                    <a:pt x="2566076" y="2973818"/>
                    <a:pt x="2544097" y="2976013"/>
                    <a:pt x="2512227" y="2955161"/>
                  </a:cubicBezTo>
                  <a:cubicBezTo>
                    <a:pt x="2481457" y="2932114"/>
                    <a:pt x="2483655" y="2936504"/>
                    <a:pt x="2456181" y="2906872"/>
                  </a:cubicBezTo>
                  <a:cubicBezTo>
                    <a:pt x="2427608" y="2878337"/>
                    <a:pt x="2446290" y="2893702"/>
                    <a:pt x="2412223" y="2906872"/>
                  </a:cubicBezTo>
                  <a:cubicBezTo>
                    <a:pt x="2375958" y="2920042"/>
                    <a:pt x="2389145" y="2883825"/>
                    <a:pt x="2393541" y="2827853"/>
                  </a:cubicBezTo>
                  <a:cubicBezTo>
                    <a:pt x="2395739" y="2770784"/>
                    <a:pt x="2368265" y="2799319"/>
                    <a:pt x="2351781" y="2760907"/>
                  </a:cubicBezTo>
                  <a:cubicBezTo>
                    <a:pt x="2336395" y="2723592"/>
                    <a:pt x="2351781" y="2730177"/>
                    <a:pt x="2374859" y="2678595"/>
                  </a:cubicBezTo>
                  <a:cubicBezTo>
                    <a:pt x="2396838" y="2628111"/>
                    <a:pt x="2359474" y="2637989"/>
                    <a:pt x="2336395" y="2562262"/>
                  </a:cubicBezTo>
                  <a:cubicBezTo>
                    <a:pt x="2314416" y="2485438"/>
                    <a:pt x="2326505" y="2441539"/>
                    <a:pt x="2336395" y="2413004"/>
                  </a:cubicBezTo>
                  <a:cubicBezTo>
                    <a:pt x="2346286" y="2384470"/>
                    <a:pt x="2301229" y="2328498"/>
                    <a:pt x="2321010" y="2283501"/>
                  </a:cubicBezTo>
                  <a:cubicBezTo>
                    <a:pt x="2339692" y="2239602"/>
                    <a:pt x="2323208" y="2226432"/>
                    <a:pt x="2295734" y="2185825"/>
                  </a:cubicBezTo>
                  <a:cubicBezTo>
                    <a:pt x="2267162" y="2144121"/>
                    <a:pt x="2257271" y="2169363"/>
                    <a:pt x="2203423" y="2132049"/>
                  </a:cubicBezTo>
                  <a:cubicBezTo>
                    <a:pt x="2149574" y="2093637"/>
                    <a:pt x="2180344" y="2078272"/>
                    <a:pt x="2188037" y="2017910"/>
                  </a:cubicBezTo>
                  <a:cubicBezTo>
                    <a:pt x="2193532" y="1958646"/>
                    <a:pt x="2159465" y="1990473"/>
                    <a:pt x="2111111" y="1938892"/>
                  </a:cubicBezTo>
                  <a:cubicBezTo>
                    <a:pt x="2064955" y="1888407"/>
                    <a:pt x="2040778" y="1899382"/>
                    <a:pt x="2018799" y="1875238"/>
                  </a:cubicBezTo>
                  <a:cubicBezTo>
                    <a:pt x="1999018" y="1852190"/>
                    <a:pt x="2001216" y="1839021"/>
                    <a:pt x="1964951" y="1830241"/>
                  </a:cubicBezTo>
                  <a:cubicBezTo>
                    <a:pt x="1929784" y="1820363"/>
                    <a:pt x="1934180" y="1845605"/>
                    <a:pt x="1905607" y="1874140"/>
                  </a:cubicBezTo>
                  <a:cubicBezTo>
                    <a:pt x="1877035" y="1902675"/>
                    <a:pt x="1866045" y="1874140"/>
                    <a:pt x="1823186" y="1864263"/>
                  </a:cubicBezTo>
                  <a:cubicBezTo>
                    <a:pt x="1781426" y="1854385"/>
                    <a:pt x="1756150" y="1849995"/>
                    <a:pt x="1729776" y="1858775"/>
                  </a:cubicBezTo>
                  <a:cubicBezTo>
                    <a:pt x="1704500" y="1866458"/>
                    <a:pt x="1702302" y="1854385"/>
                    <a:pt x="1683620" y="1841215"/>
                  </a:cubicBezTo>
                  <a:cubicBezTo>
                    <a:pt x="1664938" y="1829143"/>
                    <a:pt x="1659443" y="1833533"/>
                    <a:pt x="1640761" y="1839021"/>
                  </a:cubicBezTo>
                  <a:cubicBezTo>
                    <a:pt x="1622078" y="1843410"/>
                    <a:pt x="1582516" y="1862068"/>
                    <a:pt x="1585813" y="1836826"/>
                  </a:cubicBezTo>
                  <a:cubicBezTo>
                    <a:pt x="1588011" y="1811583"/>
                    <a:pt x="1625375" y="1826948"/>
                    <a:pt x="1616584" y="1801706"/>
                  </a:cubicBezTo>
                  <a:cubicBezTo>
                    <a:pt x="1608891" y="1776464"/>
                    <a:pt x="1562735" y="1779756"/>
                    <a:pt x="1563834" y="1745734"/>
                  </a:cubicBezTo>
                  <a:cubicBezTo>
                    <a:pt x="1566032" y="1709517"/>
                    <a:pt x="1626474" y="1767684"/>
                    <a:pt x="1635266" y="1777561"/>
                  </a:cubicBezTo>
                  <a:cubicBezTo>
                    <a:pt x="1645156" y="1789634"/>
                    <a:pt x="1661641" y="1795121"/>
                    <a:pt x="1679224" y="1817071"/>
                  </a:cubicBezTo>
                  <a:cubicBezTo>
                    <a:pt x="1696807" y="1840118"/>
                    <a:pt x="1715489" y="1824753"/>
                    <a:pt x="1761645" y="1814876"/>
                  </a:cubicBezTo>
                  <a:cubicBezTo>
                    <a:pt x="1806702" y="1804999"/>
                    <a:pt x="1845165" y="1766587"/>
                    <a:pt x="1875936" y="1751222"/>
                  </a:cubicBezTo>
                  <a:cubicBezTo>
                    <a:pt x="1907805" y="1735857"/>
                    <a:pt x="1924289" y="1740247"/>
                    <a:pt x="1967149" y="1741344"/>
                  </a:cubicBezTo>
                  <a:cubicBezTo>
                    <a:pt x="2010007" y="1742442"/>
                    <a:pt x="2012205" y="1741344"/>
                    <a:pt x="2039679" y="1717200"/>
                  </a:cubicBezTo>
                  <a:cubicBezTo>
                    <a:pt x="2066054" y="1693055"/>
                    <a:pt x="2029789" y="1687568"/>
                    <a:pt x="2010007" y="1673301"/>
                  </a:cubicBezTo>
                  <a:cubicBezTo>
                    <a:pt x="1988028" y="1659033"/>
                    <a:pt x="1981435" y="1663423"/>
                    <a:pt x="1977039" y="1640376"/>
                  </a:cubicBezTo>
                  <a:cubicBezTo>
                    <a:pt x="1972643" y="1616231"/>
                    <a:pt x="1984732" y="1611842"/>
                    <a:pt x="1977039" y="1595379"/>
                  </a:cubicBezTo>
                  <a:cubicBezTo>
                    <a:pt x="1968247" y="1577819"/>
                    <a:pt x="1953961" y="1595379"/>
                    <a:pt x="1928685" y="1598672"/>
                  </a:cubicBezTo>
                  <a:cubicBezTo>
                    <a:pt x="1903409" y="1600867"/>
                    <a:pt x="1893519" y="1615134"/>
                    <a:pt x="1860550" y="1626109"/>
                  </a:cubicBezTo>
                  <a:cubicBezTo>
                    <a:pt x="1827582" y="1638181"/>
                    <a:pt x="1801207" y="1623914"/>
                    <a:pt x="1820988" y="1611842"/>
                  </a:cubicBezTo>
                  <a:cubicBezTo>
                    <a:pt x="1840770" y="1600867"/>
                    <a:pt x="1863847" y="1586599"/>
                    <a:pt x="1888024" y="1574527"/>
                  </a:cubicBezTo>
                  <a:cubicBezTo>
                    <a:pt x="1911102" y="1561357"/>
                    <a:pt x="1938576" y="1566845"/>
                    <a:pt x="1964951" y="1570137"/>
                  </a:cubicBezTo>
                  <a:cubicBezTo>
                    <a:pt x="1992424" y="1571235"/>
                    <a:pt x="2002315" y="1565747"/>
                    <a:pt x="2020997" y="1560260"/>
                  </a:cubicBezTo>
                  <a:cubicBezTo>
                    <a:pt x="2039679" y="1555870"/>
                    <a:pt x="2049570" y="1545993"/>
                    <a:pt x="2070449" y="1531725"/>
                  </a:cubicBezTo>
                  <a:cubicBezTo>
                    <a:pt x="2090231" y="1517458"/>
                    <a:pt x="2100121" y="1505386"/>
                    <a:pt x="2108913" y="1495508"/>
                  </a:cubicBezTo>
                  <a:cubicBezTo>
                    <a:pt x="2116606" y="1485631"/>
                    <a:pt x="2134189" y="1471364"/>
                    <a:pt x="2144079" y="1453804"/>
                  </a:cubicBezTo>
                  <a:cubicBezTo>
                    <a:pt x="2153970" y="1437342"/>
                    <a:pt x="2117705" y="1458194"/>
                    <a:pt x="2111111" y="1441732"/>
                  </a:cubicBezTo>
                  <a:cubicBezTo>
                    <a:pt x="2102319" y="1424172"/>
                    <a:pt x="2133090" y="1427464"/>
                    <a:pt x="2147376" y="1427464"/>
                  </a:cubicBezTo>
                  <a:cubicBezTo>
                    <a:pt x="2161663" y="1427464"/>
                    <a:pt x="2171553" y="1397832"/>
                    <a:pt x="2190235" y="1384662"/>
                  </a:cubicBezTo>
                  <a:cubicBezTo>
                    <a:pt x="2208918" y="1371493"/>
                    <a:pt x="2219907" y="1360518"/>
                    <a:pt x="2242985" y="1344056"/>
                  </a:cubicBezTo>
                  <a:cubicBezTo>
                    <a:pt x="2264964" y="1326496"/>
                    <a:pt x="2248479" y="1303449"/>
                    <a:pt x="2270458" y="1276012"/>
                  </a:cubicBezTo>
                  <a:cubicBezTo>
                    <a:pt x="2293537" y="1247477"/>
                    <a:pt x="2280349" y="1276012"/>
                    <a:pt x="2314416" y="1222235"/>
                  </a:cubicBezTo>
                  <a:cubicBezTo>
                    <a:pt x="2350682" y="1168458"/>
                    <a:pt x="2313318" y="1201383"/>
                    <a:pt x="2314416" y="1176141"/>
                  </a:cubicBezTo>
                  <a:cubicBezTo>
                    <a:pt x="2316614" y="1150898"/>
                    <a:pt x="2327604" y="1148703"/>
                    <a:pt x="2351781" y="1124559"/>
                  </a:cubicBezTo>
                  <a:cubicBezTo>
                    <a:pt x="2375958" y="1100414"/>
                    <a:pt x="2375958" y="1062002"/>
                    <a:pt x="2382551" y="1046638"/>
                  </a:cubicBezTo>
                  <a:cubicBezTo>
                    <a:pt x="2391343" y="1031273"/>
                    <a:pt x="2424311" y="1022493"/>
                    <a:pt x="2448488" y="1013713"/>
                  </a:cubicBezTo>
                  <a:cubicBezTo>
                    <a:pt x="2471566" y="1003836"/>
                    <a:pt x="2471566" y="973106"/>
                    <a:pt x="2471566" y="921524"/>
                  </a:cubicBezTo>
                  <a:cubicBezTo>
                    <a:pt x="2471566" y="871040"/>
                    <a:pt x="2449587" y="905062"/>
                    <a:pt x="2453983" y="871040"/>
                  </a:cubicBezTo>
                  <a:cubicBezTo>
                    <a:pt x="2456181" y="838116"/>
                    <a:pt x="2435301" y="820556"/>
                    <a:pt x="2414421" y="811776"/>
                  </a:cubicBezTo>
                  <a:cubicBezTo>
                    <a:pt x="2392442" y="801899"/>
                    <a:pt x="2386947" y="816166"/>
                    <a:pt x="2344088" y="808484"/>
                  </a:cubicBezTo>
                  <a:cubicBezTo>
                    <a:pt x="2302328" y="799704"/>
                    <a:pt x="2289141" y="804094"/>
                    <a:pt x="2271558" y="811776"/>
                  </a:cubicBezTo>
                  <a:cubicBezTo>
                    <a:pt x="2255074" y="819458"/>
                    <a:pt x="2249579" y="801899"/>
                    <a:pt x="2236391" y="795314"/>
                  </a:cubicBezTo>
                  <a:cubicBezTo>
                    <a:pt x="2224302" y="789826"/>
                    <a:pt x="2205621" y="802996"/>
                    <a:pt x="2194631" y="782144"/>
                  </a:cubicBezTo>
                  <a:cubicBezTo>
                    <a:pt x="2182542" y="760194"/>
                    <a:pt x="2186939" y="764584"/>
                    <a:pt x="2163860" y="774462"/>
                  </a:cubicBezTo>
                  <a:cubicBezTo>
                    <a:pt x="2140783" y="786534"/>
                    <a:pt x="2140783" y="798606"/>
                    <a:pt x="2134189" y="768974"/>
                  </a:cubicBezTo>
                  <a:cubicBezTo>
                    <a:pt x="2128694" y="739342"/>
                    <a:pt x="2123200" y="744830"/>
                    <a:pt x="2104517" y="740440"/>
                  </a:cubicBezTo>
                  <a:cubicBezTo>
                    <a:pt x="2085835" y="736050"/>
                    <a:pt x="2082538" y="755804"/>
                    <a:pt x="2035284" y="760194"/>
                  </a:cubicBezTo>
                  <a:cubicBezTo>
                    <a:pt x="1986930" y="764584"/>
                    <a:pt x="1975940" y="744830"/>
                    <a:pt x="1968247" y="715198"/>
                  </a:cubicBezTo>
                  <a:cubicBezTo>
                    <a:pt x="1962753" y="685565"/>
                    <a:pt x="1937477" y="704223"/>
                    <a:pt x="1908904" y="709710"/>
                  </a:cubicBezTo>
                  <a:cubicBezTo>
                    <a:pt x="1880331" y="714100"/>
                    <a:pt x="1897915" y="726172"/>
                    <a:pt x="1875936" y="739342"/>
                  </a:cubicBezTo>
                  <a:cubicBezTo>
                    <a:pt x="1853957" y="751414"/>
                    <a:pt x="1846264" y="734952"/>
                    <a:pt x="1817692" y="730562"/>
                  </a:cubicBezTo>
                  <a:cubicBezTo>
                    <a:pt x="1790218" y="728367"/>
                    <a:pt x="1802306" y="744830"/>
                    <a:pt x="1757249" y="760194"/>
                  </a:cubicBezTo>
                  <a:cubicBezTo>
                    <a:pt x="1711093" y="776657"/>
                    <a:pt x="1714390" y="750317"/>
                    <a:pt x="1685818" y="763487"/>
                  </a:cubicBezTo>
                  <a:cubicBezTo>
                    <a:pt x="1657245" y="776657"/>
                    <a:pt x="1650651" y="796411"/>
                    <a:pt x="1615485" y="816166"/>
                  </a:cubicBezTo>
                  <a:cubicBezTo>
                    <a:pt x="1578120" y="834823"/>
                    <a:pt x="1591308" y="794216"/>
                    <a:pt x="1601198" y="776657"/>
                  </a:cubicBezTo>
                  <a:cubicBezTo>
                    <a:pt x="1611089" y="757999"/>
                    <a:pt x="1620980" y="754707"/>
                    <a:pt x="1649552" y="748122"/>
                  </a:cubicBezTo>
                  <a:cubicBezTo>
                    <a:pt x="1675927" y="739342"/>
                    <a:pt x="1677026" y="733855"/>
                    <a:pt x="1689114" y="718490"/>
                  </a:cubicBezTo>
                  <a:cubicBezTo>
                    <a:pt x="1700104" y="702028"/>
                    <a:pt x="1685818" y="714100"/>
                    <a:pt x="1672630" y="704223"/>
                  </a:cubicBezTo>
                  <a:cubicBezTo>
                    <a:pt x="1660542" y="694345"/>
                    <a:pt x="1658344" y="688858"/>
                    <a:pt x="1649552" y="688858"/>
                  </a:cubicBezTo>
                  <a:cubicBezTo>
                    <a:pt x="1639662" y="688858"/>
                    <a:pt x="1603396" y="714100"/>
                    <a:pt x="1577022" y="725075"/>
                  </a:cubicBezTo>
                  <a:cubicBezTo>
                    <a:pt x="1549548" y="736050"/>
                    <a:pt x="1544053" y="738245"/>
                    <a:pt x="1549548" y="723977"/>
                  </a:cubicBezTo>
                  <a:cubicBezTo>
                    <a:pt x="1557240" y="709710"/>
                    <a:pt x="1578120" y="696540"/>
                    <a:pt x="1612188" y="685565"/>
                  </a:cubicBezTo>
                  <a:cubicBezTo>
                    <a:pt x="1646255" y="674591"/>
                    <a:pt x="1633068" y="680078"/>
                    <a:pt x="1652849" y="675688"/>
                  </a:cubicBezTo>
                  <a:cubicBezTo>
                    <a:pt x="1672630" y="672396"/>
                    <a:pt x="1680323" y="652641"/>
                    <a:pt x="1695708" y="664713"/>
                  </a:cubicBezTo>
                  <a:cubicBezTo>
                    <a:pt x="1711093" y="675688"/>
                    <a:pt x="1684719" y="693248"/>
                    <a:pt x="1699005" y="700930"/>
                  </a:cubicBezTo>
                  <a:cubicBezTo>
                    <a:pt x="1712192" y="709710"/>
                    <a:pt x="1706698" y="686663"/>
                    <a:pt x="1744062" y="676786"/>
                  </a:cubicBezTo>
                  <a:cubicBezTo>
                    <a:pt x="1782525" y="666908"/>
                    <a:pt x="1797910" y="617522"/>
                    <a:pt x="1808900" y="597767"/>
                  </a:cubicBezTo>
                  <a:cubicBezTo>
                    <a:pt x="1819889" y="579110"/>
                    <a:pt x="1790218" y="593377"/>
                    <a:pt x="1760546" y="597767"/>
                  </a:cubicBezTo>
                  <a:cubicBezTo>
                    <a:pt x="1733072" y="602157"/>
                    <a:pt x="1740765" y="601059"/>
                    <a:pt x="1718786" y="593377"/>
                  </a:cubicBezTo>
                  <a:cubicBezTo>
                    <a:pt x="1695708" y="585694"/>
                    <a:pt x="1694609" y="579110"/>
                    <a:pt x="1677026" y="578012"/>
                  </a:cubicBezTo>
                  <a:cubicBezTo>
                    <a:pt x="1660542" y="576915"/>
                    <a:pt x="1627573" y="578012"/>
                    <a:pt x="1606693" y="567037"/>
                  </a:cubicBezTo>
                  <a:cubicBezTo>
                    <a:pt x="1583615" y="554965"/>
                    <a:pt x="1612188" y="543990"/>
                    <a:pt x="1626474" y="554965"/>
                  </a:cubicBezTo>
                  <a:cubicBezTo>
                    <a:pt x="1640761" y="567037"/>
                    <a:pt x="1646255" y="557160"/>
                    <a:pt x="1671531" y="557160"/>
                  </a:cubicBezTo>
                  <a:cubicBezTo>
                    <a:pt x="1697906" y="557160"/>
                    <a:pt x="1694609" y="567037"/>
                    <a:pt x="1709994" y="567037"/>
                  </a:cubicBezTo>
                  <a:cubicBezTo>
                    <a:pt x="1725380" y="567037"/>
                    <a:pt x="1733072" y="563745"/>
                    <a:pt x="1741864" y="548380"/>
                  </a:cubicBezTo>
                  <a:cubicBezTo>
                    <a:pt x="1751755" y="533015"/>
                    <a:pt x="1714390" y="537405"/>
                    <a:pt x="1719885" y="515456"/>
                  </a:cubicBezTo>
                  <a:cubicBezTo>
                    <a:pt x="1727578" y="492408"/>
                    <a:pt x="1744062" y="525333"/>
                    <a:pt x="1757249" y="530820"/>
                  </a:cubicBezTo>
                  <a:cubicBezTo>
                    <a:pt x="1769338" y="538503"/>
                    <a:pt x="1772635" y="512163"/>
                    <a:pt x="1797910" y="485823"/>
                  </a:cubicBezTo>
                  <a:cubicBezTo>
                    <a:pt x="1823186" y="458386"/>
                    <a:pt x="1826483" y="468264"/>
                    <a:pt x="1857254" y="457289"/>
                  </a:cubicBezTo>
                  <a:cubicBezTo>
                    <a:pt x="1889123" y="446314"/>
                    <a:pt x="1899014" y="444119"/>
                    <a:pt x="1934180" y="416682"/>
                  </a:cubicBezTo>
                  <a:cubicBezTo>
                    <a:pt x="1969347" y="388147"/>
                    <a:pt x="1986930" y="370588"/>
                    <a:pt x="2005612" y="350833"/>
                  </a:cubicBezTo>
                  <a:cubicBezTo>
                    <a:pt x="2023195" y="333273"/>
                    <a:pt x="2036382" y="338761"/>
                    <a:pt x="2064955" y="325591"/>
                  </a:cubicBezTo>
                  <a:cubicBezTo>
                    <a:pt x="2093528" y="313519"/>
                    <a:pt x="2086934" y="300349"/>
                    <a:pt x="2115507" y="280594"/>
                  </a:cubicBezTo>
                  <a:cubicBezTo>
                    <a:pt x="2144079" y="260839"/>
                    <a:pt x="2135288" y="250962"/>
                    <a:pt x="2124298" y="238890"/>
                  </a:cubicBezTo>
                  <a:cubicBezTo>
                    <a:pt x="2111111" y="227915"/>
                    <a:pt x="2110012" y="215843"/>
                    <a:pt x="2138585" y="187308"/>
                  </a:cubicBezTo>
                  <a:cubicBezTo>
                    <a:pt x="2166058" y="158773"/>
                    <a:pt x="2179246" y="162066"/>
                    <a:pt x="2189137" y="136824"/>
                  </a:cubicBezTo>
                  <a:cubicBezTo>
                    <a:pt x="2199027" y="110484"/>
                    <a:pt x="2174850" y="124751"/>
                    <a:pt x="2153970" y="133531"/>
                  </a:cubicBezTo>
                  <a:cubicBezTo>
                    <a:pt x="2134189" y="141214"/>
                    <a:pt x="2135288" y="136824"/>
                    <a:pt x="2105616" y="115972"/>
                  </a:cubicBezTo>
                  <a:cubicBezTo>
                    <a:pt x="2077044" y="96217"/>
                    <a:pt x="2072648" y="113777"/>
                    <a:pt x="2055065" y="94022"/>
                  </a:cubicBezTo>
                  <a:cubicBezTo>
                    <a:pt x="2037481" y="75365"/>
                    <a:pt x="2044075" y="79755"/>
                    <a:pt x="2027591" y="83047"/>
                  </a:cubicBezTo>
                  <a:cubicBezTo>
                    <a:pt x="2012205" y="85242"/>
                    <a:pt x="2046273" y="108289"/>
                    <a:pt x="2027591" y="120362"/>
                  </a:cubicBezTo>
                  <a:cubicBezTo>
                    <a:pt x="2010007" y="133531"/>
                    <a:pt x="1990226" y="129141"/>
                    <a:pt x="1985831" y="115972"/>
                  </a:cubicBezTo>
                  <a:cubicBezTo>
                    <a:pt x="1981435" y="103899"/>
                    <a:pt x="1968247" y="100607"/>
                    <a:pt x="1942972" y="114874"/>
                  </a:cubicBezTo>
                  <a:cubicBezTo>
                    <a:pt x="1917696" y="129141"/>
                    <a:pt x="1919894" y="124751"/>
                    <a:pt x="1879233" y="123654"/>
                  </a:cubicBezTo>
                  <a:cubicBezTo>
                    <a:pt x="1838571" y="121459"/>
                    <a:pt x="1819889" y="106094"/>
                    <a:pt x="1795713" y="125849"/>
                  </a:cubicBezTo>
                  <a:cubicBezTo>
                    <a:pt x="1771536" y="145604"/>
                    <a:pt x="1762744" y="128044"/>
                    <a:pt x="1733072" y="115972"/>
                  </a:cubicBezTo>
                  <a:cubicBezTo>
                    <a:pt x="1704500" y="104997"/>
                    <a:pt x="1682521" y="155481"/>
                    <a:pt x="1644057" y="164261"/>
                  </a:cubicBezTo>
                  <a:cubicBezTo>
                    <a:pt x="1605594" y="173041"/>
                    <a:pt x="1658344" y="133531"/>
                    <a:pt x="1685818" y="119264"/>
                  </a:cubicBezTo>
                  <a:cubicBezTo>
                    <a:pt x="1712192" y="104997"/>
                    <a:pt x="1691312" y="87437"/>
                    <a:pt x="1644057" y="77560"/>
                  </a:cubicBezTo>
                  <a:cubicBezTo>
                    <a:pt x="1597902" y="67682"/>
                    <a:pt x="1618782" y="66585"/>
                    <a:pt x="1605594" y="58902"/>
                  </a:cubicBezTo>
                  <a:cubicBezTo>
                    <a:pt x="1593506" y="51220"/>
                    <a:pt x="1585813" y="68780"/>
                    <a:pt x="1568230" y="100607"/>
                  </a:cubicBezTo>
                  <a:cubicBezTo>
                    <a:pt x="1550647" y="131336"/>
                    <a:pt x="1530866" y="100607"/>
                    <a:pt x="1545152" y="77560"/>
                  </a:cubicBezTo>
                  <a:cubicBezTo>
                    <a:pt x="1559438" y="55610"/>
                    <a:pt x="1577022" y="39148"/>
                    <a:pt x="1555043" y="32563"/>
                  </a:cubicBezTo>
                  <a:cubicBezTo>
                    <a:pt x="1533064" y="23783"/>
                    <a:pt x="1529767" y="31465"/>
                    <a:pt x="1515480" y="9516"/>
                  </a:cubicBezTo>
                  <a:cubicBezTo>
                    <a:pt x="1501194" y="-10239"/>
                    <a:pt x="1486908" y="4028"/>
                    <a:pt x="1477017" y="22685"/>
                  </a:cubicBezTo>
                  <a:cubicBezTo>
                    <a:pt x="1467127" y="41343"/>
                    <a:pt x="1464929" y="46830"/>
                    <a:pt x="1451741" y="47928"/>
                  </a:cubicBezTo>
                  <a:cubicBezTo>
                    <a:pt x="1439653" y="49025"/>
                    <a:pt x="1449544" y="75365"/>
                    <a:pt x="1461632" y="90729"/>
                  </a:cubicBezTo>
                  <a:cubicBezTo>
                    <a:pt x="1474819" y="106094"/>
                    <a:pt x="1484710" y="129141"/>
                    <a:pt x="1464929" y="144506"/>
                  </a:cubicBezTo>
                  <a:cubicBezTo>
                    <a:pt x="1446246" y="159871"/>
                    <a:pt x="1457236" y="104997"/>
                    <a:pt x="1439653" y="107192"/>
                  </a:cubicBezTo>
                  <a:cubicBezTo>
                    <a:pt x="1420971" y="110484"/>
                    <a:pt x="1431960" y="139019"/>
                    <a:pt x="1407783" y="135726"/>
                  </a:cubicBezTo>
                  <a:cubicBezTo>
                    <a:pt x="1382508" y="133531"/>
                    <a:pt x="1393497" y="176333"/>
                    <a:pt x="1391299" y="187308"/>
                  </a:cubicBezTo>
                  <a:cubicBezTo>
                    <a:pt x="1390200" y="197185"/>
                    <a:pt x="1393497" y="209258"/>
                    <a:pt x="1402289" y="216940"/>
                  </a:cubicBezTo>
                  <a:cubicBezTo>
                    <a:pt x="1412179" y="226817"/>
                    <a:pt x="1438554" y="235597"/>
                    <a:pt x="1447346" y="258644"/>
                  </a:cubicBezTo>
                  <a:cubicBezTo>
                    <a:pt x="1456137" y="282789"/>
                    <a:pt x="1417674" y="266327"/>
                    <a:pt x="1404487" y="247670"/>
                  </a:cubicBezTo>
                  <a:cubicBezTo>
                    <a:pt x="1391299" y="231207"/>
                    <a:pt x="1391299" y="231207"/>
                    <a:pt x="1374815" y="230110"/>
                  </a:cubicBezTo>
                  <a:cubicBezTo>
                    <a:pt x="1358331" y="229012"/>
                    <a:pt x="1352836" y="226817"/>
                    <a:pt x="1341846" y="216940"/>
                  </a:cubicBezTo>
                  <a:cubicBezTo>
                    <a:pt x="1328659" y="205965"/>
                    <a:pt x="1314373" y="213648"/>
                    <a:pt x="1306680" y="226817"/>
                  </a:cubicBezTo>
                  <a:cubicBezTo>
                    <a:pt x="1301185" y="238890"/>
                    <a:pt x="1306680" y="246572"/>
                    <a:pt x="1318769" y="268522"/>
                  </a:cubicBezTo>
                  <a:cubicBezTo>
                    <a:pt x="1329758" y="290471"/>
                    <a:pt x="1320966" y="328883"/>
                    <a:pt x="1296790" y="347541"/>
                  </a:cubicBezTo>
                  <a:cubicBezTo>
                    <a:pt x="1273712" y="364003"/>
                    <a:pt x="1272613" y="322298"/>
                    <a:pt x="1256128" y="327786"/>
                  </a:cubicBezTo>
                  <a:cubicBezTo>
                    <a:pt x="1239644" y="331078"/>
                    <a:pt x="1247337" y="347541"/>
                    <a:pt x="1258326" y="365100"/>
                  </a:cubicBezTo>
                  <a:cubicBezTo>
                    <a:pt x="1269316" y="381563"/>
                    <a:pt x="1267118" y="382660"/>
                    <a:pt x="1282503" y="394732"/>
                  </a:cubicBezTo>
                  <a:cubicBezTo>
                    <a:pt x="1297888" y="406805"/>
                    <a:pt x="1302284" y="445217"/>
                    <a:pt x="1326461" y="443022"/>
                  </a:cubicBezTo>
                  <a:cubicBezTo>
                    <a:pt x="1350638" y="439729"/>
                    <a:pt x="1355034" y="475946"/>
                    <a:pt x="1346242" y="497896"/>
                  </a:cubicBezTo>
                  <a:cubicBezTo>
                    <a:pt x="1337451" y="520943"/>
                    <a:pt x="1324263" y="470459"/>
                    <a:pt x="1307779" y="456191"/>
                  </a:cubicBezTo>
                  <a:cubicBezTo>
                    <a:pt x="1292394" y="443022"/>
                    <a:pt x="1298987" y="469361"/>
                    <a:pt x="1295691" y="483629"/>
                  </a:cubicBezTo>
                  <a:cubicBezTo>
                    <a:pt x="1292394" y="497896"/>
                    <a:pt x="1307779" y="502286"/>
                    <a:pt x="1295691" y="513261"/>
                  </a:cubicBezTo>
                  <a:cubicBezTo>
                    <a:pt x="1284701" y="524235"/>
                    <a:pt x="1275909" y="482531"/>
                    <a:pt x="1277008" y="461679"/>
                  </a:cubicBezTo>
                  <a:cubicBezTo>
                    <a:pt x="1278107" y="441924"/>
                    <a:pt x="1267118" y="439729"/>
                    <a:pt x="1252832" y="439729"/>
                  </a:cubicBezTo>
                  <a:cubicBezTo>
                    <a:pt x="1238545" y="440827"/>
                    <a:pt x="1240743" y="453996"/>
                    <a:pt x="1234149" y="471556"/>
                  </a:cubicBezTo>
                  <a:cubicBezTo>
                    <a:pt x="1228655" y="488018"/>
                    <a:pt x="1212170" y="475946"/>
                    <a:pt x="1207775" y="462776"/>
                  </a:cubicBezTo>
                  <a:cubicBezTo>
                    <a:pt x="1202280" y="449607"/>
                    <a:pt x="1197884" y="430949"/>
                    <a:pt x="1184697" y="419974"/>
                  </a:cubicBezTo>
                  <a:cubicBezTo>
                    <a:pt x="1172608" y="407902"/>
                    <a:pt x="1174806" y="424364"/>
                    <a:pt x="1169312" y="439729"/>
                  </a:cubicBezTo>
                  <a:cubicBezTo>
                    <a:pt x="1163817" y="453996"/>
                    <a:pt x="1168212" y="461679"/>
                    <a:pt x="1164916" y="480336"/>
                  </a:cubicBezTo>
                  <a:cubicBezTo>
                    <a:pt x="1161619" y="497896"/>
                    <a:pt x="1172608" y="494603"/>
                    <a:pt x="1170411" y="509968"/>
                  </a:cubicBezTo>
                  <a:cubicBezTo>
                    <a:pt x="1168212" y="526430"/>
                    <a:pt x="1138541" y="520943"/>
                    <a:pt x="1138541" y="496798"/>
                  </a:cubicBezTo>
                  <a:cubicBezTo>
                    <a:pt x="1137442" y="472654"/>
                    <a:pt x="1141838" y="470459"/>
                    <a:pt x="1140739" y="451802"/>
                  </a:cubicBezTo>
                  <a:cubicBezTo>
                    <a:pt x="1140739" y="434242"/>
                    <a:pt x="1128650" y="436437"/>
                    <a:pt x="1114364" y="436437"/>
                  </a:cubicBezTo>
                  <a:cubicBezTo>
                    <a:pt x="1100078" y="437534"/>
                    <a:pt x="1109968" y="449607"/>
                    <a:pt x="1100078" y="464971"/>
                  </a:cubicBezTo>
                  <a:cubicBezTo>
                    <a:pt x="1091286" y="480336"/>
                    <a:pt x="1086890" y="495701"/>
                    <a:pt x="1087989" y="509968"/>
                  </a:cubicBezTo>
                  <a:cubicBezTo>
                    <a:pt x="1089088" y="525333"/>
                    <a:pt x="1102276" y="524235"/>
                    <a:pt x="1112166" y="548380"/>
                  </a:cubicBezTo>
                  <a:cubicBezTo>
                    <a:pt x="1120958" y="572525"/>
                    <a:pt x="1095682" y="556062"/>
                    <a:pt x="1081396" y="561550"/>
                  </a:cubicBezTo>
                  <a:cubicBezTo>
                    <a:pt x="1066010" y="565940"/>
                    <a:pt x="1080297" y="615327"/>
                    <a:pt x="1084692" y="627399"/>
                  </a:cubicBezTo>
                  <a:cubicBezTo>
                    <a:pt x="1087989" y="639471"/>
                    <a:pt x="1090187" y="646056"/>
                    <a:pt x="1106671" y="652641"/>
                  </a:cubicBezTo>
                  <a:cubicBezTo>
                    <a:pt x="1122056" y="660323"/>
                    <a:pt x="1128650" y="676786"/>
                    <a:pt x="1108869" y="684468"/>
                  </a:cubicBezTo>
                  <a:cubicBezTo>
                    <a:pt x="1090187" y="693248"/>
                    <a:pt x="1082495" y="669103"/>
                    <a:pt x="1073703" y="646056"/>
                  </a:cubicBezTo>
                  <a:cubicBezTo>
                    <a:pt x="1058318" y="627399"/>
                    <a:pt x="1049526" y="636179"/>
                    <a:pt x="1031943" y="643861"/>
                  </a:cubicBezTo>
                  <a:close/>
                </a:path>
              </a:pathLst>
            </a:custGeom>
            <a:solidFill>
              <a:srgbClr val="DBD6D2"/>
            </a:solidFill>
            <a:ln w="54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DK" sz="2400"/>
            </a:p>
          </p:txBody>
        </p:sp>
        <p:sp>
          <p:nvSpPr>
            <p:cNvPr id="58" name="Freeform 57">
              <a:extLst>
                <a:ext uri="{FF2B5EF4-FFF2-40B4-BE49-F238E27FC236}">
                  <a16:creationId xmlns:a16="http://schemas.microsoft.com/office/drawing/2014/main" id="{B7FE22C3-8565-29C0-DC40-88DF6857B75A}"/>
                </a:ext>
              </a:extLst>
            </p:cNvPr>
            <p:cNvSpPr/>
            <p:nvPr/>
          </p:nvSpPr>
          <p:spPr>
            <a:xfrm>
              <a:off x="5758626" y="-724268"/>
              <a:ext cx="238339" cy="205388"/>
            </a:xfrm>
            <a:custGeom>
              <a:avLst/>
              <a:gdLst>
                <a:gd name="connsiteX0" fmla="*/ 21846 w 238339"/>
                <a:gd name="connsiteY0" fmla="*/ 130529 h 205388"/>
                <a:gd name="connsiteX1" fmla="*/ 39429 w 238339"/>
                <a:gd name="connsiteY1" fmla="*/ 115164 h 205388"/>
                <a:gd name="connsiteX2" fmla="*/ 54815 w 238339"/>
                <a:gd name="connsiteY2" fmla="*/ 91019 h 205388"/>
                <a:gd name="connsiteX3" fmla="*/ 41627 w 238339"/>
                <a:gd name="connsiteY3" fmla="*/ 133821 h 205388"/>
                <a:gd name="connsiteX4" fmla="*/ 52616 w 238339"/>
                <a:gd name="connsiteY4" fmla="*/ 159063 h 205388"/>
                <a:gd name="connsiteX5" fmla="*/ 78992 w 238339"/>
                <a:gd name="connsiteY5" fmla="*/ 159063 h 205388"/>
                <a:gd name="connsiteX6" fmla="*/ 114158 w 238339"/>
                <a:gd name="connsiteY6" fmla="*/ 153576 h 205388"/>
                <a:gd name="connsiteX7" fmla="*/ 147127 w 238339"/>
                <a:gd name="connsiteY7" fmla="*/ 188695 h 205388"/>
                <a:gd name="connsiteX8" fmla="*/ 172402 w 238339"/>
                <a:gd name="connsiteY8" fmla="*/ 205157 h 205388"/>
                <a:gd name="connsiteX9" fmla="*/ 200975 w 238339"/>
                <a:gd name="connsiteY9" fmla="*/ 197475 h 205388"/>
                <a:gd name="connsiteX10" fmla="*/ 238339 w 238339"/>
                <a:gd name="connsiteY10" fmla="*/ 167843 h 205388"/>
                <a:gd name="connsiteX11" fmla="*/ 206469 w 238339"/>
                <a:gd name="connsiteY11" fmla="*/ 163453 h 205388"/>
                <a:gd name="connsiteX12" fmla="*/ 192183 w 238339"/>
                <a:gd name="connsiteY12" fmla="*/ 144796 h 205388"/>
                <a:gd name="connsiteX13" fmla="*/ 161413 w 238339"/>
                <a:gd name="connsiteY13" fmla="*/ 139308 h 205388"/>
                <a:gd name="connsiteX14" fmla="*/ 130642 w 238339"/>
                <a:gd name="connsiteY14" fmla="*/ 122846 h 205388"/>
                <a:gd name="connsiteX15" fmla="*/ 98772 w 238339"/>
                <a:gd name="connsiteY15" fmla="*/ 125041 h 205388"/>
                <a:gd name="connsiteX16" fmla="*/ 108663 w 238339"/>
                <a:gd name="connsiteY16" fmla="*/ 96507 h 205388"/>
                <a:gd name="connsiteX17" fmla="*/ 109762 w 238339"/>
                <a:gd name="connsiteY17" fmla="*/ 81142 h 205388"/>
                <a:gd name="connsiteX18" fmla="*/ 129543 w 238339"/>
                <a:gd name="connsiteY18" fmla="*/ 67972 h 205388"/>
                <a:gd name="connsiteX19" fmla="*/ 126246 w 238339"/>
                <a:gd name="connsiteY19" fmla="*/ 40535 h 205388"/>
                <a:gd name="connsiteX20" fmla="*/ 97674 w 238339"/>
                <a:gd name="connsiteY20" fmla="*/ 40535 h 205388"/>
                <a:gd name="connsiteX21" fmla="*/ 81190 w 238339"/>
                <a:gd name="connsiteY21" fmla="*/ 8708 h 205388"/>
                <a:gd name="connsiteX22" fmla="*/ 41627 w 238339"/>
                <a:gd name="connsiteY22" fmla="*/ 10903 h 205388"/>
                <a:gd name="connsiteX23" fmla="*/ 24044 w 238339"/>
                <a:gd name="connsiteY23" fmla="*/ 29560 h 205388"/>
                <a:gd name="connsiteX24" fmla="*/ 27341 w 238339"/>
                <a:gd name="connsiteY24" fmla="*/ 59192 h 205388"/>
                <a:gd name="connsiteX25" fmla="*/ 3164 w 238339"/>
                <a:gd name="connsiteY25" fmla="*/ 88824 h 205388"/>
                <a:gd name="connsiteX26" fmla="*/ 8659 w 238339"/>
                <a:gd name="connsiteY26" fmla="*/ 115164 h 205388"/>
                <a:gd name="connsiteX27" fmla="*/ 21846 w 238339"/>
                <a:gd name="connsiteY27" fmla="*/ 130529 h 20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38339" h="205388">
                  <a:moveTo>
                    <a:pt x="21846" y="130529"/>
                  </a:moveTo>
                  <a:cubicBezTo>
                    <a:pt x="30637" y="136016"/>
                    <a:pt x="37232" y="122846"/>
                    <a:pt x="39429" y="115164"/>
                  </a:cubicBezTo>
                  <a:cubicBezTo>
                    <a:pt x="41627" y="106384"/>
                    <a:pt x="44924" y="91019"/>
                    <a:pt x="54815" y="91019"/>
                  </a:cubicBezTo>
                  <a:cubicBezTo>
                    <a:pt x="65804" y="91019"/>
                    <a:pt x="47122" y="121749"/>
                    <a:pt x="41627" y="133821"/>
                  </a:cubicBezTo>
                  <a:cubicBezTo>
                    <a:pt x="37232" y="145893"/>
                    <a:pt x="40528" y="152478"/>
                    <a:pt x="52616" y="159063"/>
                  </a:cubicBezTo>
                  <a:cubicBezTo>
                    <a:pt x="65804" y="164551"/>
                    <a:pt x="64705" y="155771"/>
                    <a:pt x="78992" y="159063"/>
                  </a:cubicBezTo>
                  <a:cubicBezTo>
                    <a:pt x="93278" y="162356"/>
                    <a:pt x="104267" y="159063"/>
                    <a:pt x="114158" y="153576"/>
                  </a:cubicBezTo>
                  <a:cubicBezTo>
                    <a:pt x="122950" y="149186"/>
                    <a:pt x="139434" y="166745"/>
                    <a:pt x="147127" y="188695"/>
                  </a:cubicBezTo>
                  <a:cubicBezTo>
                    <a:pt x="154819" y="211742"/>
                    <a:pt x="160313" y="201865"/>
                    <a:pt x="172402" y="205157"/>
                  </a:cubicBezTo>
                  <a:cubicBezTo>
                    <a:pt x="184490" y="207352"/>
                    <a:pt x="186688" y="193085"/>
                    <a:pt x="200975" y="197475"/>
                  </a:cubicBezTo>
                  <a:cubicBezTo>
                    <a:pt x="215261" y="200767"/>
                    <a:pt x="238339" y="188695"/>
                    <a:pt x="238339" y="167843"/>
                  </a:cubicBezTo>
                  <a:cubicBezTo>
                    <a:pt x="238339" y="146991"/>
                    <a:pt x="218558" y="172233"/>
                    <a:pt x="206469" y="163453"/>
                  </a:cubicBezTo>
                  <a:cubicBezTo>
                    <a:pt x="194381" y="153576"/>
                    <a:pt x="196579" y="146991"/>
                    <a:pt x="192183" y="144796"/>
                  </a:cubicBezTo>
                  <a:cubicBezTo>
                    <a:pt x="186688" y="141503"/>
                    <a:pt x="173501" y="145893"/>
                    <a:pt x="161413" y="139308"/>
                  </a:cubicBezTo>
                  <a:cubicBezTo>
                    <a:pt x="149324" y="131626"/>
                    <a:pt x="149324" y="129431"/>
                    <a:pt x="130642" y="122846"/>
                  </a:cubicBezTo>
                  <a:cubicBezTo>
                    <a:pt x="111960" y="117359"/>
                    <a:pt x="117455" y="131626"/>
                    <a:pt x="98772" y="125041"/>
                  </a:cubicBezTo>
                  <a:cubicBezTo>
                    <a:pt x="78992" y="117359"/>
                    <a:pt x="108663" y="96507"/>
                    <a:pt x="108663" y="96507"/>
                  </a:cubicBezTo>
                  <a:cubicBezTo>
                    <a:pt x="108663" y="96507"/>
                    <a:pt x="118553" y="92117"/>
                    <a:pt x="109762" y="81142"/>
                  </a:cubicBezTo>
                  <a:cubicBezTo>
                    <a:pt x="100971" y="69069"/>
                    <a:pt x="119653" y="70167"/>
                    <a:pt x="129543" y="67972"/>
                  </a:cubicBezTo>
                  <a:cubicBezTo>
                    <a:pt x="141632" y="65777"/>
                    <a:pt x="131741" y="54802"/>
                    <a:pt x="126246" y="40535"/>
                  </a:cubicBezTo>
                  <a:cubicBezTo>
                    <a:pt x="120751" y="27365"/>
                    <a:pt x="113059" y="40535"/>
                    <a:pt x="97674" y="40535"/>
                  </a:cubicBezTo>
                  <a:cubicBezTo>
                    <a:pt x="81190" y="40535"/>
                    <a:pt x="92179" y="27365"/>
                    <a:pt x="81190" y="8708"/>
                  </a:cubicBezTo>
                  <a:cubicBezTo>
                    <a:pt x="71299" y="-9949"/>
                    <a:pt x="52616" y="6513"/>
                    <a:pt x="41627" y="10903"/>
                  </a:cubicBezTo>
                  <a:cubicBezTo>
                    <a:pt x="31737" y="16390"/>
                    <a:pt x="30637" y="19683"/>
                    <a:pt x="24044" y="29560"/>
                  </a:cubicBezTo>
                  <a:cubicBezTo>
                    <a:pt x="17450" y="39437"/>
                    <a:pt x="25143" y="41632"/>
                    <a:pt x="27341" y="59192"/>
                  </a:cubicBezTo>
                  <a:cubicBezTo>
                    <a:pt x="29539" y="77849"/>
                    <a:pt x="13055" y="75654"/>
                    <a:pt x="3164" y="88824"/>
                  </a:cubicBezTo>
                  <a:cubicBezTo>
                    <a:pt x="-5628" y="103091"/>
                    <a:pt x="6460" y="100896"/>
                    <a:pt x="8659" y="115164"/>
                  </a:cubicBezTo>
                  <a:cubicBezTo>
                    <a:pt x="9758" y="127236"/>
                    <a:pt x="13055" y="126139"/>
                    <a:pt x="21846" y="130529"/>
                  </a:cubicBezTo>
                  <a:close/>
                </a:path>
              </a:pathLst>
            </a:custGeom>
            <a:solidFill>
              <a:srgbClr val="DBD6D2"/>
            </a:solidFill>
            <a:ln w="54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DK" sz="2400"/>
            </a:p>
          </p:txBody>
        </p:sp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id="{32A65F9C-0F81-1D75-1689-79B46A598C2F}"/>
                </a:ext>
              </a:extLst>
            </p:cNvPr>
            <p:cNvSpPr/>
            <p:nvPr/>
          </p:nvSpPr>
          <p:spPr>
            <a:xfrm>
              <a:off x="5723515" y="-584063"/>
              <a:ext cx="90745" cy="121241"/>
            </a:xfrm>
            <a:custGeom>
              <a:avLst/>
              <a:gdLst>
                <a:gd name="connsiteX0" fmla="*/ 21791 w 90745"/>
                <a:gd name="connsiteY0" fmla="*/ 67148 h 121241"/>
                <a:gd name="connsiteX1" fmla="*/ 30582 w 90745"/>
                <a:gd name="connsiteY1" fmla="*/ 98975 h 121241"/>
                <a:gd name="connsiteX2" fmla="*/ 53661 w 90745"/>
                <a:gd name="connsiteY2" fmla="*/ 112144 h 121241"/>
                <a:gd name="connsiteX3" fmla="*/ 83333 w 90745"/>
                <a:gd name="connsiteY3" fmla="*/ 120924 h 121241"/>
                <a:gd name="connsiteX4" fmla="*/ 82233 w 90745"/>
                <a:gd name="connsiteY4" fmla="*/ 101170 h 121241"/>
                <a:gd name="connsiteX5" fmla="*/ 82233 w 90745"/>
                <a:gd name="connsiteY5" fmla="*/ 72635 h 121241"/>
                <a:gd name="connsiteX6" fmla="*/ 70145 w 90745"/>
                <a:gd name="connsiteY6" fmla="*/ 44100 h 121241"/>
                <a:gd name="connsiteX7" fmla="*/ 51463 w 90745"/>
                <a:gd name="connsiteY7" fmla="*/ 29833 h 121241"/>
                <a:gd name="connsiteX8" fmla="*/ 32780 w 90745"/>
                <a:gd name="connsiteY8" fmla="*/ 6786 h 121241"/>
                <a:gd name="connsiteX9" fmla="*/ 5307 w 90745"/>
                <a:gd name="connsiteY9" fmla="*/ 16663 h 121241"/>
                <a:gd name="connsiteX10" fmla="*/ 7505 w 90745"/>
                <a:gd name="connsiteY10" fmla="*/ 52880 h 121241"/>
                <a:gd name="connsiteX11" fmla="*/ 21791 w 90745"/>
                <a:gd name="connsiteY11" fmla="*/ 67148 h 121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0745" h="121241">
                  <a:moveTo>
                    <a:pt x="21791" y="67148"/>
                  </a:moveTo>
                  <a:cubicBezTo>
                    <a:pt x="27286" y="77025"/>
                    <a:pt x="26187" y="82512"/>
                    <a:pt x="30582" y="98975"/>
                  </a:cubicBezTo>
                  <a:cubicBezTo>
                    <a:pt x="33880" y="116534"/>
                    <a:pt x="43770" y="111047"/>
                    <a:pt x="53661" y="112144"/>
                  </a:cubicBezTo>
                  <a:cubicBezTo>
                    <a:pt x="63551" y="113242"/>
                    <a:pt x="72343" y="123119"/>
                    <a:pt x="83333" y="120924"/>
                  </a:cubicBezTo>
                  <a:cubicBezTo>
                    <a:pt x="95421" y="118729"/>
                    <a:pt x="91025" y="107755"/>
                    <a:pt x="82233" y="101170"/>
                  </a:cubicBezTo>
                  <a:cubicBezTo>
                    <a:pt x="74540" y="93487"/>
                    <a:pt x="74540" y="90195"/>
                    <a:pt x="82233" y="72635"/>
                  </a:cubicBezTo>
                  <a:cubicBezTo>
                    <a:pt x="91025" y="56173"/>
                    <a:pt x="74540" y="58368"/>
                    <a:pt x="70145" y="44100"/>
                  </a:cubicBezTo>
                  <a:cubicBezTo>
                    <a:pt x="70145" y="44100"/>
                    <a:pt x="66848" y="38613"/>
                    <a:pt x="51463" y="29833"/>
                  </a:cubicBezTo>
                  <a:cubicBezTo>
                    <a:pt x="37177" y="21053"/>
                    <a:pt x="40473" y="22151"/>
                    <a:pt x="32780" y="6786"/>
                  </a:cubicBezTo>
                  <a:cubicBezTo>
                    <a:pt x="25088" y="-9676"/>
                    <a:pt x="15198" y="7884"/>
                    <a:pt x="5307" y="16663"/>
                  </a:cubicBezTo>
                  <a:cubicBezTo>
                    <a:pt x="-5683" y="24346"/>
                    <a:pt x="3109" y="44100"/>
                    <a:pt x="7505" y="52880"/>
                  </a:cubicBezTo>
                  <a:cubicBezTo>
                    <a:pt x="10801" y="59465"/>
                    <a:pt x="16296" y="58368"/>
                    <a:pt x="21791" y="67148"/>
                  </a:cubicBezTo>
                  <a:close/>
                </a:path>
              </a:pathLst>
            </a:custGeom>
            <a:solidFill>
              <a:srgbClr val="DBD6D2"/>
            </a:solidFill>
            <a:ln w="54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DK" sz="2400"/>
            </a:p>
          </p:txBody>
        </p:sp>
      </p:grpSp>
      <p:grpSp>
        <p:nvGrpSpPr>
          <p:cNvPr id="60" name="Graphic 1045">
            <a:extLst>
              <a:ext uri="{FF2B5EF4-FFF2-40B4-BE49-F238E27FC236}">
                <a16:creationId xmlns:a16="http://schemas.microsoft.com/office/drawing/2014/main" id="{DA6E7867-F3DF-E8BC-C0A3-64C562CB49AF}"/>
              </a:ext>
            </a:extLst>
          </p:cNvPr>
          <p:cNvGrpSpPr>
            <a:grpSpLocks/>
          </p:cNvGrpSpPr>
          <p:nvPr/>
        </p:nvGrpSpPr>
        <p:grpSpPr>
          <a:xfrm>
            <a:off x="4915045" y="-2284346"/>
            <a:ext cx="11786033" cy="16690643"/>
            <a:chOff x="3686283" y="-1713259"/>
            <a:chExt cx="8839525" cy="12517982"/>
          </a:xfrm>
          <a:solidFill>
            <a:srgbClr val="ECE8E4"/>
          </a:solidFill>
        </p:grpSpPr>
        <p:sp>
          <p:nvSpPr>
            <p:cNvPr id="61" name="Freeform 60">
              <a:extLst>
                <a:ext uri="{FF2B5EF4-FFF2-40B4-BE49-F238E27FC236}">
                  <a16:creationId xmlns:a16="http://schemas.microsoft.com/office/drawing/2014/main" id="{8A8F7DF4-C407-4D49-42F4-9821ADDE6428}"/>
                </a:ext>
              </a:extLst>
            </p:cNvPr>
            <p:cNvSpPr/>
            <p:nvPr/>
          </p:nvSpPr>
          <p:spPr>
            <a:xfrm>
              <a:off x="6754267" y="-1713259"/>
              <a:ext cx="80605" cy="120179"/>
            </a:xfrm>
            <a:custGeom>
              <a:avLst/>
              <a:gdLst>
                <a:gd name="connsiteX0" fmla="*/ 20754 w 80605"/>
                <a:gd name="connsiteY0" fmla="*/ 116420 h 120179"/>
                <a:gd name="connsiteX1" fmla="*/ 47129 w 80605"/>
                <a:gd name="connsiteY1" fmla="*/ 108738 h 120179"/>
                <a:gd name="connsiteX2" fmla="*/ 44931 w 80605"/>
                <a:gd name="connsiteY2" fmla="*/ 76911 h 120179"/>
                <a:gd name="connsiteX3" fmla="*/ 62514 w 80605"/>
                <a:gd name="connsiteY3" fmla="*/ 45084 h 120179"/>
                <a:gd name="connsiteX4" fmla="*/ 73504 w 80605"/>
                <a:gd name="connsiteY4" fmla="*/ 5574 h 120179"/>
                <a:gd name="connsiteX5" fmla="*/ 36140 w 80605"/>
                <a:gd name="connsiteY5" fmla="*/ 14354 h 120179"/>
                <a:gd name="connsiteX6" fmla="*/ 9765 w 80605"/>
                <a:gd name="connsiteY6" fmla="*/ 51669 h 120179"/>
                <a:gd name="connsiteX7" fmla="*/ 5369 w 80605"/>
                <a:gd name="connsiteY7" fmla="*/ 86788 h 120179"/>
                <a:gd name="connsiteX8" fmla="*/ 2072 w 80605"/>
                <a:gd name="connsiteY8" fmla="*/ 118615 h 120179"/>
                <a:gd name="connsiteX9" fmla="*/ 20754 w 80605"/>
                <a:gd name="connsiteY9" fmla="*/ 116420 h 120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605" h="120179">
                  <a:moveTo>
                    <a:pt x="20754" y="116420"/>
                  </a:moveTo>
                  <a:cubicBezTo>
                    <a:pt x="31744" y="118615"/>
                    <a:pt x="48228" y="125200"/>
                    <a:pt x="47129" y="108738"/>
                  </a:cubicBezTo>
                  <a:cubicBezTo>
                    <a:pt x="46030" y="94471"/>
                    <a:pt x="36140" y="88983"/>
                    <a:pt x="44931" y="76911"/>
                  </a:cubicBezTo>
                  <a:cubicBezTo>
                    <a:pt x="53723" y="64839"/>
                    <a:pt x="59218" y="52766"/>
                    <a:pt x="62514" y="45084"/>
                  </a:cubicBezTo>
                  <a:cubicBezTo>
                    <a:pt x="65811" y="37402"/>
                    <a:pt x="93285" y="22037"/>
                    <a:pt x="73504" y="5574"/>
                  </a:cubicBezTo>
                  <a:cubicBezTo>
                    <a:pt x="54822" y="-10888"/>
                    <a:pt x="36140" y="14354"/>
                    <a:pt x="36140" y="14354"/>
                  </a:cubicBezTo>
                  <a:cubicBezTo>
                    <a:pt x="36140" y="14354"/>
                    <a:pt x="9765" y="39596"/>
                    <a:pt x="9765" y="51669"/>
                  </a:cubicBezTo>
                  <a:cubicBezTo>
                    <a:pt x="9765" y="63741"/>
                    <a:pt x="11963" y="70326"/>
                    <a:pt x="5369" y="86788"/>
                  </a:cubicBezTo>
                  <a:cubicBezTo>
                    <a:pt x="-2323" y="101056"/>
                    <a:pt x="-126" y="110933"/>
                    <a:pt x="2072" y="118615"/>
                  </a:cubicBezTo>
                  <a:cubicBezTo>
                    <a:pt x="5369" y="124103"/>
                    <a:pt x="9765" y="113128"/>
                    <a:pt x="20754" y="116420"/>
                  </a:cubicBezTo>
                  <a:close/>
                </a:path>
              </a:pathLst>
            </a:custGeom>
            <a:solidFill>
              <a:srgbClr val="ECE8E4"/>
            </a:solidFill>
            <a:ln w="54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DK" sz="2400"/>
            </a:p>
          </p:txBody>
        </p:sp>
        <p:sp>
          <p:nvSpPr>
            <p:cNvPr id="62" name="Freeform 61">
              <a:extLst>
                <a:ext uri="{FF2B5EF4-FFF2-40B4-BE49-F238E27FC236}">
                  <a16:creationId xmlns:a16="http://schemas.microsoft.com/office/drawing/2014/main" id="{193CCAAA-4D82-97B1-CD95-6E11B0572029}"/>
                </a:ext>
              </a:extLst>
            </p:cNvPr>
            <p:cNvSpPr/>
            <p:nvPr/>
          </p:nvSpPr>
          <p:spPr>
            <a:xfrm>
              <a:off x="8642043" y="3430987"/>
              <a:ext cx="149493" cy="42610"/>
            </a:xfrm>
            <a:custGeom>
              <a:avLst/>
              <a:gdLst>
                <a:gd name="connsiteX0" fmla="*/ 18774 w 149493"/>
                <a:gd name="connsiteY0" fmla="*/ 42546 h 42610"/>
                <a:gd name="connsiteX1" fmla="*/ 62732 w 149493"/>
                <a:gd name="connsiteY1" fmla="*/ 30474 h 42610"/>
                <a:gd name="connsiteX2" fmla="*/ 98998 w 149493"/>
                <a:gd name="connsiteY2" fmla="*/ 26084 h 42610"/>
                <a:gd name="connsiteX3" fmla="*/ 144055 w 149493"/>
                <a:gd name="connsiteY3" fmla="*/ 9622 h 42610"/>
                <a:gd name="connsiteX4" fmla="*/ 70425 w 149493"/>
                <a:gd name="connsiteY4" fmla="*/ 5232 h 42610"/>
                <a:gd name="connsiteX5" fmla="*/ 93 w 149493"/>
                <a:gd name="connsiteY5" fmla="*/ 12914 h 42610"/>
                <a:gd name="connsiteX6" fmla="*/ 18774 w 149493"/>
                <a:gd name="connsiteY6" fmla="*/ 42546 h 42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9493" h="42610">
                  <a:moveTo>
                    <a:pt x="18774" y="42546"/>
                  </a:moveTo>
                  <a:cubicBezTo>
                    <a:pt x="40753" y="40351"/>
                    <a:pt x="49545" y="33767"/>
                    <a:pt x="62732" y="30474"/>
                  </a:cubicBezTo>
                  <a:cubicBezTo>
                    <a:pt x="75920" y="28279"/>
                    <a:pt x="88008" y="22792"/>
                    <a:pt x="98998" y="26084"/>
                  </a:cubicBezTo>
                  <a:cubicBezTo>
                    <a:pt x="109987" y="28279"/>
                    <a:pt x="167132" y="22792"/>
                    <a:pt x="144055" y="9622"/>
                  </a:cubicBezTo>
                  <a:cubicBezTo>
                    <a:pt x="119878" y="-3548"/>
                    <a:pt x="72623" y="6330"/>
                    <a:pt x="70425" y="5232"/>
                  </a:cubicBezTo>
                  <a:cubicBezTo>
                    <a:pt x="35258" y="-255"/>
                    <a:pt x="-2106" y="-5743"/>
                    <a:pt x="93" y="12914"/>
                  </a:cubicBezTo>
                  <a:cubicBezTo>
                    <a:pt x="1191" y="30474"/>
                    <a:pt x="-3205" y="43644"/>
                    <a:pt x="18774" y="42546"/>
                  </a:cubicBezTo>
                  <a:close/>
                </a:path>
              </a:pathLst>
            </a:custGeom>
            <a:solidFill>
              <a:srgbClr val="ECE8E4"/>
            </a:solidFill>
            <a:ln w="54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DK" sz="2400"/>
            </a:p>
          </p:txBody>
        </p:sp>
        <p:sp>
          <p:nvSpPr>
            <p:cNvPr id="63" name="Freeform 62">
              <a:extLst>
                <a:ext uri="{FF2B5EF4-FFF2-40B4-BE49-F238E27FC236}">
                  <a16:creationId xmlns:a16="http://schemas.microsoft.com/office/drawing/2014/main" id="{E01BCEE4-24CF-1CE0-828D-12A965263520}"/>
                </a:ext>
              </a:extLst>
            </p:cNvPr>
            <p:cNvSpPr/>
            <p:nvPr/>
          </p:nvSpPr>
          <p:spPr>
            <a:xfrm>
              <a:off x="6660332" y="-1643661"/>
              <a:ext cx="87688" cy="166130"/>
            </a:xfrm>
            <a:custGeom>
              <a:avLst/>
              <a:gdLst>
                <a:gd name="connsiteX0" fmla="*/ 31169 w 87688"/>
                <a:gd name="connsiteY0" fmla="*/ 152180 h 166130"/>
                <a:gd name="connsiteX1" fmla="*/ 53148 w 87688"/>
                <a:gd name="connsiteY1" fmla="*/ 157668 h 166130"/>
                <a:gd name="connsiteX2" fmla="*/ 64138 w 87688"/>
                <a:gd name="connsiteY2" fmla="*/ 125840 h 166130"/>
                <a:gd name="connsiteX3" fmla="*/ 58643 w 87688"/>
                <a:gd name="connsiteY3" fmla="*/ 98403 h 166130"/>
                <a:gd name="connsiteX4" fmla="*/ 67435 w 87688"/>
                <a:gd name="connsiteY4" fmla="*/ 72064 h 166130"/>
                <a:gd name="connsiteX5" fmla="*/ 76226 w 87688"/>
                <a:gd name="connsiteY5" fmla="*/ 52309 h 166130"/>
                <a:gd name="connsiteX6" fmla="*/ 87215 w 87688"/>
                <a:gd name="connsiteY6" fmla="*/ 23774 h 166130"/>
                <a:gd name="connsiteX7" fmla="*/ 55346 w 87688"/>
                <a:gd name="connsiteY7" fmla="*/ 727 h 166130"/>
                <a:gd name="connsiteX8" fmla="*/ 42159 w 87688"/>
                <a:gd name="connsiteY8" fmla="*/ 6215 h 166130"/>
                <a:gd name="connsiteX9" fmla="*/ 28971 w 87688"/>
                <a:gd name="connsiteY9" fmla="*/ 31457 h 166130"/>
                <a:gd name="connsiteX10" fmla="*/ 38861 w 87688"/>
                <a:gd name="connsiteY10" fmla="*/ 56699 h 166130"/>
                <a:gd name="connsiteX11" fmla="*/ 19080 w 87688"/>
                <a:gd name="connsiteY11" fmla="*/ 84136 h 166130"/>
                <a:gd name="connsiteX12" fmla="*/ 1498 w 87688"/>
                <a:gd name="connsiteY12" fmla="*/ 120353 h 166130"/>
                <a:gd name="connsiteX13" fmla="*/ 12487 w 87688"/>
                <a:gd name="connsiteY13" fmla="*/ 160960 h 166130"/>
                <a:gd name="connsiteX14" fmla="*/ 31169 w 87688"/>
                <a:gd name="connsiteY14" fmla="*/ 152180 h 166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7688" h="166130">
                  <a:moveTo>
                    <a:pt x="31169" y="152180"/>
                  </a:moveTo>
                  <a:cubicBezTo>
                    <a:pt x="44356" y="144498"/>
                    <a:pt x="43257" y="163155"/>
                    <a:pt x="53148" y="157668"/>
                  </a:cubicBezTo>
                  <a:cubicBezTo>
                    <a:pt x="61940" y="154375"/>
                    <a:pt x="57544" y="139010"/>
                    <a:pt x="64138" y="125840"/>
                  </a:cubicBezTo>
                  <a:cubicBezTo>
                    <a:pt x="69633" y="113768"/>
                    <a:pt x="63038" y="110476"/>
                    <a:pt x="58643" y="98403"/>
                  </a:cubicBezTo>
                  <a:cubicBezTo>
                    <a:pt x="53148" y="85234"/>
                    <a:pt x="58643" y="80844"/>
                    <a:pt x="67435" y="72064"/>
                  </a:cubicBezTo>
                  <a:cubicBezTo>
                    <a:pt x="76226" y="62186"/>
                    <a:pt x="77325" y="57797"/>
                    <a:pt x="76226" y="52309"/>
                  </a:cubicBezTo>
                  <a:cubicBezTo>
                    <a:pt x="76226" y="44627"/>
                    <a:pt x="83919" y="35847"/>
                    <a:pt x="87215" y="23774"/>
                  </a:cubicBezTo>
                  <a:cubicBezTo>
                    <a:pt x="90512" y="12800"/>
                    <a:pt x="76226" y="-3663"/>
                    <a:pt x="55346" y="727"/>
                  </a:cubicBezTo>
                  <a:cubicBezTo>
                    <a:pt x="55346" y="727"/>
                    <a:pt x="45456" y="4020"/>
                    <a:pt x="42159" y="6215"/>
                  </a:cubicBezTo>
                  <a:cubicBezTo>
                    <a:pt x="37763" y="9507"/>
                    <a:pt x="31169" y="22677"/>
                    <a:pt x="28971" y="31457"/>
                  </a:cubicBezTo>
                  <a:cubicBezTo>
                    <a:pt x="26773" y="40237"/>
                    <a:pt x="32268" y="44627"/>
                    <a:pt x="38861" y="56699"/>
                  </a:cubicBezTo>
                  <a:cubicBezTo>
                    <a:pt x="44356" y="69869"/>
                    <a:pt x="28971" y="76454"/>
                    <a:pt x="19080" y="84136"/>
                  </a:cubicBezTo>
                  <a:cubicBezTo>
                    <a:pt x="9190" y="92916"/>
                    <a:pt x="6992" y="107183"/>
                    <a:pt x="1498" y="120353"/>
                  </a:cubicBezTo>
                  <a:cubicBezTo>
                    <a:pt x="-3997" y="133523"/>
                    <a:pt x="6992" y="147790"/>
                    <a:pt x="12487" y="160960"/>
                  </a:cubicBezTo>
                  <a:cubicBezTo>
                    <a:pt x="13586" y="174130"/>
                    <a:pt x="17982" y="158765"/>
                    <a:pt x="31169" y="152180"/>
                  </a:cubicBezTo>
                  <a:close/>
                </a:path>
              </a:pathLst>
            </a:custGeom>
            <a:solidFill>
              <a:srgbClr val="ECE8E4"/>
            </a:solidFill>
            <a:ln w="54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DK" sz="2400"/>
            </a:p>
          </p:txBody>
        </p:sp>
        <p:sp>
          <p:nvSpPr>
            <p:cNvPr id="448" name="Freeform 447">
              <a:extLst>
                <a:ext uri="{FF2B5EF4-FFF2-40B4-BE49-F238E27FC236}">
                  <a16:creationId xmlns:a16="http://schemas.microsoft.com/office/drawing/2014/main" id="{98C1E1FF-DC2C-5D63-DD4C-1259BE3280AC}"/>
                </a:ext>
              </a:extLst>
            </p:cNvPr>
            <p:cNvSpPr/>
            <p:nvPr/>
          </p:nvSpPr>
          <p:spPr>
            <a:xfrm>
              <a:off x="8448387" y="3442524"/>
              <a:ext cx="172988" cy="70418"/>
            </a:xfrm>
            <a:custGeom>
              <a:avLst/>
              <a:gdLst>
                <a:gd name="connsiteX0" fmla="*/ 92645 w 172988"/>
                <a:gd name="connsiteY0" fmla="*/ 52959 h 70418"/>
                <a:gd name="connsiteX1" fmla="*/ 131109 w 172988"/>
                <a:gd name="connsiteY1" fmla="*/ 35399 h 70418"/>
                <a:gd name="connsiteX2" fmla="*/ 172869 w 172988"/>
                <a:gd name="connsiteY2" fmla="*/ 12352 h 70418"/>
                <a:gd name="connsiteX3" fmla="*/ 142098 w 172988"/>
                <a:gd name="connsiteY3" fmla="*/ 2475 h 70418"/>
                <a:gd name="connsiteX4" fmla="*/ 100338 w 172988"/>
                <a:gd name="connsiteY4" fmla="*/ 13449 h 70418"/>
                <a:gd name="connsiteX5" fmla="*/ 44291 w 172988"/>
                <a:gd name="connsiteY5" fmla="*/ 25522 h 70418"/>
                <a:gd name="connsiteX6" fmla="*/ 2531 w 172988"/>
                <a:gd name="connsiteY6" fmla="*/ 66129 h 70418"/>
                <a:gd name="connsiteX7" fmla="*/ 92645 w 172988"/>
                <a:gd name="connsiteY7" fmla="*/ 52959 h 70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2988" h="70418">
                  <a:moveTo>
                    <a:pt x="92645" y="52959"/>
                  </a:moveTo>
                  <a:cubicBezTo>
                    <a:pt x="103635" y="47471"/>
                    <a:pt x="115723" y="33204"/>
                    <a:pt x="131109" y="35399"/>
                  </a:cubicBezTo>
                  <a:cubicBezTo>
                    <a:pt x="146493" y="37594"/>
                    <a:pt x="175067" y="20034"/>
                    <a:pt x="172869" y="12352"/>
                  </a:cubicBezTo>
                  <a:cubicBezTo>
                    <a:pt x="170670" y="3572"/>
                    <a:pt x="155286" y="-4110"/>
                    <a:pt x="142098" y="2475"/>
                  </a:cubicBezTo>
                  <a:cubicBezTo>
                    <a:pt x="127812" y="7962"/>
                    <a:pt x="101437" y="13449"/>
                    <a:pt x="100338" y="13449"/>
                  </a:cubicBezTo>
                  <a:cubicBezTo>
                    <a:pt x="72864" y="14547"/>
                    <a:pt x="64072" y="15644"/>
                    <a:pt x="44291" y="25522"/>
                  </a:cubicBezTo>
                  <a:cubicBezTo>
                    <a:pt x="24510" y="35399"/>
                    <a:pt x="-9557" y="40886"/>
                    <a:pt x="2531" y="66129"/>
                  </a:cubicBezTo>
                  <a:cubicBezTo>
                    <a:pt x="13521" y="79298"/>
                    <a:pt x="82755" y="58446"/>
                    <a:pt x="92645" y="52959"/>
                  </a:cubicBezTo>
                  <a:close/>
                </a:path>
              </a:pathLst>
            </a:custGeom>
            <a:solidFill>
              <a:srgbClr val="ECE8E4"/>
            </a:solidFill>
            <a:ln w="54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DK" sz="2400"/>
            </a:p>
          </p:txBody>
        </p:sp>
        <p:sp>
          <p:nvSpPr>
            <p:cNvPr id="449" name="Freeform 448">
              <a:extLst>
                <a:ext uri="{FF2B5EF4-FFF2-40B4-BE49-F238E27FC236}">
                  <a16:creationId xmlns:a16="http://schemas.microsoft.com/office/drawing/2014/main" id="{6B2C4BFE-A708-D0D0-C30D-D5087959A9A0}"/>
                </a:ext>
              </a:extLst>
            </p:cNvPr>
            <p:cNvSpPr/>
            <p:nvPr/>
          </p:nvSpPr>
          <p:spPr>
            <a:xfrm>
              <a:off x="3686283" y="6127231"/>
              <a:ext cx="60786" cy="60910"/>
            </a:xfrm>
            <a:custGeom>
              <a:avLst/>
              <a:gdLst>
                <a:gd name="connsiteX0" fmla="*/ 45748 w 60786"/>
                <a:gd name="connsiteY0" fmla="*/ 59282 h 60910"/>
                <a:gd name="connsiteX1" fmla="*/ 49044 w 60786"/>
                <a:gd name="connsiteY1" fmla="*/ 17 h 60910"/>
                <a:gd name="connsiteX2" fmla="*/ 7285 w 60786"/>
                <a:gd name="connsiteY2" fmla="*/ 16480 h 60910"/>
                <a:gd name="connsiteX3" fmla="*/ 14977 w 60786"/>
                <a:gd name="connsiteY3" fmla="*/ 48307 h 60910"/>
                <a:gd name="connsiteX4" fmla="*/ 45748 w 60786"/>
                <a:gd name="connsiteY4" fmla="*/ 59282 h 60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786" h="60910">
                  <a:moveTo>
                    <a:pt x="45748" y="59282"/>
                  </a:moveTo>
                  <a:cubicBezTo>
                    <a:pt x="62232" y="50502"/>
                    <a:pt x="67727" y="-1080"/>
                    <a:pt x="49044" y="17"/>
                  </a:cubicBezTo>
                  <a:cubicBezTo>
                    <a:pt x="32560" y="17"/>
                    <a:pt x="9482" y="17577"/>
                    <a:pt x="7285" y="16480"/>
                  </a:cubicBezTo>
                  <a:cubicBezTo>
                    <a:pt x="-408" y="27454"/>
                    <a:pt x="-7002" y="45014"/>
                    <a:pt x="14977" y="48307"/>
                  </a:cubicBezTo>
                  <a:cubicBezTo>
                    <a:pt x="34758" y="50502"/>
                    <a:pt x="29264" y="65866"/>
                    <a:pt x="45748" y="59282"/>
                  </a:cubicBezTo>
                  <a:close/>
                </a:path>
              </a:pathLst>
            </a:custGeom>
            <a:solidFill>
              <a:srgbClr val="ECE8E4"/>
            </a:solidFill>
            <a:ln w="54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DK" sz="2400"/>
            </a:p>
          </p:txBody>
        </p:sp>
        <p:sp>
          <p:nvSpPr>
            <p:cNvPr id="450" name="Freeform 449">
              <a:extLst>
                <a:ext uri="{FF2B5EF4-FFF2-40B4-BE49-F238E27FC236}">
                  <a16:creationId xmlns:a16="http://schemas.microsoft.com/office/drawing/2014/main" id="{163CDFEB-2FAD-D789-7B8C-E0D86F1D3387}"/>
                </a:ext>
              </a:extLst>
            </p:cNvPr>
            <p:cNvSpPr/>
            <p:nvPr/>
          </p:nvSpPr>
          <p:spPr>
            <a:xfrm>
              <a:off x="5045047" y="5850018"/>
              <a:ext cx="127079" cy="109324"/>
            </a:xfrm>
            <a:custGeom>
              <a:avLst/>
              <a:gdLst>
                <a:gd name="connsiteX0" fmla="*/ 16712 w 127079"/>
                <a:gd name="connsiteY0" fmla="*/ 72001 h 109324"/>
                <a:gd name="connsiteX1" fmla="*/ 49681 w 127079"/>
                <a:gd name="connsiteY1" fmla="*/ 53344 h 109324"/>
                <a:gd name="connsiteX2" fmla="*/ 63967 w 127079"/>
                <a:gd name="connsiteY2" fmla="*/ 92853 h 109324"/>
                <a:gd name="connsiteX3" fmla="*/ 101331 w 127079"/>
                <a:gd name="connsiteY3" fmla="*/ 107120 h 109324"/>
                <a:gd name="connsiteX4" fmla="*/ 113420 w 127079"/>
                <a:gd name="connsiteY4" fmla="*/ 43466 h 109324"/>
                <a:gd name="connsiteX5" fmla="*/ 50780 w 127079"/>
                <a:gd name="connsiteY5" fmla="*/ 6152 h 109324"/>
                <a:gd name="connsiteX6" fmla="*/ 15613 w 127079"/>
                <a:gd name="connsiteY6" fmla="*/ 5054 h 109324"/>
                <a:gd name="connsiteX7" fmla="*/ 16712 w 127079"/>
                <a:gd name="connsiteY7" fmla="*/ 72001 h 10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7079" h="109324">
                  <a:moveTo>
                    <a:pt x="16712" y="72001"/>
                  </a:moveTo>
                  <a:cubicBezTo>
                    <a:pt x="30998" y="62124"/>
                    <a:pt x="40889" y="36882"/>
                    <a:pt x="49681" y="53344"/>
                  </a:cubicBezTo>
                  <a:cubicBezTo>
                    <a:pt x="59571" y="68708"/>
                    <a:pt x="50780" y="84073"/>
                    <a:pt x="63967" y="92853"/>
                  </a:cubicBezTo>
                  <a:cubicBezTo>
                    <a:pt x="76055" y="100536"/>
                    <a:pt x="77154" y="114803"/>
                    <a:pt x="101331" y="107120"/>
                  </a:cubicBezTo>
                  <a:cubicBezTo>
                    <a:pt x="125508" y="98341"/>
                    <a:pt x="138696" y="50051"/>
                    <a:pt x="113420" y="43466"/>
                  </a:cubicBezTo>
                  <a:cubicBezTo>
                    <a:pt x="87045" y="37979"/>
                    <a:pt x="70561" y="20419"/>
                    <a:pt x="50780" y="6152"/>
                  </a:cubicBezTo>
                  <a:cubicBezTo>
                    <a:pt x="32097" y="-7018"/>
                    <a:pt x="15613" y="5054"/>
                    <a:pt x="15613" y="5054"/>
                  </a:cubicBezTo>
                  <a:cubicBezTo>
                    <a:pt x="-11861" y="28101"/>
                    <a:pt x="2426" y="81878"/>
                    <a:pt x="16712" y="72001"/>
                  </a:cubicBezTo>
                  <a:close/>
                </a:path>
              </a:pathLst>
            </a:custGeom>
            <a:solidFill>
              <a:srgbClr val="ECE8E4"/>
            </a:solidFill>
            <a:ln w="54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DK" sz="2400"/>
            </a:p>
          </p:txBody>
        </p:sp>
        <p:sp>
          <p:nvSpPr>
            <p:cNvPr id="451" name="Freeform 450">
              <a:extLst>
                <a:ext uri="{FF2B5EF4-FFF2-40B4-BE49-F238E27FC236}">
                  <a16:creationId xmlns:a16="http://schemas.microsoft.com/office/drawing/2014/main" id="{D6036349-47DE-3E87-B004-4A1FC462FA0F}"/>
                </a:ext>
              </a:extLst>
            </p:cNvPr>
            <p:cNvSpPr/>
            <p:nvPr/>
          </p:nvSpPr>
          <p:spPr>
            <a:xfrm>
              <a:off x="4890216" y="5674982"/>
              <a:ext cx="93074" cy="64063"/>
            </a:xfrm>
            <a:custGeom>
              <a:avLst/>
              <a:gdLst>
                <a:gd name="connsiteX0" fmla="*/ 55055 w 93074"/>
                <a:gd name="connsiteY0" fmla="*/ 63757 h 64063"/>
                <a:gd name="connsiteX1" fmla="*/ 83628 w 93074"/>
                <a:gd name="connsiteY1" fmla="*/ 5590 h 64063"/>
                <a:gd name="connsiteX2" fmla="*/ 11097 w 93074"/>
                <a:gd name="connsiteY2" fmla="*/ 20955 h 64063"/>
                <a:gd name="connsiteX3" fmla="*/ 13295 w 93074"/>
                <a:gd name="connsiteY3" fmla="*/ 52782 h 64063"/>
                <a:gd name="connsiteX4" fmla="*/ 55055 w 93074"/>
                <a:gd name="connsiteY4" fmla="*/ 63757 h 64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074" h="64063">
                  <a:moveTo>
                    <a:pt x="55055" y="63757"/>
                  </a:moveTo>
                  <a:cubicBezTo>
                    <a:pt x="71539" y="68147"/>
                    <a:pt x="111101" y="24247"/>
                    <a:pt x="83628" y="5590"/>
                  </a:cubicBezTo>
                  <a:cubicBezTo>
                    <a:pt x="57253" y="-13067"/>
                    <a:pt x="11097" y="20955"/>
                    <a:pt x="11097" y="20955"/>
                  </a:cubicBezTo>
                  <a:cubicBezTo>
                    <a:pt x="11097" y="20955"/>
                    <a:pt x="-15278" y="48392"/>
                    <a:pt x="13295" y="52782"/>
                  </a:cubicBezTo>
                  <a:cubicBezTo>
                    <a:pt x="40769" y="58270"/>
                    <a:pt x="39670" y="59367"/>
                    <a:pt x="55055" y="63757"/>
                  </a:cubicBezTo>
                  <a:close/>
                </a:path>
              </a:pathLst>
            </a:custGeom>
            <a:solidFill>
              <a:srgbClr val="ECE8E4"/>
            </a:solidFill>
            <a:ln w="54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DK" sz="2400"/>
            </a:p>
          </p:txBody>
        </p:sp>
        <p:sp>
          <p:nvSpPr>
            <p:cNvPr id="452" name="Freeform 451">
              <a:extLst>
                <a:ext uri="{FF2B5EF4-FFF2-40B4-BE49-F238E27FC236}">
                  <a16:creationId xmlns:a16="http://schemas.microsoft.com/office/drawing/2014/main" id="{2EB949F2-BE5F-0045-6449-D93E80FA4235}"/>
                </a:ext>
              </a:extLst>
            </p:cNvPr>
            <p:cNvSpPr/>
            <p:nvPr/>
          </p:nvSpPr>
          <p:spPr>
            <a:xfrm>
              <a:off x="6460169" y="-1593209"/>
              <a:ext cx="241867" cy="541199"/>
            </a:xfrm>
            <a:custGeom>
              <a:avLst/>
              <a:gdLst>
                <a:gd name="connsiteX0" fmla="*/ 37917 w 241867"/>
                <a:gd name="connsiteY0" fmla="*/ 264156 h 541199"/>
                <a:gd name="connsiteX1" fmla="*/ 69787 w 241867"/>
                <a:gd name="connsiteY1" fmla="*/ 256474 h 541199"/>
                <a:gd name="connsiteX2" fmla="*/ 54401 w 241867"/>
                <a:gd name="connsiteY2" fmla="*/ 282813 h 541199"/>
                <a:gd name="connsiteX3" fmla="*/ 69787 w 241867"/>
                <a:gd name="connsiteY3" fmla="*/ 313543 h 541199"/>
                <a:gd name="connsiteX4" fmla="*/ 100557 w 241867"/>
                <a:gd name="connsiteY4" fmla="*/ 303666 h 541199"/>
                <a:gd name="connsiteX5" fmla="*/ 101656 w 241867"/>
                <a:gd name="connsiteY5" fmla="*/ 274034 h 541199"/>
                <a:gd name="connsiteX6" fmla="*/ 115943 w 241867"/>
                <a:gd name="connsiteY6" fmla="*/ 259766 h 541199"/>
                <a:gd name="connsiteX7" fmla="*/ 134624 w 241867"/>
                <a:gd name="connsiteY7" fmla="*/ 265254 h 541199"/>
                <a:gd name="connsiteX8" fmla="*/ 145614 w 241867"/>
                <a:gd name="connsiteY8" fmla="*/ 279521 h 541199"/>
                <a:gd name="connsiteX9" fmla="*/ 125833 w 241867"/>
                <a:gd name="connsiteY9" fmla="*/ 306958 h 541199"/>
                <a:gd name="connsiteX10" fmla="*/ 128031 w 241867"/>
                <a:gd name="connsiteY10" fmla="*/ 339883 h 541199"/>
                <a:gd name="connsiteX11" fmla="*/ 113745 w 241867"/>
                <a:gd name="connsiteY11" fmla="*/ 391464 h 541199"/>
                <a:gd name="connsiteX12" fmla="*/ 98359 w 241867"/>
                <a:gd name="connsiteY12" fmla="*/ 416706 h 541199"/>
                <a:gd name="connsiteX13" fmla="*/ 90666 w 241867"/>
                <a:gd name="connsiteY13" fmla="*/ 440851 h 541199"/>
                <a:gd name="connsiteX14" fmla="*/ 85171 w 241867"/>
                <a:gd name="connsiteY14" fmla="*/ 468288 h 541199"/>
                <a:gd name="connsiteX15" fmla="*/ 71985 w 241867"/>
                <a:gd name="connsiteY15" fmla="*/ 494628 h 541199"/>
                <a:gd name="connsiteX16" fmla="*/ 93964 w 241867"/>
                <a:gd name="connsiteY16" fmla="*/ 517675 h 541199"/>
                <a:gd name="connsiteX17" fmla="*/ 109348 w 241867"/>
                <a:gd name="connsiteY17" fmla="*/ 539624 h 541199"/>
                <a:gd name="connsiteX18" fmla="*/ 113745 w 241867"/>
                <a:gd name="connsiteY18" fmla="*/ 490238 h 541199"/>
                <a:gd name="connsiteX19" fmla="*/ 117041 w 241867"/>
                <a:gd name="connsiteY19" fmla="*/ 462801 h 541199"/>
                <a:gd name="connsiteX20" fmla="*/ 129129 w 241867"/>
                <a:gd name="connsiteY20" fmla="*/ 445241 h 541199"/>
                <a:gd name="connsiteX21" fmla="*/ 140119 w 241867"/>
                <a:gd name="connsiteY21" fmla="*/ 419999 h 541199"/>
                <a:gd name="connsiteX22" fmla="*/ 158801 w 241867"/>
                <a:gd name="connsiteY22" fmla="*/ 400244 h 541199"/>
                <a:gd name="connsiteX23" fmla="*/ 147812 w 241867"/>
                <a:gd name="connsiteY23" fmla="*/ 375002 h 541199"/>
                <a:gd name="connsiteX24" fmla="*/ 151108 w 241867"/>
                <a:gd name="connsiteY24" fmla="*/ 353052 h 541199"/>
                <a:gd name="connsiteX25" fmla="*/ 169791 w 241867"/>
                <a:gd name="connsiteY25" fmla="*/ 344272 h 541199"/>
                <a:gd name="connsiteX26" fmla="*/ 185176 w 241867"/>
                <a:gd name="connsiteY26" fmla="*/ 324518 h 541199"/>
                <a:gd name="connsiteX27" fmla="*/ 163197 w 241867"/>
                <a:gd name="connsiteY27" fmla="*/ 313543 h 541199"/>
                <a:gd name="connsiteX28" fmla="*/ 166494 w 241867"/>
                <a:gd name="connsiteY28" fmla="*/ 295983 h 541199"/>
                <a:gd name="connsiteX29" fmla="*/ 189572 w 241867"/>
                <a:gd name="connsiteY29" fmla="*/ 299276 h 541199"/>
                <a:gd name="connsiteX30" fmla="*/ 174187 w 241867"/>
                <a:gd name="connsiteY30" fmla="*/ 277326 h 541199"/>
                <a:gd name="connsiteX31" fmla="*/ 187374 w 241867"/>
                <a:gd name="connsiteY31" fmla="*/ 267449 h 541199"/>
                <a:gd name="connsiteX32" fmla="*/ 196166 w 241867"/>
                <a:gd name="connsiteY32" fmla="*/ 255376 h 541199"/>
                <a:gd name="connsiteX33" fmla="*/ 177483 w 241867"/>
                <a:gd name="connsiteY33" fmla="*/ 237817 h 541199"/>
                <a:gd name="connsiteX34" fmla="*/ 193968 w 241867"/>
                <a:gd name="connsiteY34" fmla="*/ 218062 h 541199"/>
                <a:gd name="connsiteX35" fmla="*/ 218145 w 241867"/>
                <a:gd name="connsiteY35" fmla="*/ 195015 h 541199"/>
                <a:gd name="connsiteX36" fmla="*/ 206056 w 241867"/>
                <a:gd name="connsiteY36" fmla="*/ 169773 h 541199"/>
                <a:gd name="connsiteX37" fmla="*/ 236827 w 241867"/>
                <a:gd name="connsiteY37" fmla="*/ 144530 h 541199"/>
                <a:gd name="connsiteX38" fmla="*/ 197264 w 241867"/>
                <a:gd name="connsiteY38" fmla="*/ 147823 h 541199"/>
                <a:gd name="connsiteX39" fmla="*/ 188473 w 241867"/>
                <a:gd name="connsiteY39" fmla="*/ 121483 h 541199"/>
                <a:gd name="connsiteX40" fmla="*/ 176385 w 241867"/>
                <a:gd name="connsiteY40" fmla="*/ 107216 h 541199"/>
                <a:gd name="connsiteX41" fmla="*/ 157702 w 241867"/>
                <a:gd name="connsiteY41" fmla="*/ 124776 h 541199"/>
                <a:gd name="connsiteX42" fmla="*/ 148911 w 241867"/>
                <a:gd name="connsiteY42" fmla="*/ 80876 h 541199"/>
                <a:gd name="connsiteX43" fmla="*/ 165395 w 241867"/>
                <a:gd name="connsiteY43" fmla="*/ 54537 h 541199"/>
                <a:gd name="connsiteX44" fmla="*/ 170890 w 241867"/>
                <a:gd name="connsiteY44" fmla="*/ 26002 h 541199"/>
                <a:gd name="connsiteX45" fmla="*/ 182978 w 241867"/>
                <a:gd name="connsiteY45" fmla="*/ 2955 h 541199"/>
                <a:gd name="connsiteX46" fmla="*/ 155504 w 241867"/>
                <a:gd name="connsiteY46" fmla="*/ 16125 h 541199"/>
                <a:gd name="connsiteX47" fmla="*/ 132427 w 241867"/>
                <a:gd name="connsiteY47" fmla="*/ 17222 h 541199"/>
                <a:gd name="connsiteX48" fmla="*/ 119239 w 241867"/>
                <a:gd name="connsiteY48" fmla="*/ 35880 h 541199"/>
                <a:gd name="connsiteX49" fmla="*/ 99458 w 241867"/>
                <a:gd name="connsiteY49" fmla="*/ 52342 h 541199"/>
                <a:gd name="connsiteX50" fmla="*/ 121437 w 241867"/>
                <a:gd name="connsiteY50" fmla="*/ 74292 h 541199"/>
                <a:gd name="connsiteX51" fmla="*/ 101656 w 241867"/>
                <a:gd name="connsiteY51" fmla="*/ 79779 h 541199"/>
                <a:gd name="connsiteX52" fmla="*/ 74182 w 241867"/>
                <a:gd name="connsiteY52" fmla="*/ 63317 h 541199"/>
                <a:gd name="connsiteX53" fmla="*/ 54401 w 241867"/>
                <a:gd name="connsiteY53" fmla="*/ 85266 h 541199"/>
                <a:gd name="connsiteX54" fmla="*/ 76380 w 241867"/>
                <a:gd name="connsiteY54" fmla="*/ 103924 h 541199"/>
                <a:gd name="connsiteX55" fmla="*/ 86271 w 241867"/>
                <a:gd name="connsiteY55" fmla="*/ 130263 h 541199"/>
                <a:gd name="connsiteX56" fmla="*/ 113745 w 241867"/>
                <a:gd name="connsiteY56" fmla="*/ 114898 h 541199"/>
                <a:gd name="connsiteX57" fmla="*/ 117041 w 241867"/>
                <a:gd name="connsiteY57" fmla="*/ 147823 h 541199"/>
                <a:gd name="connsiteX58" fmla="*/ 143416 w 241867"/>
                <a:gd name="connsiteY58" fmla="*/ 135751 h 541199"/>
                <a:gd name="connsiteX59" fmla="*/ 139020 w 241867"/>
                <a:gd name="connsiteY59" fmla="*/ 164285 h 541199"/>
                <a:gd name="connsiteX60" fmla="*/ 131327 w 241867"/>
                <a:gd name="connsiteY60" fmla="*/ 181845 h 541199"/>
                <a:gd name="connsiteX61" fmla="*/ 160999 w 241867"/>
                <a:gd name="connsiteY61" fmla="*/ 193917 h 541199"/>
                <a:gd name="connsiteX62" fmla="*/ 142317 w 241867"/>
                <a:gd name="connsiteY62" fmla="*/ 212574 h 541199"/>
                <a:gd name="connsiteX63" fmla="*/ 120338 w 241867"/>
                <a:gd name="connsiteY63" fmla="*/ 215867 h 541199"/>
                <a:gd name="connsiteX64" fmla="*/ 103854 w 241867"/>
                <a:gd name="connsiteY64" fmla="*/ 216964 h 541199"/>
                <a:gd name="connsiteX65" fmla="*/ 86271 w 241867"/>
                <a:gd name="connsiteY65" fmla="*/ 205989 h 541199"/>
                <a:gd name="connsiteX66" fmla="*/ 70885 w 241867"/>
                <a:gd name="connsiteY66" fmla="*/ 210379 h 541199"/>
                <a:gd name="connsiteX67" fmla="*/ 41213 w 241867"/>
                <a:gd name="connsiteY67" fmla="*/ 202697 h 541199"/>
                <a:gd name="connsiteX68" fmla="*/ 12641 w 241867"/>
                <a:gd name="connsiteY68" fmla="*/ 205989 h 541199"/>
                <a:gd name="connsiteX69" fmla="*/ 3850 w 241867"/>
                <a:gd name="connsiteY69" fmla="*/ 244401 h 541199"/>
                <a:gd name="connsiteX70" fmla="*/ 37917 w 241867"/>
                <a:gd name="connsiteY70" fmla="*/ 264156 h 541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241867" h="541199">
                  <a:moveTo>
                    <a:pt x="37917" y="264156"/>
                  </a:moveTo>
                  <a:cubicBezTo>
                    <a:pt x="47808" y="259766"/>
                    <a:pt x="70885" y="241109"/>
                    <a:pt x="69787" y="256474"/>
                  </a:cubicBezTo>
                  <a:cubicBezTo>
                    <a:pt x="69787" y="271838"/>
                    <a:pt x="55500" y="278423"/>
                    <a:pt x="54401" y="282813"/>
                  </a:cubicBezTo>
                  <a:cubicBezTo>
                    <a:pt x="53302" y="288301"/>
                    <a:pt x="50006" y="312445"/>
                    <a:pt x="69787" y="313543"/>
                  </a:cubicBezTo>
                  <a:cubicBezTo>
                    <a:pt x="91766" y="314640"/>
                    <a:pt x="92864" y="313543"/>
                    <a:pt x="100557" y="303666"/>
                  </a:cubicBezTo>
                  <a:cubicBezTo>
                    <a:pt x="109348" y="293788"/>
                    <a:pt x="100557" y="287203"/>
                    <a:pt x="101656" y="274034"/>
                  </a:cubicBezTo>
                  <a:cubicBezTo>
                    <a:pt x="101656" y="260864"/>
                    <a:pt x="109348" y="247694"/>
                    <a:pt x="115943" y="259766"/>
                  </a:cubicBezTo>
                  <a:cubicBezTo>
                    <a:pt x="121437" y="272936"/>
                    <a:pt x="125833" y="274034"/>
                    <a:pt x="134624" y="265254"/>
                  </a:cubicBezTo>
                  <a:cubicBezTo>
                    <a:pt x="145614" y="257571"/>
                    <a:pt x="154406" y="269644"/>
                    <a:pt x="145614" y="279521"/>
                  </a:cubicBezTo>
                  <a:cubicBezTo>
                    <a:pt x="136822" y="290496"/>
                    <a:pt x="125833" y="292691"/>
                    <a:pt x="125833" y="306958"/>
                  </a:cubicBezTo>
                  <a:cubicBezTo>
                    <a:pt x="124734" y="321225"/>
                    <a:pt x="128031" y="326713"/>
                    <a:pt x="128031" y="339883"/>
                  </a:cubicBezTo>
                  <a:cubicBezTo>
                    <a:pt x="126932" y="351955"/>
                    <a:pt x="124734" y="382684"/>
                    <a:pt x="113745" y="391464"/>
                  </a:cubicBezTo>
                  <a:cubicBezTo>
                    <a:pt x="103854" y="401342"/>
                    <a:pt x="97260" y="401342"/>
                    <a:pt x="98359" y="416706"/>
                  </a:cubicBezTo>
                  <a:cubicBezTo>
                    <a:pt x="99458" y="430974"/>
                    <a:pt x="97260" y="433169"/>
                    <a:pt x="90666" y="440851"/>
                  </a:cubicBezTo>
                  <a:cubicBezTo>
                    <a:pt x="82974" y="448533"/>
                    <a:pt x="95062" y="456216"/>
                    <a:pt x="85171" y="468288"/>
                  </a:cubicBezTo>
                  <a:cubicBezTo>
                    <a:pt x="74182" y="481458"/>
                    <a:pt x="63192" y="479263"/>
                    <a:pt x="71985" y="494628"/>
                  </a:cubicBezTo>
                  <a:cubicBezTo>
                    <a:pt x="79677" y="511090"/>
                    <a:pt x="95062" y="504505"/>
                    <a:pt x="93964" y="517675"/>
                  </a:cubicBezTo>
                  <a:cubicBezTo>
                    <a:pt x="92864" y="530845"/>
                    <a:pt x="99458" y="546209"/>
                    <a:pt x="109348" y="539624"/>
                  </a:cubicBezTo>
                  <a:cubicBezTo>
                    <a:pt x="119239" y="531942"/>
                    <a:pt x="113745" y="504505"/>
                    <a:pt x="113745" y="490238"/>
                  </a:cubicBezTo>
                  <a:cubicBezTo>
                    <a:pt x="114843" y="475970"/>
                    <a:pt x="103854" y="470483"/>
                    <a:pt x="117041" y="462801"/>
                  </a:cubicBezTo>
                  <a:cubicBezTo>
                    <a:pt x="130229" y="455118"/>
                    <a:pt x="128031" y="460606"/>
                    <a:pt x="129129" y="445241"/>
                  </a:cubicBezTo>
                  <a:cubicBezTo>
                    <a:pt x="130229" y="429876"/>
                    <a:pt x="125833" y="425486"/>
                    <a:pt x="140119" y="419999"/>
                  </a:cubicBezTo>
                  <a:cubicBezTo>
                    <a:pt x="154406" y="415609"/>
                    <a:pt x="164296" y="412316"/>
                    <a:pt x="158801" y="400244"/>
                  </a:cubicBezTo>
                  <a:cubicBezTo>
                    <a:pt x="154406" y="385977"/>
                    <a:pt x="147812" y="385977"/>
                    <a:pt x="147812" y="375002"/>
                  </a:cubicBezTo>
                  <a:cubicBezTo>
                    <a:pt x="147812" y="364027"/>
                    <a:pt x="143416" y="361832"/>
                    <a:pt x="151108" y="353052"/>
                  </a:cubicBezTo>
                  <a:cubicBezTo>
                    <a:pt x="159901" y="345370"/>
                    <a:pt x="153306" y="349760"/>
                    <a:pt x="169791" y="344272"/>
                  </a:cubicBezTo>
                  <a:cubicBezTo>
                    <a:pt x="186275" y="339883"/>
                    <a:pt x="192869" y="330005"/>
                    <a:pt x="185176" y="324518"/>
                  </a:cubicBezTo>
                  <a:cubicBezTo>
                    <a:pt x="177483" y="320128"/>
                    <a:pt x="166494" y="322323"/>
                    <a:pt x="163197" y="313543"/>
                  </a:cubicBezTo>
                  <a:cubicBezTo>
                    <a:pt x="162098" y="304763"/>
                    <a:pt x="157702" y="291593"/>
                    <a:pt x="166494" y="295983"/>
                  </a:cubicBezTo>
                  <a:cubicBezTo>
                    <a:pt x="176385" y="299276"/>
                    <a:pt x="192869" y="314640"/>
                    <a:pt x="189572" y="299276"/>
                  </a:cubicBezTo>
                  <a:cubicBezTo>
                    <a:pt x="187374" y="285008"/>
                    <a:pt x="174187" y="285008"/>
                    <a:pt x="174187" y="277326"/>
                  </a:cubicBezTo>
                  <a:cubicBezTo>
                    <a:pt x="174187" y="271838"/>
                    <a:pt x="178582" y="263059"/>
                    <a:pt x="187374" y="267449"/>
                  </a:cubicBezTo>
                  <a:cubicBezTo>
                    <a:pt x="195066" y="271838"/>
                    <a:pt x="206056" y="258669"/>
                    <a:pt x="196166" y="255376"/>
                  </a:cubicBezTo>
                  <a:cubicBezTo>
                    <a:pt x="186275" y="252084"/>
                    <a:pt x="171989" y="252084"/>
                    <a:pt x="177483" y="237817"/>
                  </a:cubicBezTo>
                  <a:cubicBezTo>
                    <a:pt x="181880" y="224647"/>
                    <a:pt x="193968" y="219159"/>
                    <a:pt x="193968" y="218062"/>
                  </a:cubicBezTo>
                  <a:cubicBezTo>
                    <a:pt x="210452" y="223549"/>
                    <a:pt x="232431" y="203795"/>
                    <a:pt x="218145" y="195015"/>
                  </a:cubicBezTo>
                  <a:cubicBezTo>
                    <a:pt x="202759" y="186235"/>
                    <a:pt x="193968" y="177455"/>
                    <a:pt x="206056" y="169773"/>
                  </a:cubicBezTo>
                  <a:cubicBezTo>
                    <a:pt x="217045" y="164285"/>
                    <a:pt x="255509" y="150018"/>
                    <a:pt x="236827" y="144530"/>
                  </a:cubicBezTo>
                  <a:cubicBezTo>
                    <a:pt x="218145" y="141238"/>
                    <a:pt x="201660" y="154408"/>
                    <a:pt x="197264" y="147823"/>
                  </a:cubicBezTo>
                  <a:cubicBezTo>
                    <a:pt x="192869" y="142335"/>
                    <a:pt x="191770" y="128068"/>
                    <a:pt x="188473" y="121483"/>
                  </a:cubicBezTo>
                  <a:cubicBezTo>
                    <a:pt x="187374" y="115996"/>
                    <a:pt x="184077" y="102826"/>
                    <a:pt x="176385" y="107216"/>
                  </a:cubicBezTo>
                  <a:cubicBezTo>
                    <a:pt x="168692" y="112703"/>
                    <a:pt x="165395" y="132458"/>
                    <a:pt x="157702" y="124776"/>
                  </a:cubicBezTo>
                  <a:cubicBezTo>
                    <a:pt x="148911" y="115996"/>
                    <a:pt x="134624" y="95144"/>
                    <a:pt x="148911" y="80876"/>
                  </a:cubicBezTo>
                  <a:cubicBezTo>
                    <a:pt x="164296" y="66609"/>
                    <a:pt x="166494" y="70999"/>
                    <a:pt x="165395" y="54537"/>
                  </a:cubicBezTo>
                  <a:cubicBezTo>
                    <a:pt x="165395" y="38075"/>
                    <a:pt x="163197" y="36977"/>
                    <a:pt x="170890" y="26002"/>
                  </a:cubicBezTo>
                  <a:cubicBezTo>
                    <a:pt x="179681" y="15027"/>
                    <a:pt x="195066" y="12832"/>
                    <a:pt x="182978" y="2955"/>
                  </a:cubicBezTo>
                  <a:cubicBezTo>
                    <a:pt x="170890" y="-8020"/>
                    <a:pt x="160999" y="15027"/>
                    <a:pt x="155504" y="16125"/>
                  </a:cubicBezTo>
                  <a:cubicBezTo>
                    <a:pt x="147812" y="17222"/>
                    <a:pt x="137922" y="11735"/>
                    <a:pt x="132427" y="17222"/>
                  </a:cubicBezTo>
                  <a:cubicBezTo>
                    <a:pt x="128031" y="24905"/>
                    <a:pt x="129129" y="32587"/>
                    <a:pt x="119239" y="35880"/>
                  </a:cubicBezTo>
                  <a:cubicBezTo>
                    <a:pt x="109348" y="38075"/>
                    <a:pt x="96161" y="43562"/>
                    <a:pt x="99458" y="52342"/>
                  </a:cubicBezTo>
                  <a:cubicBezTo>
                    <a:pt x="102755" y="63317"/>
                    <a:pt x="125833" y="61122"/>
                    <a:pt x="121437" y="74292"/>
                  </a:cubicBezTo>
                  <a:cubicBezTo>
                    <a:pt x="118140" y="87461"/>
                    <a:pt x="109348" y="88559"/>
                    <a:pt x="101656" y="79779"/>
                  </a:cubicBezTo>
                  <a:cubicBezTo>
                    <a:pt x="92864" y="72096"/>
                    <a:pt x="84073" y="57829"/>
                    <a:pt x="74182" y="63317"/>
                  </a:cubicBezTo>
                  <a:cubicBezTo>
                    <a:pt x="64292" y="67707"/>
                    <a:pt x="48906" y="74292"/>
                    <a:pt x="54401" y="85266"/>
                  </a:cubicBezTo>
                  <a:cubicBezTo>
                    <a:pt x="58797" y="97339"/>
                    <a:pt x="76380" y="90754"/>
                    <a:pt x="76380" y="103924"/>
                  </a:cubicBezTo>
                  <a:cubicBezTo>
                    <a:pt x="76380" y="117093"/>
                    <a:pt x="71985" y="129166"/>
                    <a:pt x="86271" y="130263"/>
                  </a:cubicBezTo>
                  <a:cubicBezTo>
                    <a:pt x="101656" y="131361"/>
                    <a:pt x="109348" y="103924"/>
                    <a:pt x="113745" y="114898"/>
                  </a:cubicBezTo>
                  <a:cubicBezTo>
                    <a:pt x="119239" y="124776"/>
                    <a:pt x="103854" y="144530"/>
                    <a:pt x="117041" y="147823"/>
                  </a:cubicBezTo>
                  <a:cubicBezTo>
                    <a:pt x="130229" y="152213"/>
                    <a:pt x="139020" y="131361"/>
                    <a:pt x="143416" y="135751"/>
                  </a:cubicBezTo>
                  <a:cubicBezTo>
                    <a:pt x="148911" y="140141"/>
                    <a:pt x="146713" y="158798"/>
                    <a:pt x="139020" y="164285"/>
                  </a:cubicBezTo>
                  <a:cubicBezTo>
                    <a:pt x="130229" y="169773"/>
                    <a:pt x="121437" y="178552"/>
                    <a:pt x="131327" y="181845"/>
                  </a:cubicBezTo>
                  <a:cubicBezTo>
                    <a:pt x="142317" y="186235"/>
                    <a:pt x="160999" y="184040"/>
                    <a:pt x="160999" y="193917"/>
                  </a:cubicBezTo>
                  <a:cubicBezTo>
                    <a:pt x="160999" y="202697"/>
                    <a:pt x="150010" y="215867"/>
                    <a:pt x="142317" y="212574"/>
                  </a:cubicBezTo>
                  <a:cubicBezTo>
                    <a:pt x="134624" y="210379"/>
                    <a:pt x="125833" y="208185"/>
                    <a:pt x="120338" y="215867"/>
                  </a:cubicBezTo>
                  <a:cubicBezTo>
                    <a:pt x="114843" y="225744"/>
                    <a:pt x="108250" y="230134"/>
                    <a:pt x="103854" y="216964"/>
                  </a:cubicBezTo>
                  <a:cubicBezTo>
                    <a:pt x="100557" y="203795"/>
                    <a:pt x="91766" y="200502"/>
                    <a:pt x="86271" y="205989"/>
                  </a:cubicBezTo>
                  <a:cubicBezTo>
                    <a:pt x="78578" y="213672"/>
                    <a:pt x="81875" y="216964"/>
                    <a:pt x="70885" y="210379"/>
                  </a:cubicBezTo>
                  <a:cubicBezTo>
                    <a:pt x="59896" y="205989"/>
                    <a:pt x="51104" y="201600"/>
                    <a:pt x="41213" y="202697"/>
                  </a:cubicBezTo>
                  <a:cubicBezTo>
                    <a:pt x="30224" y="204892"/>
                    <a:pt x="22532" y="188430"/>
                    <a:pt x="12641" y="205989"/>
                  </a:cubicBezTo>
                  <a:cubicBezTo>
                    <a:pt x="2750" y="223549"/>
                    <a:pt x="-4942" y="233427"/>
                    <a:pt x="3850" y="244401"/>
                  </a:cubicBezTo>
                  <a:cubicBezTo>
                    <a:pt x="15938" y="260864"/>
                    <a:pt x="28027" y="268546"/>
                    <a:pt x="37917" y="264156"/>
                  </a:cubicBezTo>
                  <a:close/>
                </a:path>
              </a:pathLst>
            </a:custGeom>
            <a:solidFill>
              <a:srgbClr val="ECE8E4"/>
            </a:solidFill>
            <a:ln w="54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DK" sz="2400"/>
            </a:p>
          </p:txBody>
        </p:sp>
        <p:sp>
          <p:nvSpPr>
            <p:cNvPr id="453" name="Freeform 452">
              <a:extLst>
                <a:ext uri="{FF2B5EF4-FFF2-40B4-BE49-F238E27FC236}">
                  <a16:creationId xmlns:a16="http://schemas.microsoft.com/office/drawing/2014/main" id="{1E234E2C-9D92-64D4-A5A2-9DC5ABEC0CB4}"/>
                </a:ext>
              </a:extLst>
            </p:cNvPr>
            <p:cNvSpPr/>
            <p:nvPr/>
          </p:nvSpPr>
          <p:spPr>
            <a:xfrm>
              <a:off x="9053589" y="3331486"/>
              <a:ext cx="78643" cy="86329"/>
            </a:xfrm>
            <a:custGeom>
              <a:avLst/>
              <a:gdLst>
                <a:gd name="connsiteX0" fmla="*/ 12741 w 78643"/>
                <a:gd name="connsiteY0" fmla="*/ 27909 h 86329"/>
                <a:gd name="connsiteX1" fmla="*/ 17137 w 78643"/>
                <a:gd name="connsiteY1" fmla="*/ 68516 h 86329"/>
                <a:gd name="connsiteX2" fmla="*/ 56699 w 78643"/>
                <a:gd name="connsiteY2" fmla="*/ 83881 h 86329"/>
                <a:gd name="connsiteX3" fmla="*/ 74282 w 78643"/>
                <a:gd name="connsiteY3" fmla="*/ 32299 h 86329"/>
                <a:gd name="connsiteX4" fmla="*/ 58897 w 78643"/>
                <a:gd name="connsiteY4" fmla="*/ 472 h 86329"/>
                <a:gd name="connsiteX5" fmla="*/ 12741 w 78643"/>
                <a:gd name="connsiteY5" fmla="*/ 27909 h 86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8643" h="86329">
                  <a:moveTo>
                    <a:pt x="12741" y="27909"/>
                  </a:moveTo>
                  <a:cubicBezTo>
                    <a:pt x="-5941" y="44372"/>
                    <a:pt x="-3743" y="67419"/>
                    <a:pt x="17137" y="68516"/>
                  </a:cubicBezTo>
                  <a:cubicBezTo>
                    <a:pt x="39116" y="70711"/>
                    <a:pt x="42413" y="93758"/>
                    <a:pt x="56699" y="83881"/>
                  </a:cubicBezTo>
                  <a:cubicBezTo>
                    <a:pt x="69886" y="74003"/>
                    <a:pt x="66590" y="41079"/>
                    <a:pt x="74282" y="32299"/>
                  </a:cubicBezTo>
                  <a:cubicBezTo>
                    <a:pt x="84173" y="23519"/>
                    <a:pt x="76480" y="-3918"/>
                    <a:pt x="58897" y="472"/>
                  </a:cubicBezTo>
                  <a:cubicBezTo>
                    <a:pt x="40215" y="5960"/>
                    <a:pt x="17137" y="27909"/>
                    <a:pt x="12741" y="27909"/>
                  </a:cubicBezTo>
                  <a:close/>
                </a:path>
              </a:pathLst>
            </a:custGeom>
            <a:solidFill>
              <a:srgbClr val="ECE8E4"/>
            </a:solidFill>
            <a:ln w="54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DK" sz="2400"/>
            </a:p>
          </p:txBody>
        </p:sp>
        <p:sp>
          <p:nvSpPr>
            <p:cNvPr id="454" name="Freeform 453">
              <a:extLst>
                <a:ext uri="{FF2B5EF4-FFF2-40B4-BE49-F238E27FC236}">
                  <a16:creationId xmlns:a16="http://schemas.microsoft.com/office/drawing/2014/main" id="{1243E4FE-85D0-440F-CAF3-809F73B00C62}"/>
                </a:ext>
              </a:extLst>
            </p:cNvPr>
            <p:cNvSpPr/>
            <p:nvPr/>
          </p:nvSpPr>
          <p:spPr>
            <a:xfrm>
              <a:off x="9244905" y="3267126"/>
              <a:ext cx="92853" cy="59812"/>
            </a:xfrm>
            <a:custGeom>
              <a:avLst/>
              <a:gdLst>
                <a:gd name="connsiteX0" fmla="*/ 19236 w 92853"/>
                <a:gd name="connsiteY0" fmla="*/ 57149 h 59812"/>
                <a:gd name="connsiteX1" fmla="*/ 50006 w 92853"/>
                <a:gd name="connsiteY1" fmla="*/ 33005 h 59812"/>
                <a:gd name="connsiteX2" fmla="*/ 91766 w 92853"/>
                <a:gd name="connsiteY2" fmla="*/ 16543 h 59812"/>
                <a:gd name="connsiteX3" fmla="*/ 50006 w 92853"/>
                <a:gd name="connsiteY3" fmla="*/ 1178 h 59812"/>
                <a:gd name="connsiteX4" fmla="*/ 14840 w 92853"/>
                <a:gd name="connsiteY4" fmla="*/ 18737 h 59812"/>
                <a:gd name="connsiteX5" fmla="*/ 19236 w 92853"/>
                <a:gd name="connsiteY5" fmla="*/ 57149 h 59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853" h="59812">
                  <a:moveTo>
                    <a:pt x="19236" y="57149"/>
                  </a:moveTo>
                  <a:cubicBezTo>
                    <a:pt x="31324" y="45077"/>
                    <a:pt x="35720" y="37395"/>
                    <a:pt x="50006" y="33005"/>
                  </a:cubicBezTo>
                  <a:cubicBezTo>
                    <a:pt x="64293" y="30810"/>
                    <a:pt x="99459" y="35200"/>
                    <a:pt x="91766" y="16543"/>
                  </a:cubicBezTo>
                  <a:cubicBezTo>
                    <a:pt x="84074" y="-2115"/>
                    <a:pt x="64293" y="-1017"/>
                    <a:pt x="50006" y="1178"/>
                  </a:cubicBezTo>
                  <a:cubicBezTo>
                    <a:pt x="35720" y="4470"/>
                    <a:pt x="14840" y="17640"/>
                    <a:pt x="14840" y="18737"/>
                  </a:cubicBezTo>
                  <a:cubicBezTo>
                    <a:pt x="-14831" y="37395"/>
                    <a:pt x="7148" y="69222"/>
                    <a:pt x="19236" y="57149"/>
                  </a:cubicBezTo>
                  <a:close/>
                </a:path>
              </a:pathLst>
            </a:custGeom>
            <a:solidFill>
              <a:srgbClr val="ECE8E4"/>
            </a:solidFill>
            <a:ln w="54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DK" sz="2400"/>
            </a:p>
          </p:txBody>
        </p:sp>
        <p:sp>
          <p:nvSpPr>
            <p:cNvPr id="455" name="Freeform 454">
              <a:extLst>
                <a:ext uri="{FF2B5EF4-FFF2-40B4-BE49-F238E27FC236}">
                  <a16:creationId xmlns:a16="http://schemas.microsoft.com/office/drawing/2014/main" id="{06C5F80A-A478-9161-C85F-F0DA17F749A0}"/>
                </a:ext>
              </a:extLst>
            </p:cNvPr>
            <p:cNvSpPr/>
            <p:nvPr/>
          </p:nvSpPr>
          <p:spPr>
            <a:xfrm>
              <a:off x="9373644" y="3263974"/>
              <a:ext cx="92623" cy="42269"/>
            </a:xfrm>
            <a:custGeom>
              <a:avLst/>
              <a:gdLst>
                <a:gd name="connsiteX0" fmla="*/ 28964 w 92623"/>
                <a:gd name="connsiteY0" fmla="*/ 38352 h 42269"/>
                <a:gd name="connsiteX1" fmla="*/ 58636 w 92623"/>
                <a:gd name="connsiteY1" fmla="*/ 28474 h 42269"/>
                <a:gd name="connsiteX2" fmla="*/ 89407 w 92623"/>
                <a:gd name="connsiteY2" fmla="*/ 9817 h 42269"/>
                <a:gd name="connsiteX3" fmla="*/ 25668 w 92623"/>
                <a:gd name="connsiteY3" fmla="*/ 1037 h 42269"/>
                <a:gd name="connsiteX4" fmla="*/ 1491 w 92623"/>
                <a:gd name="connsiteY4" fmla="*/ 20792 h 42269"/>
                <a:gd name="connsiteX5" fmla="*/ 28964 w 92623"/>
                <a:gd name="connsiteY5" fmla="*/ 38352 h 42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2623" h="42269">
                  <a:moveTo>
                    <a:pt x="28964" y="38352"/>
                  </a:moveTo>
                  <a:cubicBezTo>
                    <a:pt x="42152" y="29572"/>
                    <a:pt x="44350" y="32864"/>
                    <a:pt x="58636" y="28474"/>
                  </a:cubicBezTo>
                  <a:cubicBezTo>
                    <a:pt x="71824" y="26279"/>
                    <a:pt x="102594" y="24085"/>
                    <a:pt x="89407" y="9817"/>
                  </a:cubicBezTo>
                  <a:cubicBezTo>
                    <a:pt x="75120" y="-4450"/>
                    <a:pt x="25668" y="1037"/>
                    <a:pt x="25668" y="1037"/>
                  </a:cubicBezTo>
                  <a:cubicBezTo>
                    <a:pt x="25668" y="1037"/>
                    <a:pt x="-7301" y="5427"/>
                    <a:pt x="1491" y="20792"/>
                  </a:cubicBezTo>
                  <a:cubicBezTo>
                    <a:pt x="13579" y="38352"/>
                    <a:pt x="14678" y="48229"/>
                    <a:pt x="28964" y="38352"/>
                  </a:cubicBezTo>
                  <a:close/>
                </a:path>
              </a:pathLst>
            </a:custGeom>
            <a:solidFill>
              <a:srgbClr val="ECE8E4"/>
            </a:solidFill>
            <a:ln w="54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DK" sz="2400"/>
            </a:p>
          </p:txBody>
        </p:sp>
        <p:sp>
          <p:nvSpPr>
            <p:cNvPr id="456" name="Freeform 455">
              <a:extLst>
                <a:ext uri="{FF2B5EF4-FFF2-40B4-BE49-F238E27FC236}">
                  <a16:creationId xmlns:a16="http://schemas.microsoft.com/office/drawing/2014/main" id="{58F30E29-D768-7BD4-77FA-EBE828E22832}"/>
                </a:ext>
              </a:extLst>
            </p:cNvPr>
            <p:cNvSpPr/>
            <p:nvPr/>
          </p:nvSpPr>
          <p:spPr>
            <a:xfrm>
              <a:off x="8828339" y="3417084"/>
              <a:ext cx="113057" cy="40260"/>
            </a:xfrm>
            <a:custGeom>
              <a:avLst/>
              <a:gdLst>
                <a:gd name="connsiteX0" fmla="*/ 42378 w 113057"/>
                <a:gd name="connsiteY0" fmla="*/ 2673 h 40260"/>
                <a:gd name="connsiteX1" fmla="*/ 618 w 113057"/>
                <a:gd name="connsiteY1" fmla="*/ 21330 h 40260"/>
                <a:gd name="connsiteX2" fmla="*/ 43477 w 113057"/>
                <a:gd name="connsiteY2" fmla="*/ 35597 h 40260"/>
                <a:gd name="connsiteX3" fmla="*/ 69852 w 113057"/>
                <a:gd name="connsiteY3" fmla="*/ 21330 h 40260"/>
                <a:gd name="connsiteX4" fmla="*/ 110513 w 113057"/>
                <a:gd name="connsiteY4" fmla="*/ 8160 h 40260"/>
                <a:gd name="connsiteX5" fmla="*/ 42378 w 113057"/>
                <a:gd name="connsiteY5" fmla="*/ 2673 h 40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057" h="40260">
                  <a:moveTo>
                    <a:pt x="42378" y="2673"/>
                  </a:moveTo>
                  <a:cubicBezTo>
                    <a:pt x="42378" y="2673"/>
                    <a:pt x="-5976" y="5965"/>
                    <a:pt x="618" y="21330"/>
                  </a:cubicBezTo>
                  <a:cubicBezTo>
                    <a:pt x="7211" y="36695"/>
                    <a:pt x="32487" y="46572"/>
                    <a:pt x="43477" y="35597"/>
                  </a:cubicBezTo>
                  <a:cubicBezTo>
                    <a:pt x="54466" y="25720"/>
                    <a:pt x="57763" y="25720"/>
                    <a:pt x="69852" y="21330"/>
                  </a:cubicBezTo>
                  <a:cubicBezTo>
                    <a:pt x="81940" y="16940"/>
                    <a:pt x="123700" y="22427"/>
                    <a:pt x="110513" y="8160"/>
                  </a:cubicBezTo>
                  <a:cubicBezTo>
                    <a:pt x="97325" y="-6107"/>
                    <a:pt x="42378" y="2673"/>
                    <a:pt x="42378" y="2673"/>
                  </a:cubicBezTo>
                  <a:close/>
                </a:path>
              </a:pathLst>
            </a:custGeom>
            <a:solidFill>
              <a:srgbClr val="ECE8E4"/>
            </a:solidFill>
            <a:ln w="54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DK" sz="2400"/>
            </a:p>
          </p:txBody>
        </p:sp>
        <p:sp>
          <p:nvSpPr>
            <p:cNvPr id="457" name="Freeform 456">
              <a:extLst>
                <a:ext uri="{FF2B5EF4-FFF2-40B4-BE49-F238E27FC236}">
                  <a16:creationId xmlns:a16="http://schemas.microsoft.com/office/drawing/2014/main" id="{3FB11218-B112-1FA1-EE60-570A89A473CE}"/>
                </a:ext>
              </a:extLst>
            </p:cNvPr>
            <p:cNvSpPr/>
            <p:nvPr/>
          </p:nvSpPr>
          <p:spPr>
            <a:xfrm>
              <a:off x="5024847" y="7902428"/>
              <a:ext cx="142202" cy="95472"/>
            </a:xfrm>
            <a:custGeom>
              <a:avLst/>
              <a:gdLst>
                <a:gd name="connsiteX0" fmla="*/ 10537 w 142202"/>
                <a:gd name="connsiteY0" fmla="*/ 40058 h 95472"/>
                <a:gd name="connsiteX1" fmla="*/ 52297 w 142202"/>
                <a:gd name="connsiteY1" fmla="*/ 58716 h 95472"/>
                <a:gd name="connsiteX2" fmla="*/ 87464 w 142202"/>
                <a:gd name="connsiteY2" fmla="*/ 70788 h 95472"/>
                <a:gd name="connsiteX3" fmla="*/ 106146 w 142202"/>
                <a:gd name="connsiteY3" fmla="*/ 89445 h 95472"/>
                <a:gd name="connsiteX4" fmla="*/ 141312 w 142202"/>
                <a:gd name="connsiteY4" fmla="*/ 77372 h 95472"/>
                <a:gd name="connsiteX5" fmla="*/ 112739 w 142202"/>
                <a:gd name="connsiteY5" fmla="*/ 51033 h 95472"/>
                <a:gd name="connsiteX6" fmla="*/ 89661 w 142202"/>
                <a:gd name="connsiteY6" fmla="*/ 25791 h 95472"/>
                <a:gd name="connsiteX7" fmla="*/ 51198 w 142202"/>
                <a:gd name="connsiteY7" fmla="*/ 1646 h 95472"/>
                <a:gd name="connsiteX8" fmla="*/ 23725 w 142202"/>
                <a:gd name="connsiteY8" fmla="*/ 1646 h 95472"/>
                <a:gd name="connsiteX9" fmla="*/ 10537 w 142202"/>
                <a:gd name="connsiteY9" fmla="*/ 40058 h 95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2202" h="95472">
                  <a:moveTo>
                    <a:pt x="10537" y="40058"/>
                  </a:moveTo>
                  <a:cubicBezTo>
                    <a:pt x="29219" y="54325"/>
                    <a:pt x="40209" y="58716"/>
                    <a:pt x="52297" y="58716"/>
                  </a:cubicBezTo>
                  <a:cubicBezTo>
                    <a:pt x="65485" y="58716"/>
                    <a:pt x="79771" y="60910"/>
                    <a:pt x="87464" y="70788"/>
                  </a:cubicBezTo>
                  <a:cubicBezTo>
                    <a:pt x="96255" y="80665"/>
                    <a:pt x="97354" y="80665"/>
                    <a:pt x="106146" y="89445"/>
                  </a:cubicBezTo>
                  <a:cubicBezTo>
                    <a:pt x="116036" y="99322"/>
                    <a:pt x="147906" y="98225"/>
                    <a:pt x="141312" y="77372"/>
                  </a:cubicBezTo>
                  <a:cubicBezTo>
                    <a:pt x="133619" y="58716"/>
                    <a:pt x="125927" y="53228"/>
                    <a:pt x="112739" y="51033"/>
                  </a:cubicBezTo>
                  <a:cubicBezTo>
                    <a:pt x="99552" y="47741"/>
                    <a:pt x="108344" y="40058"/>
                    <a:pt x="89661" y="25791"/>
                  </a:cubicBezTo>
                  <a:cubicBezTo>
                    <a:pt x="72078" y="12621"/>
                    <a:pt x="64386" y="3841"/>
                    <a:pt x="51198" y="1646"/>
                  </a:cubicBezTo>
                  <a:cubicBezTo>
                    <a:pt x="38011" y="-549"/>
                    <a:pt x="23725" y="-549"/>
                    <a:pt x="23725" y="1646"/>
                  </a:cubicBezTo>
                  <a:cubicBezTo>
                    <a:pt x="2845" y="7134"/>
                    <a:pt x="-10343" y="24693"/>
                    <a:pt x="10537" y="40058"/>
                  </a:cubicBezTo>
                  <a:close/>
                </a:path>
              </a:pathLst>
            </a:custGeom>
            <a:solidFill>
              <a:srgbClr val="ECE8E4"/>
            </a:solidFill>
            <a:ln w="54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DK" sz="2400"/>
            </a:p>
          </p:txBody>
        </p:sp>
        <p:sp>
          <p:nvSpPr>
            <p:cNvPr id="458" name="Freeform 457">
              <a:extLst>
                <a:ext uri="{FF2B5EF4-FFF2-40B4-BE49-F238E27FC236}">
                  <a16:creationId xmlns:a16="http://schemas.microsoft.com/office/drawing/2014/main" id="{FACBD6C1-D1AB-A228-48C7-A2158CEB231C}"/>
                </a:ext>
              </a:extLst>
            </p:cNvPr>
            <p:cNvSpPr/>
            <p:nvPr/>
          </p:nvSpPr>
          <p:spPr>
            <a:xfrm>
              <a:off x="4370374" y="7015738"/>
              <a:ext cx="99416" cy="100667"/>
            </a:xfrm>
            <a:custGeom>
              <a:avLst/>
              <a:gdLst>
                <a:gd name="connsiteX0" fmla="*/ 40807 w 99416"/>
                <a:gd name="connsiteY0" fmla="*/ 76198 h 100667"/>
                <a:gd name="connsiteX1" fmla="*/ 70479 w 99416"/>
                <a:gd name="connsiteY1" fmla="*/ 89368 h 100667"/>
                <a:gd name="connsiteX2" fmla="*/ 99052 w 99416"/>
                <a:gd name="connsiteY2" fmla="*/ 86075 h 100667"/>
                <a:gd name="connsiteX3" fmla="*/ 62786 w 99416"/>
                <a:gd name="connsiteY3" fmla="*/ 42175 h 100667"/>
                <a:gd name="connsiteX4" fmla="*/ 55094 w 99416"/>
                <a:gd name="connsiteY4" fmla="*/ 20226 h 100667"/>
                <a:gd name="connsiteX5" fmla="*/ 37510 w 99416"/>
                <a:gd name="connsiteY5" fmla="*/ 8154 h 100667"/>
                <a:gd name="connsiteX6" fmla="*/ 146 w 99416"/>
                <a:gd name="connsiteY6" fmla="*/ 19129 h 100667"/>
                <a:gd name="connsiteX7" fmla="*/ 16630 w 99416"/>
                <a:gd name="connsiteY7" fmla="*/ 55345 h 100667"/>
                <a:gd name="connsiteX8" fmla="*/ 40807 w 99416"/>
                <a:gd name="connsiteY8" fmla="*/ 76198 h 100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9416" h="100667">
                  <a:moveTo>
                    <a:pt x="40807" y="76198"/>
                  </a:moveTo>
                  <a:cubicBezTo>
                    <a:pt x="52896" y="77295"/>
                    <a:pt x="57291" y="83880"/>
                    <a:pt x="70479" y="89368"/>
                  </a:cubicBezTo>
                  <a:cubicBezTo>
                    <a:pt x="82567" y="94855"/>
                    <a:pt x="102348" y="113512"/>
                    <a:pt x="99052" y="86075"/>
                  </a:cubicBezTo>
                  <a:cubicBezTo>
                    <a:pt x="96853" y="58638"/>
                    <a:pt x="69380" y="54248"/>
                    <a:pt x="62786" y="42175"/>
                  </a:cubicBezTo>
                  <a:cubicBezTo>
                    <a:pt x="58390" y="30103"/>
                    <a:pt x="63885" y="24616"/>
                    <a:pt x="55094" y="20226"/>
                  </a:cubicBezTo>
                  <a:cubicBezTo>
                    <a:pt x="46302" y="16933"/>
                    <a:pt x="37510" y="7057"/>
                    <a:pt x="37510" y="8154"/>
                  </a:cubicBezTo>
                  <a:cubicBezTo>
                    <a:pt x="21026" y="-10504"/>
                    <a:pt x="-2052" y="7057"/>
                    <a:pt x="146" y="19129"/>
                  </a:cubicBezTo>
                  <a:cubicBezTo>
                    <a:pt x="2344" y="30103"/>
                    <a:pt x="16630" y="35591"/>
                    <a:pt x="16630" y="55345"/>
                  </a:cubicBezTo>
                  <a:cubicBezTo>
                    <a:pt x="17729" y="72906"/>
                    <a:pt x="27620" y="75100"/>
                    <a:pt x="40807" y="76198"/>
                  </a:cubicBezTo>
                  <a:close/>
                </a:path>
              </a:pathLst>
            </a:custGeom>
            <a:solidFill>
              <a:srgbClr val="ECE8E4"/>
            </a:solidFill>
            <a:ln w="54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DK" sz="2400"/>
            </a:p>
          </p:txBody>
        </p:sp>
        <p:sp>
          <p:nvSpPr>
            <p:cNvPr id="459" name="Freeform 458">
              <a:extLst>
                <a:ext uri="{FF2B5EF4-FFF2-40B4-BE49-F238E27FC236}">
                  <a16:creationId xmlns:a16="http://schemas.microsoft.com/office/drawing/2014/main" id="{4DAEDC59-316A-926F-8F22-E0D24C1EA446}"/>
                </a:ext>
              </a:extLst>
            </p:cNvPr>
            <p:cNvSpPr/>
            <p:nvPr/>
          </p:nvSpPr>
          <p:spPr>
            <a:xfrm>
              <a:off x="4685192" y="7518079"/>
              <a:ext cx="81177" cy="64475"/>
            </a:xfrm>
            <a:custGeom>
              <a:avLst/>
              <a:gdLst>
                <a:gd name="connsiteX0" fmla="*/ 49081 w 81177"/>
                <a:gd name="connsiteY0" fmla="*/ 39189 h 64475"/>
                <a:gd name="connsiteX1" fmla="*/ 74357 w 81177"/>
                <a:gd name="connsiteY1" fmla="*/ 62237 h 64475"/>
                <a:gd name="connsiteX2" fmla="*/ 64466 w 81177"/>
                <a:gd name="connsiteY2" fmla="*/ 10655 h 64475"/>
                <a:gd name="connsiteX3" fmla="*/ 24904 w 81177"/>
                <a:gd name="connsiteY3" fmla="*/ 778 h 64475"/>
                <a:gd name="connsiteX4" fmla="*/ 6222 w 81177"/>
                <a:gd name="connsiteY4" fmla="*/ 27117 h 64475"/>
                <a:gd name="connsiteX5" fmla="*/ 49081 w 81177"/>
                <a:gd name="connsiteY5" fmla="*/ 39189 h 64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177" h="64475">
                  <a:moveTo>
                    <a:pt x="49081" y="39189"/>
                  </a:moveTo>
                  <a:cubicBezTo>
                    <a:pt x="57873" y="56750"/>
                    <a:pt x="62268" y="69920"/>
                    <a:pt x="74357" y="62237"/>
                  </a:cubicBezTo>
                  <a:cubicBezTo>
                    <a:pt x="86445" y="54555"/>
                    <a:pt x="82049" y="21630"/>
                    <a:pt x="64466" y="10655"/>
                  </a:cubicBezTo>
                  <a:cubicBezTo>
                    <a:pt x="49081" y="778"/>
                    <a:pt x="24904" y="-1417"/>
                    <a:pt x="24904" y="778"/>
                  </a:cubicBezTo>
                  <a:cubicBezTo>
                    <a:pt x="9519" y="2973"/>
                    <a:pt x="-10262" y="20533"/>
                    <a:pt x="6222" y="27117"/>
                  </a:cubicBezTo>
                  <a:cubicBezTo>
                    <a:pt x="22706" y="33702"/>
                    <a:pt x="40289" y="22727"/>
                    <a:pt x="49081" y="39189"/>
                  </a:cubicBezTo>
                  <a:close/>
                </a:path>
              </a:pathLst>
            </a:custGeom>
            <a:solidFill>
              <a:srgbClr val="ECE8E4"/>
            </a:solidFill>
            <a:ln w="54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DK" sz="2400"/>
            </a:p>
          </p:txBody>
        </p:sp>
        <p:sp>
          <p:nvSpPr>
            <p:cNvPr id="460" name="Freeform 459">
              <a:extLst>
                <a:ext uri="{FF2B5EF4-FFF2-40B4-BE49-F238E27FC236}">
                  <a16:creationId xmlns:a16="http://schemas.microsoft.com/office/drawing/2014/main" id="{684A0725-A1F5-E0D2-C48E-F410E3FC4B60}"/>
                </a:ext>
              </a:extLst>
            </p:cNvPr>
            <p:cNvSpPr/>
            <p:nvPr/>
          </p:nvSpPr>
          <p:spPr>
            <a:xfrm>
              <a:off x="8834946" y="-992271"/>
              <a:ext cx="86394" cy="145253"/>
            </a:xfrm>
            <a:custGeom>
              <a:avLst/>
              <a:gdLst>
                <a:gd name="connsiteX0" fmla="*/ 75333 w 86394"/>
                <a:gd name="connsiteY0" fmla="*/ 145 h 145253"/>
                <a:gd name="connsiteX1" fmla="*/ 46761 w 86394"/>
                <a:gd name="connsiteY1" fmla="*/ 4535 h 145253"/>
                <a:gd name="connsiteX2" fmla="*/ 11595 w 86394"/>
                <a:gd name="connsiteY2" fmla="*/ 30875 h 145253"/>
                <a:gd name="connsiteX3" fmla="*/ 1704 w 86394"/>
                <a:gd name="connsiteY3" fmla="*/ 65994 h 145253"/>
                <a:gd name="connsiteX4" fmla="*/ 14891 w 86394"/>
                <a:gd name="connsiteY4" fmla="*/ 93431 h 145253"/>
                <a:gd name="connsiteX5" fmla="*/ 18188 w 86394"/>
                <a:gd name="connsiteY5" fmla="*/ 119771 h 145253"/>
                <a:gd name="connsiteX6" fmla="*/ 31376 w 86394"/>
                <a:gd name="connsiteY6" fmla="*/ 145013 h 145253"/>
                <a:gd name="connsiteX7" fmla="*/ 57751 w 86394"/>
                <a:gd name="connsiteY7" fmla="*/ 118673 h 145253"/>
                <a:gd name="connsiteX8" fmla="*/ 80828 w 86394"/>
                <a:gd name="connsiteY8" fmla="*/ 115381 h 145253"/>
                <a:gd name="connsiteX9" fmla="*/ 56651 w 86394"/>
                <a:gd name="connsiteY9" fmla="*/ 79164 h 145253"/>
                <a:gd name="connsiteX10" fmla="*/ 86323 w 86394"/>
                <a:gd name="connsiteY10" fmla="*/ 67092 h 145253"/>
                <a:gd name="connsiteX11" fmla="*/ 80828 w 86394"/>
                <a:gd name="connsiteY11" fmla="*/ 38557 h 145253"/>
                <a:gd name="connsiteX12" fmla="*/ 75333 w 86394"/>
                <a:gd name="connsiteY12" fmla="*/ 145 h 14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6394" h="145253">
                  <a:moveTo>
                    <a:pt x="75333" y="145"/>
                  </a:moveTo>
                  <a:cubicBezTo>
                    <a:pt x="63245" y="-952"/>
                    <a:pt x="48959" y="4535"/>
                    <a:pt x="46761" y="4535"/>
                  </a:cubicBezTo>
                  <a:cubicBezTo>
                    <a:pt x="23683" y="15510"/>
                    <a:pt x="21485" y="17705"/>
                    <a:pt x="11595" y="30875"/>
                  </a:cubicBezTo>
                  <a:cubicBezTo>
                    <a:pt x="1704" y="44044"/>
                    <a:pt x="-2692" y="49532"/>
                    <a:pt x="1704" y="65994"/>
                  </a:cubicBezTo>
                  <a:cubicBezTo>
                    <a:pt x="5001" y="81359"/>
                    <a:pt x="12693" y="75871"/>
                    <a:pt x="14891" y="93431"/>
                  </a:cubicBezTo>
                  <a:cubicBezTo>
                    <a:pt x="17089" y="109893"/>
                    <a:pt x="14891" y="105504"/>
                    <a:pt x="18188" y="119771"/>
                  </a:cubicBezTo>
                  <a:cubicBezTo>
                    <a:pt x="20386" y="134038"/>
                    <a:pt x="17089" y="147208"/>
                    <a:pt x="31376" y="145013"/>
                  </a:cubicBezTo>
                  <a:cubicBezTo>
                    <a:pt x="45662" y="143915"/>
                    <a:pt x="46761" y="121966"/>
                    <a:pt x="57751" y="118673"/>
                  </a:cubicBezTo>
                  <a:cubicBezTo>
                    <a:pt x="68740" y="116478"/>
                    <a:pt x="78630" y="134038"/>
                    <a:pt x="80828" y="115381"/>
                  </a:cubicBezTo>
                  <a:cubicBezTo>
                    <a:pt x="83026" y="96724"/>
                    <a:pt x="45662" y="86846"/>
                    <a:pt x="56651" y="79164"/>
                  </a:cubicBezTo>
                  <a:cubicBezTo>
                    <a:pt x="67641" y="73677"/>
                    <a:pt x="85224" y="83554"/>
                    <a:pt x="86323" y="67092"/>
                  </a:cubicBezTo>
                  <a:cubicBezTo>
                    <a:pt x="87422" y="51727"/>
                    <a:pt x="75333" y="49532"/>
                    <a:pt x="80828" y="38557"/>
                  </a:cubicBezTo>
                  <a:cubicBezTo>
                    <a:pt x="85224" y="27582"/>
                    <a:pt x="87422" y="2340"/>
                    <a:pt x="75333" y="145"/>
                  </a:cubicBezTo>
                  <a:close/>
                </a:path>
              </a:pathLst>
            </a:custGeom>
            <a:solidFill>
              <a:srgbClr val="ECE8E4"/>
            </a:solidFill>
            <a:ln w="54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DK" sz="2400"/>
            </a:p>
          </p:txBody>
        </p:sp>
        <p:sp>
          <p:nvSpPr>
            <p:cNvPr id="461" name="Freeform 460">
              <a:extLst>
                <a:ext uri="{FF2B5EF4-FFF2-40B4-BE49-F238E27FC236}">
                  <a16:creationId xmlns:a16="http://schemas.microsoft.com/office/drawing/2014/main" id="{D08845C3-0671-CB0D-D003-F5979442DF25}"/>
                </a:ext>
              </a:extLst>
            </p:cNvPr>
            <p:cNvSpPr/>
            <p:nvPr/>
          </p:nvSpPr>
          <p:spPr>
            <a:xfrm>
              <a:off x="8766164" y="-916154"/>
              <a:ext cx="101497" cy="160295"/>
            </a:xfrm>
            <a:custGeom>
              <a:avLst/>
              <a:gdLst>
                <a:gd name="connsiteX0" fmla="*/ 33122 w 101497"/>
                <a:gd name="connsiteY0" fmla="*/ 853 h 160295"/>
                <a:gd name="connsiteX1" fmla="*/ 153 w 101497"/>
                <a:gd name="connsiteY1" fmla="*/ 50240 h 160295"/>
                <a:gd name="connsiteX2" fmla="*/ 14439 w 101497"/>
                <a:gd name="connsiteY2" fmla="*/ 96334 h 160295"/>
                <a:gd name="connsiteX3" fmla="*/ 32022 w 101497"/>
                <a:gd name="connsiteY3" fmla="*/ 110601 h 160295"/>
                <a:gd name="connsiteX4" fmla="*/ 41913 w 101497"/>
                <a:gd name="connsiteY4" fmla="*/ 135843 h 160295"/>
                <a:gd name="connsiteX5" fmla="*/ 44111 w 101497"/>
                <a:gd name="connsiteY5" fmla="*/ 140233 h 160295"/>
                <a:gd name="connsiteX6" fmla="*/ 74882 w 101497"/>
                <a:gd name="connsiteY6" fmla="*/ 159988 h 160295"/>
                <a:gd name="connsiteX7" fmla="*/ 101257 w 101497"/>
                <a:gd name="connsiteY7" fmla="*/ 123771 h 160295"/>
                <a:gd name="connsiteX8" fmla="*/ 95762 w 101497"/>
                <a:gd name="connsiteY8" fmla="*/ 79872 h 160295"/>
                <a:gd name="connsiteX9" fmla="*/ 70485 w 101497"/>
                <a:gd name="connsiteY9" fmla="*/ 39265 h 160295"/>
                <a:gd name="connsiteX10" fmla="*/ 33122 w 101497"/>
                <a:gd name="connsiteY10" fmla="*/ 853 h 160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1497" h="160295">
                  <a:moveTo>
                    <a:pt x="33122" y="853"/>
                  </a:moveTo>
                  <a:cubicBezTo>
                    <a:pt x="19934" y="5243"/>
                    <a:pt x="-2045" y="27192"/>
                    <a:pt x="153" y="50240"/>
                  </a:cubicBezTo>
                  <a:cubicBezTo>
                    <a:pt x="1252" y="74384"/>
                    <a:pt x="2351" y="90847"/>
                    <a:pt x="14439" y="96334"/>
                  </a:cubicBezTo>
                  <a:cubicBezTo>
                    <a:pt x="26528" y="100724"/>
                    <a:pt x="32022" y="95236"/>
                    <a:pt x="32022" y="110601"/>
                  </a:cubicBezTo>
                  <a:cubicBezTo>
                    <a:pt x="33122" y="124868"/>
                    <a:pt x="41913" y="135843"/>
                    <a:pt x="41913" y="135843"/>
                  </a:cubicBezTo>
                  <a:lnTo>
                    <a:pt x="44111" y="140233"/>
                  </a:lnTo>
                  <a:cubicBezTo>
                    <a:pt x="58397" y="152306"/>
                    <a:pt x="59496" y="162183"/>
                    <a:pt x="74882" y="159988"/>
                  </a:cubicBezTo>
                  <a:cubicBezTo>
                    <a:pt x="90267" y="158890"/>
                    <a:pt x="103454" y="145721"/>
                    <a:pt x="101257" y="123771"/>
                  </a:cubicBezTo>
                  <a:cubicBezTo>
                    <a:pt x="97959" y="100724"/>
                    <a:pt x="101257" y="100724"/>
                    <a:pt x="95762" y="79872"/>
                  </a:cubicBezTo>
                  <a:cubicBezTo>
                    <a:pt x="90267" y="56824"/>
                    <a:pt x="80376" y="61214"/>
                    <a:pt x="70485" y="39265"/>
                  </a:cubicBezTo>
                  <a:cubicBezTo>
                    <a:pt x="60595" y="17315"/>
                    <a:pt x="45210" y="-4635"/>
                    <a:pt x="33122" y="853"/>
                  </a:cubicBezTo>
                  <a:close/>
                </a:path>
              </a:pathLst>
            </a:custGeom>
            <a:solidFill>
              <a:srgbClr val="ECE8E4"/>
            </a:solidFill>
            <a:ln w="54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DK" sz="2400"/>
            </a:p>
          </p:txBody>
        </p:sp>
        <p:sp>
          <p:nvSpPr>
            <p:cNvPr id="462" name="Freeform 461">
              <a:extLst>
                <a:ext uri="{FF2B5EF4-FFF2-40B4-BE49-F238E27FC236}">
                  <a16:creationId xmlns:a16="http://schemas.microsoft.com/office/drawing/2014/main" id="{C2B71345-518B-5548-E2D4-831FE14E5388}"/>
                </a:ext>
              </a:extLst>
            </p:cNvPr>
            <p:cNvSpPr/>
            <p:nvPr/>
          </p:nvSpPr>
          <p:spPr>
            <a:xfrm>
              <a:off x="8705777" y="-840401"/>
              <a:ext cx="91380" cy="207288"/>
            </a:xfrm>
            <a:custGeom>
              <a:avLst/>
              <a:gdLst>
                <a:gd name="connsiteX0" fmla="*/ 2296 w 91380"/>
                <a:gd name="connsiteY0" fmla="*/ 58993 h 207288"/>
                <a:gd name="connsiteX1" fmla="*/ 20977 w 91380"/>
                <a:gd name="connsiteY1" fmla="*/ 85332 h 207288"/>
                <a:gd name="connsiteX2" fmla="*/ 8889 w 91380"/>
                <a:gd name="connsiteY2" fmla="*/ 111672 h 207288"/>
                <a:gd name="connsiteX3" fmla="*/ 18780 w 91380"/>
                <a:gd name="connsiteY3" fmla="*/ 124842 h 207288"/>
                <a:gd name="connsiteX4" fmla="*/ 33066 w 91380"/>
                <a:gd name="connsiteY4" fmla="*/ 138012 h 207288"/>
                <a:gd name="connsiteX5" fmla="*/ 9988 w 91380"/>
                <a:gd name="connsiteY5" fmla="*/ 161059 h 207288"/>
                <a:gd name="connsiteX6" fmla="*/ 19879 w 91380"/>
                <a:gd name="connsiteY6" fmla="*/ 202763 h 207288"/>
                <a:gd name="connsiteX7" fmla="*/ 34165 w 91380"/>
                <a:gd name="connsiteY7" fmla="*/ 183008 h 207288"/>
                <a:gd name="connsiteX8" fmla="*/ 60540 w 91380"/>
                <a:gd name="connsiteY8" fmla="*/ 167644 h 207288"/>
                <a:gd name="connsiteX9" fmla="*/ 70430 w 91380"/>
                <a:gd name="connsiteY9" fmla="*/ 140207 h 207288"/>
                <a:gd name="connsiteX10" fmla="*/ 46254 w 91380"/>
                <a:gd name="connsiteY10" fmla="*/ 114964 h 207288"/>
                <a:gd name="connsiteX11" fmla="*/ 60540 w 91380"/>
                <a:gd name="connsiteY11" fmla="*/ 85332 h 207288"/>
                <a:gd name="connsiteX12" fmla="*/ 78123 w 91380"/>
                <a:gd name="connsiteY12" fmla="*/ 123744 h 207288"/>
                <a:gd name="connsiteX13" fmla="*/ 91310 w 91380"/>
                <a:gd name="connsiteY13" fmla="*/ 95210 h 207288"/>
                <a:gd name="connsiteX14" fmla="*/ 74826 w 91380"/>
                <a:gd name="connsiteY14" fmla="*/ 69968 h 207288"/>
                <a:gd name="connsiteX15" fmla="*/ 66035 w 91380"/>
                <a:gd name="connsiteY15" fmla="*/ 42531 h 207288"/>
                <a:gd name="connsiteX16" fmla="*/ 46254 w 91380"/>
                <a:gd name="connsiteY16" fmla="*/ 18386 h 207288"/>
                <a:gd name="connsiteX17" fmla="*/ 14384 w 91380"/>
                <a:gd name="connsiteY17" fmla="*/ 4119 h 207288"/>
                <a:gd name="connsiteX18" fmla="*/ 1196 w 91380"/>
                <a:gd name="connsiteY18" fmla="*/ 11801 h 207288"/>
                <a:gd name="connsiteX19" fmla="*/ 16582 w 91380"/>
                <a:gd name="connsiteY19" fmla="*/ 33751 h 207288"/>
                <a:gd name="connsiteX20" fmla="*/ 28670 w 91380"/>
                <a:gd name="connsiteY20" fmla="*/ 55700 h 207288"/>
                <a:gd name="connsiteX21" fmla="*/ 2296 w 91380"/>
                <a:gd name="connsiteY21" fmla="*/ 58993 h 207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1380" h="207288">
                  <a:moveTo>
                    <a:pt x="2296" y="58993"/>
                  </a:moveTo>
                  <a:cubicBezTo>
                    <a:pt x="-6497" y="67773"/>
                    <a:pt x="12186" y="76552"/>
                    <a:pt x="20977" y="85332"/>
                  </a:cubicBezTo>
                  <a:cubicBezTo>
                    <a:pt x="31967" y="95210"/>
                    <a:pt x="16582" y="101795"/>
                    <a:pt x="8889" y="111672"/>
                  </a:cubicBezTo>
                  <a:cubicBezTo>
                    <a:pt x="3394" y="121549"/>
                    <a:pt x="11087" y="122647"/>
                    <a:pt x="18780" y="124842"/>
                  </a:cubicBezTo>
                  <a:cubicBezTo>
                    <a:pt x="26472" y="127037"/>
                    <a:pt x="35264" y="122647"/>
                    <a:pt x="33066" y="138012"/>
                  </a:cubicBezTo>
                  <a:cubicBezTo>
                    <a:pt x="30868" y="153376"/>
                    <a:pt x="11087" y="148986"/>
                    <a:pt x="9988" y="161059"/>
                  </a:cubicBezTo>
                  <a:cubicBezTo>
                    <a:pt x="8889" y="174228"/>
                    <a:pt x="11087" y="187398"/>
                    <a:pt x="19879" y="202763"/>
                  </a:cubicBezTo>
                  <a:cubicBezTo>
                    <a:pt x="28670" y="217030"/>
                    <a:pt x="29769" y="193983"/>
                    <a:pt x="34165" y="183008"/>
                  </a:cubicBezTo>
                  <a:cubicBezTo>
                    <a:pt x="38561" y="170936"/>
                    <a:pt x="51748" y="173131"/>
                    <a:pt x="60540" y="167644"/>
                  </a:cubicBezTo>
                  <a:cubicBezTo>
                    <a:pt x="70430" y="163254"/>
                    <a:pt x="70430" y="152279"/>
                    <a:pt x="70430" y="140207"/>
                  </a:cubicBezTo>
                  <a:cubicBezTo>
                    <a:pt x="70430" y="129232"/>
                    <a:pt x="58342" y="124842"/>
                    <a:pt x="46254" y="114964"/>
                  </a:cubicBezTo>
                  <a:cubicBezTo>
                    <a:pt x="34165" y="105087"/>
                    <a:pt x="48451" y="87527"/>
                    <a:pt x="60540" y="85332"/>
                  </a:cubicBezTo>
                  <a:cubicBezTo>
                    <a:pt x="73727" y="83137"/>
                    <a:pt x="62738" y="113867"/>
                    <a:pt x="78123" y="123744"/>
                  </a:cubicBezTo>
                  <a:cubicBezTo>
                    <a:pt x="93508" y="132524"/>
                    <a:pt x="89112" y="103990"/>
                    <a:pt x="91310" y="95210"/>
                  </a:cubicBezTo>
                  <a:cubicBezTo>
                    <a:pt x="92409" y="86430"/>
                    <a:pt x="80321" y="80942"/>
                    <a:pt x="74826" y="69968"/>
                  </a:cubicBezTo>
                  <a:cubicBezTo>
                    <a:pt x="67133" y="60090"/>
                    <a:pt x="77024" y="55700"/>
                    <a:pt x="66035" y="42531"/>
                  </a:cubicBezTo>
                  <a:cubicBezTo>
                    <a:pt x="55045" y="30458"/>
                    <a:pt x="51748" y="38141"/>
                    <a:pt x="46254" y="18386"/>
                  </a:cubicBezTo>
                  <a:cubicBezTo>
                    <a:pt x="40759" y="826"/>
                    <a:pt x="36363" y="-4661"/>
                    <a:pt x="14384" y="4119"/>
                  </a:cubicBezTo>
                  <a:cubicBezTo>
                    <a:pt x="15482" y="5216"/>
                    <a:pt x="3394" y="4119"/>
                    <a:pt x="1196" y="11801"/>
                  </a:cubicBezTo>
                  <a:cubicBezTo>
                    <a:pt x="-2100" y="19483"/>
                    <a:pt x="6691" y="29361"/>
                    <a:pt x="16582" y="33751"/>
                  </a:cubicBezTo>
                  <a:cubicBezTo>
                    <a:pt x="27571" y="38141"/>
                    <a:pt x="33066" y="43628"/>
                    <a:pt x="28670" y="55700"/>
                  </a:cubicBezTo>
                  <a:cubicBezTo>
                    <a:pt x="24275" y="64480"/>
                    <a:pt x="12186" y="52408"/>
                    <a:pt x="2296" y="58993"/>
                  </a:cubicBezTo>
                  <a:close/>
                </a:path>
              </a:pathLst>
            </a:custGeom>
            <a:solidFill>
              <a:srgbClr val="ECE8E4"/>
            </a:solidFill>
            <a:ln w="54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DK" sz="2400"/>
            </a:p>
          </p:txBody>
        </p:sp>
        <p:sp>
          <p:nvSpPr>
            <p:cNvPr id="463" name="Freeform 462">
              <a:extLst>
                <a:ext uri="{FF2B5EF4-FFF2-40B4-BE49-F238E27FC236}">
                  <a16:creationId xmlns:a16="http://schemas.microsoft.com/office/drawing/2014/main" id="{7C7336DD-089F-6D49-B1FB-BE989E03AEBC}"/>
                </a:ext>
              </a:extLst>
            </p:cNvPr>
            <p:cNvSpPr/>
            <p:nvPr/>
          </p:nvSpPr>
          <p:spPr>
            <a:xfrm>
              <a:off x="11604766" y="2619397"/>
              <a:ext cx="249551" cy="311061"/>
            </a:xfrm>
            <a:custGeom>
              <a:avLst/>
              <a:gdLst>
                <a:gd name="connsiteX0" fmla="*/ 11126 w 249551"/>
                <a:gd name="connsiteY0" fmla="*/ 239545 h 311061"/>
                <a:gd name="connsiteX1" fmla="*/ 61677 w 249551"/>
                <a:gd name="connsiteY1" fmla="*/ 292224 h 311061"/>
                <a:gd name="connsiteX2" fmla="*/ 116625 w 249551"/>
                <a:gd name="connsiteY2" fmla="*/ 290030 h 311061"/>
                <a:gd name="connsiteX3" fmla="*/ 145197 w 249551"/>
                <a:gd name="connsiteY3" fmla="*/ 234058 h 311061"/>
                <a:gd name="connsiteX4" fmla="*/ 199046 w 249551"/>
                <a:gd name="connsiteY4" fmla="*/ 220888 h 311061"/>
                <a:gd name="connsiteX5" fmla="*/ 243004 w 249551"/>
                <a:gd name="connsiteY5" fmla="*/ 258203 h 311061"/>
                <a:gd name="connsiteX6" fmla="*/ 226520 w 249551"/>
                <a:gd name="connsiteY6" fmla="*/ 202231 h 311061"/>
                <a:gd name="connsiteX7" fmla="*/ 186958 w 249551"/>
                <a:gd name="connsiteY7" fmla="*/ 176989 h 311061"/>
                <a:gd name="connsiteX8" fmla="*/ 160583 w 249551"/>
                <a:gd name="connsiteY8" fmla="*/ 146259 h 311061"/>
                <a:gd name="connsiteX9" fmla="*/ 211134 w 249551"/>
                <a:gd name="connsiteY9" fmla="*/ 94678 h 311061"/>
                <a:gd name="connsiteX10" fmla="*/ 175968 w 249551"/>
                <a:gd name="connsiteY10" fmla="*/ 65046 h 311061"/>
                <a:gd name="connsiteX11" fmla="*/ 133109 w 249551"/>
                <a:gd name="connsiteY11" fmla="*/ 70533 h 311061"/>
                <a:gd name="connsiteX12" fmla="*/ 145197 w 249551"/>
                <a:gd name="connsiteY12" fmla="*/ 110042 h 311061"/>
                <a:gd name="connsiteX13" fmla="*/ 117723 w 249551"/>
                <a:gd name="connsiteY13" fmla="*/ 137479 h 311061"/>
                <a:gd name="connsiteX14" fmla="*/ 91350 w 249551"/>
                <a:gd name="connsiteY14" fmla="*/ 83703 h 311061"/>
                <a:gd name="connsiteX15" fmla="*/ 73765 w 249551"/>
                <a:gd name="connsiteY15" fmla="*/ 63948 h 311061"/>
                <a:gd name="connsiteX16" fmla="*/ 113329 w 249551"/>
                <a:gd name="connsiteY16" fmla="*/ 7976 h 311061"/>
                <a:gd name="connsiteX17" fmla="*/ 62776 w 249551"/>
                <a:gd name="connsiteY17" fmla="*/ 20049 h 311061"/>
                <a:gd name="connsiteX18" fmla="*/ 21017 w 249551"/>
                <a:gd name="connsiteY18" fmla="*/ 48583 h 311061"/>
                <a:gd name="connsiteX19" fmla="*/ 11126 w 249551"/>
                <a:gd name="connsiteY19" fmla="*/ 102360 h 311061"/>
                <a:gd name="connsiteX20" fmla="*/ 71568 w 249551"/>
                <a:gd name="connsiteY20" fmla="*/ 100165 h 311061"/>
                <a:gd name="connsiteX21" fmla="*/ 28709 w 249551"/>
                <a:gd name="connsiteY21" fmla="*/ 129797 h 311061"/>
                <a:gd name="connsiteX22" fmla="*/ 11126 w 249551"/>
                <a:gd name="connsiteY22" fmla="*/ 147357 h 311061"/>
                <a:gd name="connsiteX23" fmla="*/ 38599 w 249551"/>
                <a:gd name="connsiteY23" fmla="*/ 171501 h 311061"/>
                <a:gd name="connsiteX24" fmla="*/ 13323 w 249551"/>
                <a:gd name="connsiteY24" fmla="*/ 187964 h 311061"/>
                <a:gd name="connsiteX25" fmla="*/ 52886 w 249551"/>
                <a:gd name="connsiteY25" fmla="*/ 206621 h 311061"/>
                <a:gd name="connsiteX26" fmla="*/ 11126 w 249551"/>
                <a:gd name="connsiteY26" fmla="*/ 239545 h 311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49551" h="311061">
                  <a:moveTo>
                    <a:pt x="11126" y="239545"/>
                  </a:moveTo>
                  <a:cubicBezTo>
                    <a:pt x="38599" y="293322"/>
                    <a:pt x="61677" y="292224"/>
                    <a:pt x="61677" y="292224"/>
                  </a:cubicBezTo>
                  <a:cubicBezTo>
                    <a:pt x="99042" y="306492"/>
                    <a:pt x="113329" y="327344"/>
                    <a:pt x="116625" y="290030"/>
                  </a:cubicBezTo>
                  <a:cubicBezTo>
                    <a:pt x="118823" y="253812"/>
                    <a:pt x="126515" y="246130"/>
                    <a:pt x="145197" y="234058"/>
                  </a:cubicBezTo>
                  <a:cubicBezTo>
                    <a:pt x="162781" y="220888"/>
                    <a:pt x="181463" y="191256"/>
                    <a:pt x="199046" y="220888"/>
                  </a:cubicBezTo>
                  <a:cubicBezTo>
                    <a:pt x="215530" y="250520"/>
                    <a:pt x="226520" y="293322"/>
                    <a:pt x="243004" y="258203"/>
                  </a:cubicBezTo>
                  <a:cubicBezTo>
                    <a:pt x="258389" y="220888"/>
                    <a:pt x="244102" y="209913"/>
                    <a:pt x="226520" y="202231"/>
                  </a:cubicBezTo>
                  <a:cubicBezTo>
                    <a:pt x="210035" y="194548"/>
                    <a:pt x="203442" y="180281"/>
                    <a:pt x="186958" y="176989"/>
                  </a:cubicBezTo>
                  <a:cubicBezTo>
                    <a:pt x="171572" y="173696"/>
                    <a:pt x="155088" y="159429"/>
                    <a:pt x="160583" y="146259"/>
                  </a:cubicBezTo>
                  <a:cubicBezTo>
                    <a:pt x="166077" y="131992"/>
                    <a:pt x="204541" y="117725"/>
                    <a:pt x="211134" y="94678"/>
                  </a:cubicBezTo>
                  <a:cubicBezTo>
                    <a:pt x="216629" y="72728"/>
                    <a:pt x="194650" y="59558"/>
                    <a:pt x="175968" y="65046"/>
                  </a:cubicBezTo>
                  <a:cubicBezTo>
                    <a:pt x="159484" y="69435"/>
                    <a:pt x="136406" y="55168"/>
                    <a:pt x="133109" y="70533"/>
                  </a:cubicBezTo>
                  <a:cubicBezTo>
                    <a:pt x="130911" y="86995"/>
                    <a:pt x="147396" y="88093"/>
                    <a:pt x="145197" y="110042"/>
                  </a:cubicBezTo>
                  <a:cubicBezTo>
                    <a:pt x="141901" y="133089"/>
                    <a:pt x="127614" y="150649"/>
                    <a:pt x="117723" y="137479"/>
                  </a:cubicBezTo>
                  <a:cubicBezTo>
                    <a:pt x="107834" y="124310"/>
                    <a:pt x="92448" y="101262"/>
                    <a:pt x="91350" y="83703"/>
                  </a:cubicBezTo>
                  <a:cubicBezTo>
                    <a:pt x="89151" y="66143"/>
                    <a:pt x="64975" y="93580"/>
                    <a:pt x="73765" y="63948"/>
                  </a:cubicBezTo>
                  <a:cubicBezTo>
                    <a:pt x="82557" y="34316"/>
                    <a:pt x="126515" y="28829"/>
                    <a:pt x="113329" y="7976"/>
                  </a:cubicBezTo>
                  <a:cubicBezTo>
                    <a:pt x="101239" y="-11778"/>
                    <a:pt x="84755" y="10171"/>
                    <a:pt x="62776" y="20049"/>
                  </a:cubicBezTo>
                  <a:cubicBezTo>
                    <a:pt x="39698" y="29926"/>
                    <a:pt x="33105" y="22244"/>
                    <a:pt x="21017" y="48583"/>
                  </a:cubicBezTo>
                  <a:cubicBezTo>
                    <a:pt x="10027" y="73825"/>
                    <a:pt x="-14151" y="99067"/>
                    <a:pt x="11126" y="102360"/>
                  </a:cubicBezTo>
                  <a:cubicBezTo>
                    <a:pt x="37501" y="104555"/>
                    <a:pt x="69371" y="85898"/>
                    <a:pt x="71568" y="100165"/>
                  </a:cubicBezTo>
                  <a:cubicBezTo>
                    <a:pt x="72667" y="114432"/>
                    <a:pt x="48490" y="133089"/>
                    <a:pt x="28709" y="129797"/>
                  </a:cubicBezTo>
                  <a:cubicBezTo>
                    <a:pt x="8928" y="127602"/>
                    <a:pt x="-9755" y="134187"/>
                    <a:pt x="11126" y="147357"/>
                  </a:cubicBezTo>
                  <a:cubicBezTo>
                    <a:pt x="33105" y="159429"/>
                    <a:pt x="59480" y="166014"/>
                    <a:pt x="38599" y="171501"/>
                  </a:cubicBezTo>
                  <a:cubicBezTo>
                    <a:pt x="18818" y="175891"/>
                    <a:pt x="-10853" y="173696"/>
                    <a:pt x="13323" y="187964"/>
                  </a:cubicBezTo>
                  <a:cubicBezTo>
                    <a:pt x="37501" y="202231"/>
                    <a:pt x="68271" y="191256"/>
                    <a:pt x="52886" y="206621"/>
                  </a:cubicBezTo>
                  <a:cubicBezTo>
                    <a:pt x="37501" y="220888"/>
                    <a:pt x="-15249" y="185769"/>
                    <a:pt x="11126" y="239545"/>
                  </a:cubicBezTo>
                  <a:close/>
                </a:path>
              </a:pathLst>
            </a:custGeom>
            <a:solidFill>
              <a:srgbClr val="ECE8E4"/>
            </a:solidFill>
            <a:ln w="54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DK" sz="2400"/>
            </a:p>
          </p:txBody>
        </p:sp>
        <p:sp>
          <p:nvSpPr>
            <p:cNvPr id="464" name="Freeform 463">
              <a:extLst>
                <a:ext uri="{FF2B5EF4-FFF2-40B4-BE49-F238E27FC236}">
                  <a16:creationId xmlns:a16="http://schemas.microsoft.com/office/drawing/2014/main" id="{50CA6BAC-44EE-DE0C-6ADD-2B631AA4A075}"/>
                </a:ext>
              </a:extLst>
            </p:cNvPr>
            <p:cNvSpPr/>
            <p:nvPr/>
          </p:nvSpPr>
          <p:spPr>
            <a:xfrm>
              <a:off x="3799436" y="4917822"/>
              <a:ext cx="5821983" cy="5886900"/>
            </a:xfrm>
            <a:custGeom>
              <a:avLst/>
              <a:gdLst>
                <a:gd name="connsiteX0" fmla="*/ 3049215 w 5821983"/>
                <a:gd name="connsiteY0" fmla="*/ 107553 h 5886900"/>
                <a:gd name="connsiteX1" fmla="*/ 3010752 w 5821983"/>
                <a:gd name="connsiteY1" fmla="*/ 220594 h 5886900"/>
                <a:gd name="connsiteX2" fmla="*/ 3005257 w 5821983"/>
                <a:gd name="connsiteY2" fmla="*/ 296321 h 5886900"/>
                <a:gd name="connsiteX3" fmla="*/ 2978882 w 5821983"/>
                <a:gd name="connsiteY3" fmla="*/ 388509 h 5886900"/>
                <a:gd name="connsiteX4" fmla="*/ 2995366 w 5821983"/>
                <a:gd name="connsiteY4" fmla="*/ 447773 h 5886900"/>
                <a:gd name="connsiteX5" fmla="*/ 2976684 w 5821983"/>
                <a:gd name="connsiteY5" fmla="*/ 499355 h 5886900"/>
                <a:gd name="connsiteX6" fmla="*/ 3007455 w 5821983"/>
                <a:gd name="connsiteY6" fmla="*/ 558619 h 5886900"/>
                <a:gd name="connsiteX7" fmla="*/ 2912945 w 5821983"/>
                <a:gd name="connsiteY7" fmla="*/ 603616 h 5886900"/>
                <a:gd name="connsiteX8" fmla="*/ 2765686 w 5821983"/>
                <a:gd name="connsiteY8" fmla="*/ 711169 h 5886900"/>
                <a:gd name="connsiteX9" fmla="*/ 2636010 w 5821983"/>
                <a:gd name="connsiteY9" fmla="*/ 714462 h 5886900"/>
                <a:gd name="connsiteX10" fmla="*/ 2528313 w 5821983"/>
                <a:gd name="connsiteY10" fmla="*/ 738607 h 5886900"/>
                <a:gd name="connsiteX11" fmla="*/ 2410725 w 5821983"/>
                <a:gd name="connsiteY11" fmla="*/ 779213 h 5886900"/>
                <a:gd name="connsiteX12" fmla="*/ 2320612 w 5821983"/>
                <a:gd name="connsiteY12" fmla="*/ 846160 h 5886900"/>
                <a:gd name="connsiteX13" fmla="*/ 2296435 w 5821983"/>
                <a:gd name="connsiteY13" fmla="*/ 895547 h 5886900"/>
                <a:gd name="connsiteX14" fmla="*/ 2312919 w 5821983"/>
                <a:gd name="connsiteY14" fmla="*/ 971272 h 5886900"/>
                <a:gd name="connsiteX15" fmla="*/ 2370065 w 5821983"/>
                <a:gd name="connsiteY15" fmla="*/ 988833 h 5886900"/>
                <a:gd name="connsiteX16" fmla="*/ 2294237 w 5821983"/>
                <a:gd name="connsiteY16" fmla="*/ 1008587 h 5886900"/>
                <a:gd name="connsiteX17" fmla="*/ 2164561 w 5821983"/>
                <a:gd name="connsiteY17" fmla="*/ 1071144 h 5886900"/>
                <a:gd name="connsiteX18" fmla="*/ 2088733 w 5821983"/>
                <a:gd name="connsiteY18" fmla="*/ 1004197 h 5886900"/>
                <a:gd name="connsiteX19" fmla="*/ 1967849 w 5821983"/>
                <a:gd name="connsiteY19" fmla="*/ 991028 h 5886900"/>
                <a:gd name="connsiteX20" fmla="*/ 1870043 w 5821983"/>
                <a:gd name="connsiteY20" fmla="*/ 960298 h 5886900"/>
                <a:gd name="connsiteX21" fmla="*/ 1775533 w 5821983"/>
                <a:gd name="connsiteY21" fmla="*/ 931763 h 5886900"/>
                <a:gd name="connsiteX22" fmla="*/ 1711794 w 5821983"/>
                <a:gd name="connsiteY22" fmla="*/ 954810 h 5886900"/>
                <a:gd name="connsiteX23" fmla="*/ 1708497 w 5821983"/>
                <a:gd name="connsiteY23" fmla="*/ 853842 h 5886900"/>
                <a:gd name="connsiteX24" fmla="*/ 1711794 w 5821983"/>
                <a:gd name="connsiteY24" fmla="*/ 781408 h 5886900"/>
                <a:gd name="connsiteX25" fmla="*/ 1708497 w 5821983"/>
                <a:gd name="connsiteY25" fmla="*/ 708974 h 5886900"/>
                <a:gd name="connsiteX26" fmla="*/ 1600800 w 5821983"/>
                <a:gd name="connsiteY26" fmla="*/ 706779 h 5886900"/>
                <a:gd name="connsiteX27" fmla="*/ 1530467 w 5821983"/>
                <a:gd name="connsiteY27" fmla="*/ 706779 h 5886900"/>
                <a:gd name="connsiteX28" fmla="*/ 1463431 w 5821983"/>
                <a:gd name="connsiteY28" fmla="*/ 662880 h 5886900"/>
                <a:gd name="connsiteX29" fmla="*/ 1419473 w 5821983"/>
                <a:gd name="connsiteY29" fmla="*/ 645320 h 5886900"/>
                <a:gd name="connsiteX30" fmla="*/ 1448046 w 5821983"/>
                <a:gd name="connsiteY30" fmla="*/ 741899 h 5886900"/>
                <a:gd name="connsiteX31" fmla="*/ 1433760 w 5821983"/>
                <a:gd name="connsiteY31" fmla="*/ 806650 h 5886900"/>
                <a:gd name="connsiteX32" fmla="*/ 1444749 w 5821983"/>
                <a:gd name="connsiteY32" fmla="*/ 873597 h 5886900"/>
                <a:gd name="connsiteX33" fmla="*/ 1461234 w 5821983"/>
                <a:gd name="connsiteY33" fmla="*/ 936154 h 5886900"/>
                <a:gd name="connsiteX34" fmla="*/ 1498598 w 5821983"/>
                <a:gd name="connsiteY34" fmla="*/ 984442 h 5886900"/>
                <a:gd name="connsiteX35" fmla="*/ 1544753 w 5821983"/>
                <a:gd name="connsiteY35" fmla="*/ 1012977 h 5886900"/>
                <a:gd name="connsiteX36" fmla="*/ 1519478 w 5821983"/>
                <a:gd name="connsiteY36" fmla="*/ 1048096 h 5886900"/>
                <a:gd name="connsiteX37" fmla="*/ 1496400 w 5821983"/>
                <a:gd name="connsiteY37" fmla="*/ 1072241 h 5886900"/>
                <a:gd name="connsiteX38" fmla="*/ 1505192 w 5821983"/>
                <a:gd name="connsiteY38" fmla="*/ 1112848 h 5886900"/>
                <a:gd name="connsiteX39" fmla="*/ 1509587 w 5821983"/>
                <a:gd name="connsiteY39" fmla="*/ 1155650 h 5886900"/>
                <a:gd name="connsiteX40" fmla="*/ 1539259 w 5821983"/>
                <a:gd name="connsiteY40" fmla="*/ 1166625 h 5886900"/>
                <a:gd name="connsiteX41" fmla="*/ 1500795 w 5821983"/>
                <a:gd name="connsiteY41" fmla="*/ 1196257 h 5886900"/>
                <a:gd name="connsiteX42" fmla="*/ 1490905 w 5821983"/>
                <a:gd name="connsiteY42" fmla="*/ 1247838 h 5886900"/>
                <a:gd name="connsiteX43" fmla="*/ 1474421 w 5821983"/>
                <a:gd name="connsiteY43" fmla="*/ 1288445 h 5886900"/>
                <a:gd name="connsiteX44" fmla="*/ 1496400 w 5821983"/>
                <a:gd name="connsiteY44" fmla="*/ 1337832 h 5886900"/>
                <a:gd name="connsiteX45" fmla="*/ 1506290 w 5821983"/>
                <a:gd name="connsiteY45" fmla="*/ 1370757 h 5886900"/>
                <a:gd name="connsiteX46" fmla="*/ 1549150 w 5821983"/>
                <a:gd name="connsiteY46" fmla="*/ 1400389 h 5886900"/>
                <a:gd name="connsiteX47" fmla="*/ 1502994 w 5821983"/>
                <a:gd name="connsiteY47" fmla="*/ 1397097 h 5886900"/>
                <a:gd name="connsiteX48" fmla="*/ 1418374 w 5821983"/>
                <a:gd name="connsiteY48" fmla="*/ 1409169 h 5886900"/>
                <a:gd name="connsiteX49" fmla="*/ 1370021 w 5821983"/>
                <a:gd name="connsiteY49" fmla="*/ 1406974 h 5886900"/>
                <a:gd name="connsiteX50" fmla="*/ 1364526 w 5821983"/>
                <a:gd name="connsiteY50" fmla="*/ 1361977 h 5886900"/>
                <a:gd name="connsiteX51" fmla="*/ 1319469 w 5821983"/>
                <a:gd name="connsiteY51" fmla="*/ 1344417 h 5886900"/>
                <a:gd name="connsiteX52" fmla="*/ 1273313 w 5821983"/>
                <a:gd name="connsiteY52" fmla="*/ 1354294 h 5886900"/>
                <a:gd name="connsiteX53" fmla="*/ 1290896 w 5821983"/>
                <a:gd name="connsiteY53" fmla="*/ 1426728 h 5886900"/>
                <a:gd name="connsiteX54" fmla="*/ 1253532 w 5821983"/>
                <a:gd name="connsiteY54" fmla="*/ 1371854 h 5886900"/>
                <a:gd name="connsiteX55" fmla="*/ 1213970 w 5821983"/>
                <a:gd name="connsiteY55" fmla="*/ 1370757 h 5886900"/>
                <a:gd name="connsiteX56" fmla="*/ 1186496 w 5821983"/>
                <a:gd name="connsiteY56" fmla="*/ 1386122 h 5886900"/>
                <a:gd name="connsiteX57" fmla="*/ 1162319 w 5821983"/>
                <a:gd name="connsiteY57" fmla="*/ 1353197 h 5886900"/>
                <a:gd name="connsiteX58" fmla="*/ 1110669 w 5821983"/>
                <a:gd name="connsiteY58" fmla="*/ 1333442 h 5886900"/>
                <a:gd name="connsiteX59" fmla="*/ 1065612 w 5821983"/>
                <a:gd name="connsiteY59" fmla="*/ 1352099 h 5886900"/>
                <a:gd name="connsiteX60" fmla="*/ 1011763 w 5821983"/>
                <a:gd name="connsiteY60" fmla="*/ 1383927 h 5886900"/>
                <a:gd name="connsiteX61" fmla="*/ 971102 w 5821983"/>
                <a:gd name="connsiteY61" fmla="*/ 1405876 h 5886900"/>
                <a:gd name="connsiteX62" fmla="*/ 948024 w 5821983"/>
                <a:gd name="connsiteY62" fmla="*/ 1354294 h 5886900"/>
                <a:gd name="connsiteX63" fmla="*/ 902967 w 5821983"/>
                <a:gd name="connsiteY63" fmla="*/ 1277471 h 5886900"/>
                <a:gd name="connsiteX64" fmla="*/ 883186 w 5821983"/>
                <a:gd name="connsiteY64" fmla="*/ 1224792 h 5886900"/>
                <a:gd name="connsiteX65" fmla="*/ 846921 w 5821983"/>
                <a:gd name="connsiteY65" fmla="*/ 1207231 h 5886900"/>
                <a:gd name="connsiteX66" fmla="*/ 817249 w 5821983"/>
                <a:gd name="connsiteY66" fmla="*/ 1192964 h 5886900"/>
                <a:gd name="connsiteX67" fmla="*/ 842525 w 5821983"/>
                <a:gd name="connsiteY67" fmla="*/ 1155650 h 5886900"/>
                <a:gd name="connsiteX68" fmla="*/ 801864 w 5821983"/>
                <a:gd name="connsiteY68" fmla="*/ 1160040 h 5886900"/>
                <a:gd name="connsiteX69" fmla="*/ 771093 w 5821983"/>
                <a:gd name="connsiteY69" fmla="*/ 1147968 h 5886900"/>
                <a:gd name="connsiteX70" fmla="*/ 724938 w 5821983"/>
                <a:gd name="connsiteY70" fmla="*/ 1151260 h 5886900"/>
                <a:gd name="connsiteX71" fmla="*/ 660099 w 5821983"/>
                <a:gd name="connsiteY71" fmla="*/ 1152357 h 5886900"/>
                <a:gd name="connsiteX72" fmla="*/ 607350 w 5821983"/>
                <a:gd name="connsiteY72" fmla="*/ 1162235 h 5886900"/>
                <a:gd name="connsiteX73" fmla="*/ 626032 w 5821983"/>
                <a:gd name="connsiteY73" fmla="*/ 1199550 h 5886900"/>
                <a:gd name="connsiteX74" fmla="*/ 600756 w 5821983"/>
                <a:gd name="connsiteY74" fmla="*/ 1226987 h 5886900"/>
                <a:gd name="connsiteX75" fmla="*/ 574381 w 5821983"/>
                <a:gd name="connsiteY75" fmla="*/ 1203939 h 5886900"/>
                <a:gd name="connsiteX76" fmla="*/ 493059 w 5821983"/>
                <a:gd name="connsiteY76" fmla="*/ 1174307 h 5886900"/>
                <a:gd name="connsiteX77" fmla="*/ 473278 w 5821983"/>
                <a:gd name="connsiteY77" fmla="*/ 1233571 h 5886900"/>
                <a:gd name="connsiteX78" fmla="*/ 443607 w 5821983"/>
                <a:gd name="connsiteY78" fmla="*/ 1208329 h 5886900"/>
                <a:gd name="connsiteX79" fmla="*/ 439211 w 5821983"/>
                <a:gd name="connsiteY79" fmla="*/ 1166625 h 5886900"/>
                <a:gd name="connsiteX80" fmla="*/ 406242 w 5821983"/>
                <a:gd name="connsiteY80" fmla="*/ 1185282 h 5886900"/>
                <a:gd name="connsiteX81" fmla="*/ 377670 w 5821983"/>
                <a:gd name="connsiteY81" fmla="*/ 1173210 h 5886900"/>
                <a:gd name="connsiteX82" fmla="*/ 326019 w 5821983"/>
                <a:gd name="connsiteY82" fmla="*/ 1176502 h 5886900"/>
                <a:gd name="connsiteX83" fmla="*/ 295248 w 5821983"/>
                <a:gd name="connsiteY83" fmla="*/ 1186380 h 5886900"/>
                <a:gd name="connsiteX84" fmla="*/ 267775 w 5821983"/>
                <a:gd name="connsiteY84" fmla="*/ 1178697 h 5886900"/>
                <a:gd name="connsiteX85" fmla="*/ 235905 w 5821983"/>
                <a:gd name="connsiteY85" fmla="*/ 1174307 h 5886900"/>
                <a:gd name="connsiteX86" fmla="*/ 207332 w 5821983"/>
                <a:gd name="connsiteY86" fmla="*/ 1178697 h 5886900"/>
                <a:gd name="connsiteX87" fmla="*/ 157880 w 5821983"/>
                <a:gd name="connsiteY87" fmla="*/ 1186380 h 5886900"/>
                <a:gd name="connsiteX88" fmla="*/ 163375 w 5821983"/>
                <a:gd name="connsiteY88" fmla="*/ 1206134 h 5886900"/>
                <a:gd name="connsiteX89" fmla="*/ 157880 w 5821983"/>
                <a:gd name="connsiteY89" fmla="*/ 1220401 h 5886900"/>
                <a:gd name="connsiteX90" fmla="*/ 118318 w 5821983"/>
                <a:gd name="connsiteY90" fmla="*/ 1211622 h 5886900"/>
                <a:gd name="connsiteX91" fmla="*/ 79854 w 5821983"/>
                <a:gd name="connsiteY91" fmla="*/ 1221499 h 5886900"/>
                <a:gd name="connsiteX92" fmla="*/ 54579 w 5821983"/>
                <a:gd name="connsiteY92" fmla="*/ 1253326 h 5886900"/>
                <a:gd name="connsiteX93" fmla="*/ 53480 w 5821983"/>
                <a:gd name="connsiteY93" fmla="*/ 1278568 h 5886900"/>
                <a:gd name="connsiteX94" fmla="*/ 42490 w 5821983"/>
                <a:gd name="connsiteY94" fmla="*/ 1315883 h 5886900"/>
                <a:gd name="connsiteX95" fmla="*/ 40292 w 5821983"/>
                <a:gd name="connsiteY95" fmla="*/ 1356490 h 5886900"/>
                <a:gd name="connsiteX96" fmla="*/ 100734 w 5821983"/>
                <a:gd name="connsiteY96" fmla="*/ 1358685 h 5886900"/>
                <a:gd name="connsiteX97" fmla="*/ 110625 w 5821983"/>
                <a:gd name="connsiteY97" fmla="*/ 1395999 h 5886900"/>
                <a:gd name="connsiteX98" fmla="*/ 133703 w 5821983"/>
                <a:gd name="connsiteY98" fmla="*/ 1395999 h 5886900"/>
                <a:gd name="connsiteX99" fmla="*/ 155682 w 5821983"/>
                <a:gd name="connsiteY99" fmla="*/ 1354294 h 5886900"/>
                <a:gd name="connsiteX100" fmla="*/ 195244 w 5821983"/>
                <a:gd name="connsiteY100" fmla="*/ 1340027 h 5886900"/>
                <a:gd name="connsiteX101" fmla="*/ 227113 w 5821983"/>
                <a:gd name="connsiteY101" fmla="*/ 1327955 h 5886900"/>
                <a:gd name="connsiteX102" fmla="*/ 231509 w 5821983"/>
                <a:gd name="connsiteY102" fmla="*/ 1344417 h 5886900"/>
                <a:gd name="connsiteX103" fmla="*/ 182056 w 5821983"/>
                <a:gd name="connsiteY103" fmla="*/ 1374049 h 5886900"/>
                <a:gd name="connsiteX104" fmla="*/ 211728 w 5821983"/>
                <a:gd name="connsiteY104" fmla="*/ 1390511 h 5886900"/>
                <a:gd name="connsiteX105" fmla="*/ 252389 w 5821983"/>
                <a:gd name="connsiteY105" fmla="*/ 1380634 h 5886900"/>
                <a:gd name="connsiteX106" fmla="*/ 251290 w 5821983"/>
                <a:gd name="connsiteY106" fmla="*/ 1406974 h 5886900"/>
                <a:gd name="connsiteX107" fmla="*/ 275467 w 5821983"/>
                <a:gd name="connsiteY107" fmla="*/ 1425631 h 5886900"/>
                <a:gd name="connsiteX108" fmla="*/ 237004 w 5821983"/>
                <a:gd name="connsiteY108" fmla="*/ 1424534 h 5886900"/>
                <a:gd name="connsiteX109" fmla="*/ 200739 w 5821983"/>
                <a:gd name="connsiteY109" fmla="*/ 1410266 h 5886900"/>
                <a:gd name="connsiteX110" fmla="*/ 151286 w 5821983"/>
                <a:gd name="connsiteY110" fmla="*/ 1406974 h 5886900"/>
                <a:gd name="connsiteX111" fmla="*/ 119417 w 5821983"/>
                <a:gd name="connsiteY111" fmla="*/ 1434411 h 5886900"/>
                <a:gd name="connsiteX112" fmla="*/ 127109 w 5821983"/>
                <a:gd name="connsiteY112" fmla="*/ 1478310 h 5886900"/>
                <a:gd name="connsiteX113" fmla="*/ 146890 w 5821983"/>
                <a:gd name="connsiteY113" fmla="*/ 1449776 h 5886900"/>
                <a:gd name="connsiteX114" fmla="*/ 174364 w 5821983"/>
                <a:gd name="connsiteY114" fmla="*/ 1436606 h 5886900"/>
                <a:gd name="connsiteX115" fmla="*/ 184254 w 5821983"/>
                <a:gd name="connsiteY115" fmla="*/ 1465140 h 5886900"/>
                <a:gd name="connsiteX116" fmla="*/ 210629 w 5821983"/>
                <a:gd name="connsiteY116" fmla="*/ 1476115 h 5886900"/>
                <a:gd name="connsiteX117" fmla="*/ 216124 w 5821983"/>
                <a:gd name="connsiteY117" fmla="*/ 1514527 h 5886900"/>
                <a:gd name="connsiteX118" fmla="*/ 219421 w 5821983"/>
                <a:gd name="connsiteY118" fmla="*/ 1540867 h 5886900"/>
                <a:gd name="connsiteX119" fmla="*/ 177661 w 5821983"/>
                <a:gd name="connsiteY119" fmla="*/ 1524404 h 5886900"/>
                <a:gd name="connsiteX120" fmla="*/ 133703 w 5821983"/>
                <a:gd name="connsiteY120" fmla="*/ 1534282 h 5886900"/>
                <a:gd name="connsiteX121" fmla="*/ 50183 w 5821983"/>
                <a:gd name="connsiteY121" fmla="*/ 1533184 h 5886900"/>
                <a:gd name="connsiteX122" fmla="*/ 5126 w 5821983"/>
                <a:gd name="connsiteY122" fmla="*/ 1543062 h 5886900"/>
                <a:gd name="connsiteX123" fmla="*/ 62271 w 5821983"/>
                <a:gd name="connsiteY123" fmla="*/ 1582571 h 5886900"/>
                <a:gd name="connsiteX124" fmla="*/ 110625 w 5821983"/>
                <a:gd name="connsiteY124" fmla="*/ 1595741 h 5886900"/>
                <a:gd name="connsiteX125" fmla="*/ 132604 w 5821983"/>
                <a:gd name="connsiteY125" fmla="*/ 1623178 h 5886900"/>
                <a:gd name="connsiteX126" fmla="*/ 147989 w 5821983"/>
                <a:gd name="connsiteY126" fmla="*/ 1682442 h 5886900"/>
                <a:gd name="connsiteX127" fmla="*/ 138098 w 5821983"/>
                <a:gd name="connsiteY127" fmla="*/ 1731829 h 5886900"/>
                <a:gd name="connsiteX128" fmla="*/ 210629 w 5821983"/>
                <a:gd name="connsiteY128" fmla="*/ 1751584 h 5886900"/>
                <a:gd name="connsiteX129" fmla="*/ 245796 w 5821983"/>
                <a:gd name="connsiteY129" fmla="*/ 1757071 h 5886900"/>
                <a:gd name="connsiteX130" fmla="*/ 243598 w 5821983"/>
                <a:gd name="connsiteY130" fmla="*/ 1708781 h 5886900"/>
                <a:gd name="connsiteX131" fmla="*/ 260082 w 5821983"/>
                <a:gd name="connsiteY131" fmla="*/ 1675857 h 5886900"/>
                <a:gd name="connsiteX132" fmla="*/ 283160 w 5821983"/>
                <a:gd name="connsiteY132" fmla="*/ 1671467 h 5886900"/>
                <a:gd name="connsiteX133" fmla="*/ 274368 w 5821983"/>
                <a:gd name="connsiteY133" fmla="*/ 1724147 h 5886900"/>
                <a:gd name="connsiteX134" fmla="*/ 296347 w 5821983"/>
                <a:gd name="connsiteY134" fmla="*/ 1742804 h 5886900"/>
                <a:gd name="connsiteX135" fmla="*/ 331514 w 5821983"/>
                <a:gd name="connsiteY135" fmla="*/ 1758168 h 5886900"/>
                <a:gd name="connsiteX136" fmla="*/ 342503 w 5821983"/>
                <a:gd name="connsiteY136" fmla="*/ 1703294 h 5886900"/>
                <a:gd name="connsiteX137" fmla="*/ 354592 w 5821983"/>
                <a:gd name="connsiteY137" fmla="*/ 1744998 h 5886900"/>
                <a:gd name="connsiteX138" fmla="*/ 356790 w 5821983"/>
                <a:gd name="connsiteY138" fmla="*/ 1783410 h 5886900"/>
                <a:gd name="connsiteX139" fmla="*/ 438112 w 5821983"/>
                <a:gd name="connsiteY139" fmla="*/ 1796580 h 5886900"/>
                <a:gd name="connsiteX140" fmla="*/ 480971 w 5821983"/>
                <a:gd name="connsiteY140" fmla="*/ 1841577 h 5886900"/>
                <a:gd name="connsiteX141" fmla="*/ 526028 w 5821983"/>
                <a:gd name="connsiteY141" fmla="*/ 1853649 h 5886900"/>
                <a:gd name="connsiteX142" fmla="*/ 553501 w 5821983"/>
                <a:gd name="connsiteY142" fmla="*/ 1889866 h 5886900"/>
                <a:gd name="connsiteX143" fmla="*/ 593064 w 5821983"/>
                <a:gd name="connsiteY143" fmla="*/ 1849259 h 5886900"/>
                <a:gd name="connsiteX144" fmla="*/ 594162 w 5821983"/>
                <a:gd name="connsiteY144" fmla="*/ 1887671 h 5886900"/>
                <a:gd name="connsiteX145" fmla="*/ 608449 w 5821983"/>
                <a:gd name="connsiteY145" fmla="*/ 1920596 h 5886900"/>
                <a:gd name="connsiteX146" fmla="*/ 638120 w 5821983"/>
                <a:gd name="connsiteY146" fmla="*/ 1935961 h 5886900"/>
                <a:gd name="connsiteX147" fmla="*/ 666693 w 5821983"/>
                <a:gd name="connsiteY147" fmla="*/ 1895354 h 5886900"/>
                <a:gd name="connsiteX148" fmla="*/ 654605 w 5821983"/>
                <a:gd name="connsiteY148" fmla="*/ 1938156 h 5886900"/>
                <a:gd name="connsiteX149" fmla="*/ 656803 w 5821983"/>
                <a:gd name="connsiteY149" fmla="*/ 1988640 h 5886900"/>
                <a:gd name="connsiteX150" fmla="*/ 645813 w 5821983"/>
                <a:gd name="connsiteY150" fmla="*/ 2027052 h 5886900"/>
                <a:gd name="connsiteX151" fmla="*/ 671089 w 5821983"/>
                <a:gd name="connsiteY151" fmla="*/ 2069854 h 5886900"/>
                <a:gd name="connsiteX152" fmla="*/ 675485 w 5821983"/>
                <a:gd name="connsiteY152" fmla="*/ 2029247 h 5886900"/>
                <a:gd name="connsiteX153" fmla="*/ 700761 w 5821983"/>
                <a:gd name="connsiteY153" fmla="*/ 1994127 h 5886900"/>
                <a:gd name="connsiteX154" fmla="*/ 733729 w 5821983"/>
                <a:gd name="connsiteY154" fmla="*/ 2009492 h 5886900"/>
                <a:gd name="connsiteX155" fmla="*/ 761203 w 5821983"/>
                <a:gd name="connsiteY155" fmla="*/ 2035831 h 5886900"/>
                <a:gd name="connsiteX156" fmla="*/ 755708 w 5821983"/>
                <a:gd name="connsiteY156" fmla="*/ 1976568 h 5886900"/>
                <a:gd name="connsiteX157" fmla="*/ 784281 w 5821983"/>
                <a:gd name="connsiteY157" fmla="*/ 1966690 h 5886900"/>
                <a:gd name="connsiteX158" fmla="*/ 808457 w 5821983"/>
                <a:gd name="connsiteY158" fmla="*/ 1994127 h 5886900"/>
                <a:gd name="connsiteX159" fmla="*/ 845822 w 5821983"/>
                <a:gd name="connsiteY159" fmla="*/ 1976568 h 5886900"/>
                <a:gd name="connsiteX160" fmla="*/ 817249 w 5821983"/>
                <a:gd name="connsiteY160" fmla="*/ 2035831 h 5886900"/>
                <a:gd name="connsiteX161" fmla="*/ 771093 w 5821983"/>
                <a:gd name="connsiteY161" fmla="*/ 2050099 h 5886900"/>
                <a:gd name="connsiteX162" fmla="*/ 807359 w 5821983"/>
                <a:gd name="connsiteY162" fmla="*/ 2076438 h 5886900"/>
                <a:gd name="connsiteX163" fmla="*/ 840327 w 5821983"/>
                <a:gd name="connsiteY163" fmla="*/ 2090706 h 5886900"/>
                <a:gd name="connsiteX164" fmla="*/ 911759 w 5821983"/>
                <a:gd name="connsiteY164" fmla="*/ 2066561 h 5886900"/>
                <a:gd name="connsiteX165" fmla="*/ 977696 w 5821983"/>
                <a:gd name="connsiteY165" fmla="*/ 2076438 h 5886900"/>
                <a:gd name="connsiteX166" fmla="*/ 951321 w 5821983"/>
                <a:gd name="connsiteY166" fmla="*/ 2109363 h 5886900"/>
                <a:gd name="connsiteX167" fmla="*/ 960113 w 5821983"/>
                <a:gd name="connsiteY167" fmla="*/ 2140092 h 5886900"/>
                <a:gd name="connsiteX168" fmla="*/ 931540 w 5821983"/>
                <a:gd name="connsiteY168" fmla="*/ 2177407 h 5886900"/>
                <a:gd name="connsiteX169" fmla="*/ 900769 w 5821983"/>
                <a:gd name="connsiteY169" fmla="*/ 2192772 h 5886900"/>
                <a:gd name="connsiteX170" fmla="*/ 908462 w 5821983"/>
                <a:gd name="connsiteY170" fmla="*/ 2236671 h 5886900"/>
                <a:gd name="connsiteX171" fmla="*/ 966706 w 5821983"/>
                <a:gd name="connsiteY171" fmla="*/ 2254231 h 5886900"/>
                <a:gd name="connsiteX172" fmla="*/ 1012862 w 5821983"/>
                <a:gd name="connsiteY172" fmla="*/ 2281668 h 5886900"/>
                <a:gd name="connsiteX173" fmla="*/ 1091987 w 5821983"/>
                <a:gd name="connsiteY173" fmla="*/ 2244353 h 5886900"/>
                <a:gd name="connsiteX174" fmla="*/ 1145835 w 5821983"/>
                <a:gd name="connsiteY174" fmla="*/ 2269596 h 5886900"/>
                <a:gd name="connsiteX175" fmla="*/ 1050226 w 5821983"/>
                <a:gd name="connsiteY175" fmla="*/ 2298130 h 5886900"/>
                <a:gd name="connsiteX176" fmla="*/ 1024951 w 5821983"/>
                <a:gd name="connsiteY176" fmla="*/ 2349712 h 5886900"/>
                <a:gd name="connsiteX177" fmla="*/ 1097481 w 5821983"/>
                <a:gd name="connsiteY177" fmla="*/ 2401294 h 5886900"/>
                <a:gd name="connsiteX178" fmla="*/ 1073304 w 5821983"/>
                <a:gd name="connsiteY178" fmla="*/ 2480312 h 5886900"/>
                <a:gd name="connsiteX179" fmla="*/ 1029346 w 5821983"/>
                <a:gd name="connsiteY179" fmla="*/ 2455070 h 5886900"/>
                <a:gd name="connsiteX180" fmla="*/ 991982 w 5821983"/>
                <a:gd name="connsiteY180" fmla="*/ 2415561 h 5886900"/>
                <a:gd name="connsiteX181" fmla="*/ 1002972 w 5821983"/>
                <a:gd name="connsiteY181" fmla="*/ 2466045 h 5886900"/>
                <a:gd name="connsiteX182" fmla="*/ 1029346 w 5821983"/>
                <a:gd name="connsiteY182" fmla="*/ 2502262 h 5886900"/>
                <a:gd name="connsiteX183" fmla="*/ 1037039 w 5821983"/>
                <a:gd name="connsiteY183" fmla="*/ 2551649 h 5886900"/>
                <a:gd name="connsiteX184" fmla="*/ 1050226 w 5821983"/>
                <a:gd name="connsiteY184" fmla="*/ 2604328 h 5886900"/>
                <a:gd name="connsiteX185" fmla="*/ 1102976 w 5821983"/>
                <a:gd name="connsiteY185" fmla="*/ 2677859 h 5886900"/>
                <a:gd name="connsiteX186" fmla="*/ 1141439 w 5821983"/>
                <a:gd name="connsiteY186" fmla="*/ 2759073 h 5886900"/>
                <a:gd name="connsiteX187" fmla="*/ 1161220 w 5821983"/>
                <a:gd name="connsiteY187" fmla="*/ 2843580 h 5886900"/>
                <a:gd name="connsiteX188" fmla="*/ 1270016 w 5821983"/>
                <a:gd name="connsiteY188" fmla="*/ 2881992 h 5886900"/>
                <a:gd name="connsiteX189" fmla="*/ 1286500 w 5821983"/>
                <a:gd name="connsiteY189" fmla="*/ 2940158 h 5886900"/>
                <a:gd name="connsiteX190" fmla="*/ 1352437 w 5821983"/>
                <a:gd name="connsiteY190" fmla="*/ 2952230 h 5886900"/>
                <a:gd name="connsiteX191" fmla="*/ 1396395 w 5821983"/>
                <a:gd name="connsiteY191" fmla="*/ 2990642 h 5886900"/>
                <a:gd name="connsiteX192" fmla="*/ 1428265 w 5821983"/>
                <a:gd name="connsiteY192" fmla="*/ 2954425 h 5886900"/>
                <a:gd name="connsiteX193" fmla="*/ 1443650 w 5821983"/>
                <a:gd name="connsiteY193" fmla="*/ 3019177 h 5886900"/>
                <a:gd name="connsiteX194" fmla="*/ 1378812 w 5821983"/>
                <a:gd name="connsiteY194" fmla="*/ 3074051 h 5886900"/>
                <a:gd name="connsiteX195" fmla="*/ 1428265 w 5821983"/>
                <a:gd name="connsiteY195" fmla="*/ 3123438 h 5886900"/>
                <a:gd name="connsiteX196" fmla="*/ 1415078 w 5821983"/>
                <a:gd name="connsiteY196" fmla="*/ 3201359 h 5886900"/>
                <a:gd name="connsiteX197" fmla="*/ 1413979 w 5821983"/>
                <a:gd name="connsiteY197" fmla="*/ 3259525 h 5886900"/>
                <a:gd name="connsiteX198" fmla="*/ 1365625 w 5821983"/>
                <a:gd name="connsiteY198" fmla="*/ 3288060 h 5886900"/>
                <a:gd name="connsiteX199" fmla="*/ 1345844 w 5821983"/>
                <a:gd name="connsiteY199" fmla="*/ 3169532 h 5886900"/>
                <a:gd name="connsiteX200" fmla="*/ 1302985 w 5821983"/>
                <a:gd name="connsiteY200" fmla="*/ 3139900 h 5886900"/>
                <a:gd name="connsiteX201" fmla="*/ 1259027 w 5821983"/>
                <a:gd name="connsiteY201" fmla="*/ 3136608 h 5886900"/>
                <a:gd name="connsiteX202" fmla="*/ 1298589 w 5821983"/>
                <a:gd name="connsiteY202" fmla="*/ 3235381 h 5886900"/>
                <a:gd name="connsiteX203" fmla="*/ 1355734 w 5821983"/>
                <a:gd name="connsiteY203" fmla="*/ 3292450 h 5886900"/>
                <a:gd name="connsiteX204" fmla="*/ 1396395 w 5821983"/>
                <a:gd name="connsiteY204" fmla="*/ 3327569 h 5886900"/>
                <a:gd name="connsiteX205" fmla="*/ 1428265 w 5821983"/>
                <a:gd name="connsiteY205" fmla="*/ 3371469 h 5886900"/>
                <a:gd name="connsiteX206" fmla="*/ 1352437 w 5821983"/>
                <a:gd name="connsiteY206" fmla="*/ 3346227 h 5886900"/>
                <a:gd name="connsiteX207" fmla="*/ 1320568 w 5821983"/>
                <a:gd name="connsiteY207" fmla="*/ 3382444 h 5886900"/>
                <a:gd name="connsiteX208" fmla="*/ 1388703 w 5821983"/>
                <a:gd name="connsiteY208" fmla="*/ 3417563 h 5886900"/>
                <a:gd name="connsiteX209" fmla="*/ 1420572 w 5821983"/>
                <a:gd name="connsiteY209" fmla="*/ 3494387 h 5886900"/>
                <a:gd name="connsiteX210" fmla="*/ 1481015 w 5821983"/>
                <a:gd name="connsiteY210" fmla="*/ 3525117 h 5886900"/>
                <a:gd name="connsiteX211" fmla="*/ 1521676 w 5821983"/>
                <a:gd name="connsiteY211" fmla="*/ 3593161 h 5886900"/>
                <a:gd name="connsiteX212" fmla="*/ 1522774 w 5821983"/>
                <a:gd name="connsiteY212" fmla="*/ 3684252 h 5886900"/>
                <a:gd name="connsiteX213" fmla="*/ 1520577 w 5821983"/>
                <a:gd name="connsiteY213" fmla="*/ 3794000 h 5886900"/>
                <a:gd name="connsiteX214" fmla="*/ 1496400 w 5821983"/>
                <a:gd name="connsiteY214" fmla="*/ 3818145 h 5886900"/>
                <a:gd name="connsiteX215" fmla="*/ 1486509 w 5821983"/>
                <a:gd name="connsiteY215" fmla="*/ 3671082 h 5886900"/>
                <a:gd name="connsiteX216" fmla="*/ 1442551 w 5821983"/>
                <a:gd name="connsiteY216" fmla="*/ 3578893 h 5886900"/>
                <a:gd name="connsiteX217" fmla="*/ 1399692 w 5821983"/>
                <a:gd name="connsiteY217" fmla="*/ 3534994 h 5886900"/>
                <a:gd name="connsiteX218" fmla="*/ 1373318 w 5821983"/>
                <a:gd name="connsiteY218" fmla="*/ 3475730 h 5886900"/>
                <a:gd name="connsiteX219" fmla="*/ 1331557 w 5821983"/>
                <a:gd name="connsiteY219" fmla="*/ 3551456 h 5886900"/>
                <a:gd name="connsiteX220" fmla="*/ 1321667 w 5821983"/>
                <a:gd name="connsiteY220" fmla="*/ 3622793 h 5886900"/>
                <a:gd name="connsiteX221" fmla="*/ 1251334 w 5821983"/>
                <a:gd name="connsiteY221" fmla="*/ 3828022 h 5886900"/>
                <a:gd name="connsiteX222" fmla="*/ 1222761 w 5821983"/>
                <a:gd name="connsiteY222" fmla="*/ 3982767 h 5886900"/>
                <a:gd name="connsiteX223" fmla="*/ 1199683 w 5821983"/>
                <a:gd name="connsiteY223" fmla="*/ 4078248 h 5886900"/>
                <a:gd name="connsiteX224" fmla="*/ 1255730 w 5821983"/>
                <a:gd name="connsiteY224" fmla="*/ 4018984 h 5886900"/>
                <a:gd name="connsiteX225" fmla="*/ 1296391 w 5821983"/>
                <a:gd name="connsiteY225" fmla="*/ 4018984 h 5886900"/>
                <a:gd name="connsiteX226" fmla="*/ 1281006 w 5821983"/>
                <a:gd name="connsiteY226" fmla="*/ 4083736 h 5886900"/>
                <a:gd name="connsiteX227" fmla="*/ 1222761 w 5821983"/>
                <a:gd name="connsiteY227" fmla="*/ 4103490 h 5886900"/>
                <a:gd name="connsiteX228" fmla="*/ 1179903 w 5821983"/>
                <a:gd name="connsiteY228" fmla="*/ 4163852 h 5886900"/>
                <a:gd name="connsiteX229" fmla="*/ 1168913 w 5821983"/>
                <a:gd name="connsiteY229" fmla="*/ 4222019 h 5886900"/>
                <a:gd name="connsiteX230" fmla="*/ 1100778 w 5821983"/>
                <a:gd name="connsiteY230" fmla="*/ 4417370 h 5886900"/>
                <a:gd name="connsiteX231" fmla="*/ 1062315 w 5821983"/>
                <a:gd name="connsiteY231" fmla="*/ 4555654 h 5886900"/>
                <a:gd name="connsiteX232" fmla="*/ 1006268 w 5821983"/>
                <a:gd name="connsiteY232" fmla="*/ 4713691 h 5886900"/>
                <a:gd name="connsiteX233" fmla="*/ 893077 w 5821983"/>
                <a:gd name="connsiteY233" fmla="*/ 4862949 h 5886900"/>
                <a:gd name="connsiteX234" fmla="*/ 806260 w 5821983"/>
                <a:gd name="connsiteY234" fmla="*/ 4893679 h 5886900"/>
                <a:gd name="connsiteX235" fmla="*/ 819447 w 5821983"/>
                <a:gd name="connsiteY235" fmla="*/ 4906848 h 5886900"/>
                <a:gd name="connsiteX236" fmla="*/ 829338 w 5821983"/>
                <a:gd name="connsiteY236" fmla="*/ 4920018 h 5886900"/>
                <a:gd name="connsiteX237" fmla="*/ 846921 w 5821983"/>
                <a:gd name="connsiteY237" fmla="*/ 4930993 h 5886900"/>
                <a:gd name="connsiteX238" fmla="*/ 882087 w 5821983"/>
                <a:gd name="connsiteY238" fmla="*/ 4963918 h 5886900"/>
                <a:gd name="connsiteX239" fmla="*/ 887582 w 5821983"/>
                <a:gd name="connsiteY239" fmla="*/ 4975990 h 5886900"/>
                <a:gd name="connsiteX240" fmla="*/ 891978 w 5821983"/>
                <a:gd name="connsiteY240" fmla="*/ 4980380 h 5886900"/>
                <a:gd name="connsiteX241" fmla="*/ 891978 w 5821983"/>
                <a:gd name="connsiteY241" fmla="*/ 4980380 h 5886900"/>
                <a:gd name="connsiteX242" fmla="*/ 905165 w 5821983"/>
                <a:gd name="connsiteY242" fmla="*/ 4969405 h 5886900"/>
                <a:gd name="connsiteX243" fmla="*/ 912858 w 5821983"/>
                <a:gd name="connsiteY243" fmla="*/ 4961723 h 5886900"/>
                <a:gd name="connsiteX244" fmla="*/ 943628 w 5821983"/>
                <a:gd name="connsiteY244" fmla="*/ 4969405 h 5886900"/>
                <a:gd name="connsiteX245" fmla="*/ 951321 w 5821983"/>
                <a:gd name="connsiteY245" fmla="*/ 4977087 h 5886900"/>
                <a:gd name="connsiteX246" fmla="*/ 966706 w 5821983"/>
                <a:gd name="connsiteY246" fmla="*/ 4981477 h 5886900"/>
                <a:gd name="connsiteX247" fmla="*/ 1002972 w 5821983"/>
                <a:gd name="connsiteY247" fmla="*/ 5002330 h 5886900"/>
                <a:gd name="connsiteX248" fmla="*/ 1005170 w 5821983"/>
                <a:gd name="connsiteY248" fmla="*/ 5028669 h 5886900"/>
                <a:gd name="connsiteX249" fmla="*/ 1006268 w 5821983"/>
                <a:gd name="connsiteY249" fmla="*/ 5042936 h 5886900"/>
                <a:gd name="connsiteX250" fmla="*/ 979894 w 5821983"/>
                <a:gd name="connsiteY250" fmla="*/ 5086835 h 5886900"/>
                <a:gd name="connsiteX251" fmla="*/ 960113 w 5821983"/>
                <a:gd name="connsiteY251" fmla="*/ 5107688 h 5886900"/>
                <a:gd name="connsiteX252" fmla="*/ 961212 w 5821983"/>
                <a:gd name="connsiteY252" fmla="*/ 5121955 h 5886900"/>
                <a:gd name="connsiteX253" fmla="*/ 996378 w 5821983"/>
                <a:gd name="connsiteY253" fmla="*/ 5145002 h 5886900"/>
                <a:gd name="connsiteX254" fmla="*/ 1006268 w 5821983"/>
                <a:gd name="connsiteY254" fmla="*/ 5129637 h 5886900"/>
                <a:gd name="connsiteX255" fmla="*/ 1027149 w 5821983"/>
                <a:gd name="connsiteY255" fmla="*/ 5103298 h 5886900"/>
                <a:gd name="connsiteX256" fmla="*/ 1041435 w 5821983"/>
                <a:gd name="connsiteY256" fmla="*/ 5106591 h 5886900"/>
                <a:gd name="connsiteX257" fmla="*/ 1049128 w 5821983"/>
                <a:gd name="connsiteY257" fmla="*/ 5128540 h 5886900"/>
                <a:gd name="connsiteX258" fmla="*/ 1052424 w 5821983"/>
                <a:gd name="connsiteY258" fmla="*/ 5147197 h 5886900"/>
                <a:gd name="connsiteX259" fmla="*/ 1132648 w 5821983"/>
                <a:gd name="connsiteY259" fmla="*/ 5195486 h 5886900"/>
                <a:gd name="connsiteX260" fmla="*/ 1217267 w 5821983"/>
                <a:gd name="connsiteY260" fmla="*/ 5239386 h 5886900"/>
                <a:gd name="connsiteX261" fmla="*/ 1234850 w 5821983"/>
                <a:gd name="connsiteY261" fmla="*/ 5250361 h 5886900"/>
                <a:gd name="connsiteX262" fmla="*/ 1256829 w 5821983"/>
                <a:gd name="connsiteY262" fmla="*/ 5254751 h 5886900"/>
                <a:gd name="connsiteX263" fmla="*/ 1295292 w 5821983"/>
                <a:gd name="connsiteY263" fmla="*/ 5274505 h 5886900"/>
                <a:gd name="connsiteX264" fmla="*/ 1302985 w 5821983"/>
                <a:gd name="connsiteY264" fmla="*/ 5292065 h 5886900"/>
                <a:gd name="connsiteX265" fmla="*/ 1321667 w 5821983"/>
                <a:gd name="connsiteY265" fmla="*/ 5311819 h 5886900"/>
                <a:gd name="connsiteX266" fmla="*/ 1353536 w 5821983"/>
                <a:gd name="connsiteY266" fmla="*/ 5349134 h 5886900"/>
                <a:gd name="connsiteX267" fmla="*/ 1363427 w 5821983"/>
                <a:gd name="connsiteY267" fmla="*/ 5369987 h 5886900"/>
                <a:gd name="connsiteX268" fmla="*/ 1431562 w 5821983"/>
                <a:gd name="connsiteY268" fmla="*/ 5382059 h 5886900"/>
                <a:gd name="connsiteX269" fmla="*/ 1449145 w 5821983"/>
                <a:gd name="connsiteY269" fmla="*/ 5380961 h 5886900"/>
                <a:gd name="connsiteX270" fmla="*/ 1467827 w 5821983"/>
                <a:gd name="connsiteY270" fmla="*/ 5373279 h 5886900"/>
                <a:gd name="connsiteX271" fmla="*/ 1507389 w 5821983"/>
                <a:gd name="connsiteY271" fmla="*/ 5364499 h 5886900"/>
                <a:gd name="connsiteX272" fmla="*/ 1549150 w 5821983"/>
                <a:gd name="connsiteY272" fmla="*/ 5400716 h 5886900"/>
                <a:gd name="connsiteX273" fmla="*/ 1565634 w 5821983"/>
                <a:gd name="connsiteY273" fmla="*/ 5420471 h 5886900"/>
                <a:gd name="connsiteX274" fmla="*/ 1577722 w 5821983"/>
                <a:gd name="connsiteY274" fmla="*/ 5432543 h 5886900"/>
                <a:gd name="connsiteX275" fmla="*/ 1601899 w 5821983"/>
                <a:gd name="connsiteY275" fmla="*/ 5469857 h 5886900"/>
                <a:gd name="connsiteX276" fmla="*/ 1652451 w 5821983"/>
                <a:gd name="connsiteY276" fmla="*/ 5487417 h 5886900"/>
                <a:gd name="connsiteX277" fmla="*/ 1657945 w 5821983"/>
                <a:gd name="connsiteY277" fmla="*/ 5487417 h 5886900"/>
                <a:gd name="connsiteX278" fmla="*/ 1679924 w 5821983"/>
                <a:gd name="connsiteY278" fmla="*/ 5480832 h 5886900"/>
                <a:gd name="connsiteX279" fmla="*/ 1709596 w 5821983"/>
                <a:gd name="connsiteY279" fmla="*/ 5474247 h 5886900"/>
                <a:gd name="connsiteX280" fmla="*/ 1749158 w 5821983"/>
                <a:gd name="connsiteY280" fmla="*/ 5489612 h 5886900"/>
                <a:gd name="connsiteX281" fmla="*/ 1787621 w 5821983"/>
                <a:gd name="connsiteY281" fmla="*/ 5503879 h 5886900"/>
                <a:gd name="connsiteX282" fmla="*/ 1794215 w 5821983"/>
                <a:gd name="connsiteY282" fmla="*/ 5501685 h 5886900"/>
                <a:gd name="connsiteX283" fmla="*/ 1846964 w 5821983"/>
                <a:gd name="connsiteY283" fmla="*/ 5517049 h 5886900"/>
                <a:gd name="connsiteX284" fmla="*/ 1898615 w 5821983"/>
                <a:gd name="connsiteY284" fmla="*/ 5523634 h 5886900"/>
                <a:gd name="connsiteX285" fmla="*/ 1946969 w 5821983"/>
                <a:gd name="connsiteY285" fmla="*/ 5532414 h 5886900"/>
                <a:gd name="connsiteX286" fmla="*/ 1953563 w 5821983"/>
                <a:gd name="connsiteY286" fmla="*/ 5537901 h 5886900"/>
                <a:gd name="connsiteX287" fmla="*/ 1959057 w 5821983"/>
                <a:gd name="connsiteY287" fmla="*/ 5480832 h 5886900"/>
                <a:gd name="connsiteX288" fmla="*/ 1971146 w 5821983"/>
                <a:gd name="connsiteY288" fmla="*/ 5432543 h 5886900"/>
                <a:gd name="connsiteX289" fmla="*/ 2024994 w 5821983"/>
                <a:gd name="connsiteY289" fmla="*/ 5425958 h 5886900"/>
                <a:gd name="connsiteX290" fmla="*/ 2066754 w 5821983"/>
                <a:gd name="connsiteY290" fmla="*/ 5447908 h 5886900"/>
                <a:gd name="connsiteX291" fmla="*/ 2134889 w 5821983"/>
                <a:gd name="connsiteY291" fmla="*/ 5473150 h 5886900"/>
                <a:gd name="connsiteX292" fmla="*/ 2186540 w 5821983"/>
                <a:gd name="connsiteY292" fmla="*/ 5498392 h 5886900"/>
                <a:gd name="connsiteX293" fmla="*/ 2217311 w 5821983"/>
                <a:gd name="connsiteY293" fmla="*/ 5529122 h 5886900"/>
                <a:gd name="connsiteX294" fmla="*/ 2286544 w 5821983"/>
                <a:gd name="connsiteY294" fmla="*/ 5558753 h 5886900"/>
                <a:gd name="connsiteX295" fmla="*/ 2328304 w 5821983"/>
                <a:gd name="connsiteY295" fmla="*/ 5573021 h 5886900"/>
                <a:gd name="connsiteX296" fmla="*/ 2342591 w 5821983"/>
                <a:gd name="connsiteY296" fmla="*/ 5610335 h 5886900"/>
                <a:gd name="connsiteX297" fmla="*/ 2400835 w 5821983"/>
                <a:gd name="connsiteY297" fmla="*/ 5600458 h 5886900"/>
                <a:gd name="connsiteX298" fmla="*/ 2434902 w 5821983"/>
                <a:gd name="connsiteY298" fmla="*/ 5618018 h 5886900"/>
                <a:gd name="connsiteX299" fmla="*/ 2450288 w 5821983"/>
                <a:gd name="connsiteY299" fmla="*/ 5630090 h 5886900"/>
                <a:gd name="connsiteX300" fmla="*/ 2479960 w 5821983"/>
                <a:gd name="connsiteY300" fmla="*/ 5632285 h 5886900"/>
                <a:gd name="connsiteX301" fmla="*/ 2515125 w 5821983"/>
                <a:gd name="connsiteY301" fmla="*/ 5635577 h 5886900"/>
                <a:gd name="connsiteX302" fmla="*/ 2532709 w 5821983"/>
                <a:gd name="connsiteY302" fmla="*/ 5654234 h 5886900"/>
                <a:gd name="connsiteX303" fmla="*/ 2515125 w 5821983"/>
                <a:gd name="connsiteY303" fmla="*/ 5694841 h 5886900"/>
                <a:gd name="connsiteX304" fmla="*/ 2495345 w 5821983"/>
                <a:gd name="connsiteY304" fmla="*/ 5736546 h 5886900"/>
                <a:gd name="connsiteX305" fmla="*/ 2499741 w 5821983"/>
                <a:gd name="connsiteY305" fmla="*/ 5737644 h 5886900"/>
                <a:gd name="connsiteX306" fmla="*/ 2541501 w 5821983"/>
                <a:gd name="connsiteY306" fmla="*/ 5738741 h 5886900"/>
                <a:gd name="connsiteX307" fmla="*/ 2605239 w 5821983"/>
                <a:gd name="connsiteY307" fmla="*/ 5753008 h 5886900"/>
                <a:gd name="connsiteX308" fmla="*/ 2619526 w 5821983"/>
                <a:gd name="connsiteY308" fmla="*/ 5805687 h 5886900"/>
                <a:gd name="connsiteX309" fmla="*/ 2629416 w 5821983"/>
                <a:gd name="connsiteY309" fmla="*/ 5838611 h 5886900"/>
                <a:gd name="connsiteX310" fmla="*/ 2688760 w 5821983"/>
                <a:gd name="connsiteY310" fmla="*/ 5819955 h 5886900"/>
                <a:gd name="connsiteX311" fmla="*/ 2718431 w 5821983"/>
                <a:gd name="connsiteY311" fmla="*/ 5803493 h 5886900"/>
                <a:gd name="connsiteX312" fmla="*/ 2811842 w 5821983"/>
                <a:gd name="connsiteY312" fmla="*/ 5843002 h 5886900"/>
                <a:gd name="connsiteX313" fmla="*/ 2873383 w 5821983"/>
                <a:gd name="connsiteY313" fmla="*/ 5862756 h 5886900"/>
                <a:gd name="connsiteX314" fmla="*/ 2916242 w 5821983"/>
                <a:gd name="connsiteY314" fmla="*/ 5877023 h 5886900"/>
                <a:gd name="connsiteX315" fmla="*/ 2933826 w 5821983"/>
                <a:gd name="connsiteY315" fmla="*/ 5886901 h 5886900"/>
                <a:gd name="connsiteX316" fmla="*/ 2952508 w 5821983"/>
                <a:gd name="connsiteY316" fmla="*/ 5867146 h 5886900"/>
                <a:gd name="connsiteX317" fmla="*/ 2964596 w 5821983"/>
                <a:gd name="connsiteY317" fmla="*/ 5839709 h 5886900"/>
                <a:gd name="connsiteX318" fmla="*/ 3040424 w 5821983"/>
                <a:gd name="connsiteY318" fmla="*/ 5815565 h 5886900"/>
                <a:gd name="connsiteX319" fmla="*/ 3058007 w 5821983"/>
                <a:gd name="connsiteY319" fmla="*/ 5815565 h 5886900"/>
                <a:gd name="connsiteX320" fmla="*/ 3081084 w 5821983"/>
                <a:gd name="connsiteY320" fmla="*/ 5812272 h 5886900"/>
                <a:gd name="connsiteX321" fmla="*/ 3151417 w 5821983"/>
                <a:gd name="connsiteY321" fmla="*/ 5817760 h 5886900"/>
                <a:gd name="connsiteX322" fmla="*/ 3197573 w 5821983"/>
                <a:gd name="connsiteY322" fmla="*/ 5834222 h 5886900"/>
                <a:gd name="connsiteX323" fmla="*/ 3181089 w 5821983"/>
                <a:gd name="connsiteY323" fmla="*/ 5779348 h 5886900"/>
                <a:gd name="connsiteX324" fmla="*/ 3134933 w 5821983"/>
                <a:gd name="connsiteY324" fmla="*/ 5702524 h 5886900"/>
                <a:gd name="connsiteX325" fmla="*/ 3150319 w 5821983"/>
                <a:gd name="connsiteY325" fmla="*/ 5598263 h 5886900"/>
                <a:gd name="connsiteX326" fmla="*/ 3096470 w 5821983"/>
                <a:gd name="connsiteY326" fmla="*/ 5514854 h 5886900"/>
                <a:gd name="connsiteX327" fmla="*/ 3155813 w 5821983"/>
                <a:gd name="connsiteY327" fmla="*/ 5549973 h 5886900"/>
                <a:gd name="connsiteX328" fmla="*/ 3169000 w 5821983"/>
                <a:gd name="connsiteY328" fmla="*/ 5476442 h 5886900"/>
                <a:gd name="connsiteX329" fmla="*/ 3212958 w 5821983"/>
                <a:gd name="connsiteY329" fmla="*/ 5413886 h 5886900"/>
                <a:gd name="connsiteX330" fmla="*/ 3188782 w 5821983"/>
                <a:gd name="connsiteY330" fmla="*/ 5362304 h 5886900"/>
                <a:gd name="connsiteX331" fmla="*/ 3238235 w 5821983"/>
                <a:gd name="connsiteY331" fmla="*/ 5386449 h 5886900"/>
                <a:gd name="connsiteX332" fmla="*/ 3283291 w 5821983"/>
                <a:gd name="connsiteY332" fmla="*/ 5329380 h 5886900"/>
                <a:gd name="connsiteX333" fmla="*/ 3350327 w 5821983"/>
                <a:gd name="connsiteY333" fmla="*/ 5288773 h 5886900"/>
                <a:gd name="connsiteX334" fmla="*/ 3410769 w 5821983"/>
                <a:gd name="connsiteY334" fmla="*/ 5286577 h 5886900"/>
                <a:gd name="connsiteX335" fmla="*/ 3476706 w 5821983"/>
                <a:gd name="connsiteY335" fmla="*/ 5255848 h 5886900"/>
                <a:gd name="connsiteX336" fmla="*/ 3670121 w 5821983"/>
                <a:gd name="connsiteY336" fmla="*/ 5116468 h 5886900"/>
                <a:gd name="connsiteX337" fmla="*/ 3747048 w 5821983"/>
                <a:gd name="connsiteY337" fmla="*/ 5188902 h 5886900"/>
                <a:gd name="connsiteX338" fmla="*/ 3836063 w 5821983"/>
                <a:gd name="connsiteY338" fmla="*/ 5173537 h 5886900"/>
                <a:gd name="connsiteX339" fmla="*/ 3905296 w 5821983"/>
                <a:gd name="connsiteY339" fmla="*/ 5204266 h 5886900"/>
                <a:gd name="connsiteX340" fmla="*/ 3956947 w 5821983"/>
                <a:gd name="connsiteY340" fmla="*/ 5230606 h 5886900"/>
                <a:gd name="connsiteX341" fmla="*/ 3984421 w 5821983"/>
                <a:gd name="connsiteY341" fmla="*/ 5276700 h 5886900"/>
                <a:gd name="connsiteX342" fmla="*/ 4056952 w 5821983"/>
                <a:gd name="connsiteY342" fmla="*/ 5276700 h 5886900"/>
                <a:gd name="connsiteX343" fmla="*/ 4136075 w 5821983"/>
                <a:gd name="connsiteY343" fmla="*/ 5230606 h 5886900"/>
                <a:gd name="connsiteX344" fmla="*/ 4193221 w 5821983"/>
                <a:gd name="connsiteY344" fmla="*/ 5214144 h 5886900"/>
                <a:gd name="connsiteX345" fmla="*/ 4208607 w 5821983"/>
                <a:gd name="connsiteY345" fmla="*/ 5132930 h 5886900"/>
                <a:gd name="connsiteX346" fmla="*/ 4227289 w 5821983"/>
                <a:gd name="connsiteY346" fmla="*/ 5237191 h 5886900"/>
                <a:gd name="connsiteX347" fmla="*/ 4176737 w 5821983"/>
                <a:gd name="connsiteY347" fmla="*/ 5319502 h 5886900"/>
                <a:gd name="connsiteX348" fmla="*/ 4274544 w 5821983"/>
                <a:gd name="connsiteY348" fmla="*/ 5315112 h 5886900"/>
                <a:gd name="connsiteX349" fmla="*/ 4332788 w 5821983"/>
                <a:gd name="connsiteY349" fmla="*/ 5312917 h 5886900"/>
                <a:gd name="connsiteX350" fmla="*/ 4303116 w 5821983"/>
                <a:gd name="connsiteY350" fmla="*/ 5365596 h 5886900"/>
                <a:gd name="connsiteX351" fmla="*/ 4330590 w 5821983"/>
                <a:gd name="connsiteY351" fmla="*/ 5404008 h 5886900"/>
                <a:gd name="connsiteX352" fmla="*/ 4408616 w 5821983"/>
                <a:gd name="connsiteY352" fmla="*/ 5400716 h 5886900"/>
                <a:gd name="connsiteX353" fmla="*/ 4464662 w 5821983"/>
                <a:gd name="connsiteY353" fmla="*/ 5423763 h 5886900"/>
                <a:gd name="connsiteX354" fmla="*/ 4502026 w 5821983"/>
                <a:gd name="connsiteY354" fmla="*/ 5449005 h 5886900"/>
                <a:gd name="connsiteX355" fmla="*/ 4534995 w 5821983"/>
                <a:gd name="connsiteY355" fmla="*/ 5464370 h 5886900"/>
                <a:gd name="connsiteX356" fmla="*/ 4530599 w 5821983"/>
                <a:gd name="connsiteY356" fmla="*/ 5499489 h 5886900"/>
                <a:gd name="connsiteX357" fmla="*/ 4570161 w 5821983"/>
                <a:gd name="connsiteY357" fmla="*/ 5502782 h 5886900"/>
                <a:gd name="connsiteX358" fmla="*/ 4589942 w 5821983"/>
                <a:gd name="connsiteY358" fmla="*/ 5503879 h 5886900"/>
                <a:gd name="connsiteX359" fmla="*/ 4620713 w 5821983"/>
                <a:gd name="connsiteY359" fmla="*/ 5500587 h 5886900"/>
                <a:gd name="connsiteX360" fmla="*/ 4647087 w 5821983"/>
                <a:gd name="connsiteY360" fmla="*/ 5465467 h 5886900"/>
                <a:gd name="connsiteX361" fmla="*/ 4691045 w 5821983"/>
                <a:gd name="connsiteY361" fmla="*/ 5492904 h 5886900"/>
                <a:gd name="connsiteX362" fmla="*/ 4676759 w 5821983"/>
                <a:gd name="connsiteY362" fmla="*/ 5537901 h 5886900"/>
                <a:gd name="connsiteX363" fmla="*/ 4718519 w 5821983"/>
                <a:gd name="connsiteY363" fmla="*/ 5553266 h 5886900"/>
                <a:gd name="connsiteX364" fmla="*/ 4741597 w 5821983"/>
                <a:gd name="connsiteY364" fmla="*/ 5511562 h 5886900"/>
                <a:gd name="connsiteX365" fmla="*/ 4755883 w 5821983"/>
                <a:gd name="connsiteY365" fmla="*/ 5474247 h 5886900"/>
                <a:gd name="connsiteX366" fmla="*/ 4802039 w 5821983"/>
                <a:gd name="connsiteY366" fmla="*/ 5483027 h 5886900"/>
                <a:gd name="connsiteX367" fmla="*/ 4827315 w 5821983"/>
                <a:gd name="connsiteY367" fmla="*/ 5513757 h 5886900"/>
                <a:gd name="connsiteX368" fmla="*/ 4842700 w 5821983"/>
                <a:gd name="connsiteY368" fmla="*/ 5473150 h 5886900"/>
                <a:gd name="connsiteX369" fmla="*/ 4874570 w 5821983"/>
                <a:gd name="connsiteY369" fmla="*/ 5458882 h 5886900"/>
                <a:gd name="connsiteX370" fmla="*/ 4916330 w 5821983"/>
                <a:gd name="connsiteY370" fmla="*/ 5444615 h 5886900"/>
                <a:gd name="connsiteX371" fmla="*/ 4958090 w 5821983"/>
                <a:gd name="connsiteY371" fmla="*/ 5462175 h 5886900"/>
                <a:gd name="connsiteX372" fmla="*/ 4980069 w 5821983"/>
                <a:gd name="connsiteY372" fmla="*/ 5404008 h 5886900"/>
                <a:gd name="connsiteX373" fmla="*/ 4995454 w 5821983"/>
                <a:gd name="connsiteY373" fmla="*/ 5366694 h 5886900"/>
                <a:gd name="connsiteX374" fmla="*/ 4949298 w 5821983"/>
                <a:gd name="connsiteY374" fmla="*/ 5379864 h 5886900"/>
                <a:gd name="connsiteX375" fmla="*/ 4986663 w 5821983"/>
                <a:gd name="connsiteY375" fmla="*/ 5346939 h 5886900"/>
                <a:gd name="connsiteX376" fmla="*/ 5015235 w 5821983"/>
                <a:gd name="connsiteY376" fmla="*/ 5303040 h 5886900"/>
                <a:gd name="connsiteX377" fmla="*/ 5056996 w 5821983"/>
                <a:gd name="connsiteY377" fmla="*/ 5276700 h 5886900"/>
                <a:gd name="connsiteX378" fmla="*/ 5117438 w 5821983"/>
                <a:gd name="connsiteY378" fmla="*/ 5258043 h 5886900"/>
                <a:gd name="connsiteX379" fmla="*/ 5157000 w 5821983"/>
                <a:gd name="connsiteY379" fmla="*/ 5211949 h 5886900"/>
                <a:gd name="connsiteX380" fmla="*/ 5220739 w 5821983"/>
                <a:gd name="connsiteY380" fmla="*/ 5195486 h 5886900"/>
                <a:gd name="connsiteX381" fmla="*/ 5249312 w 5821983"/>
                <a:gd name="connsiteY381" fmla="*/ 5130735 h 5886900"/>
                <a:gd name="connsiteX382" fmla="*/ 5342722 w 5821983"/>
                <a:gd name="connsiteY382" fmla="*/ 5114272 h 5886900"/>
                <a:gd name="connsiteX383" fmla="*/ 5397670 w 5821983"/>
                <a:gd name="connsiteY383" fmla="*/ 5089030 h 5886900"/>
                <a:gd name="connsiteX384" fmla="*/ 5433935 w 5821983"/>
                <a:gd name="connsiteY384" fmla="*/ 5062691 h 5886900"/>
                <a:gd name="connsiteX385" fmla="*/ 5413055 w 5821983"/>
                <a:gd name="connsiteY385" fmla="*/ 5000135 h 5886900"/>
                <a:gd name="connsiteX386" fmla="*/ 5428440 w 5821983"/>
                <a:gd name="connsiteY386" fmla="*/ 4978185 h 5886900"/>
                <a:gd name="connsiteX387" fmla="*/ 5441628 w 5821983"/>
                <a:gd name="connsiteY387" fmla="*/ 4961723 h 5886900"/>
                <a:gd name="connsiteX388" fmla="*/ 5446023 w 5821983"/>
                <a:gd name="connsiteY388" fmla="*/ 4938675 h 5886900"/>
                <a:gd name="connsiteX389" fmla="*/ 5461409 w 5821983"/>
                <a:gd name="connsiteY389" fmla="*/ 4910141 h 5886900"/>
                <a:gd name="connsiteX390" fmla="*/ 5478992 w 5821983"/>
                <a:gd name="connsiteY390" fmla="*/ 4902458 h 5886900"/>
                <a:gd name="connsiteX391" fmla="*/ 5500971 w 5821983"/>
                <a:gd name="connsiteY391" fmla="*/ 4882704 h 5886900"/>
                <a:gd name="connsiteX392" fmla="*/ 5505367 w 5821983"/>
                <a:gd name="connsiteY392" fmla="*/ 4842097 h 5886900"/>
                <a:gd name="connsiteX393" fmla="*/ 5498773 w 5821983"/>
                <a:gd name="connsiteY393" fmla="*/ 4828927 h 5886900"/>
                <a:gd name="connsiteX394" fmla="*/ 5493278 w 5821983"/>
                <a:gd name="connsiteY394" fmla="*/ 4801490 h 5886900"/>
                <a:gd name="connsiteX395" fmla="*/ 5482288 w 5821983"/>
                <a:gd name="connsiteY395" fmla="*/ 4777346 h 5886900"/>
                <a:gd name="connsiteX396" fmla="*/ 5462507 w 5821983"/>
                <a:gd name="connsiteY396" fmla="*/ 4788320 h 5886900"/>
                <a:gd name="connsiteX397" fmla="*/ 5442726 w 5821983"/>
                <a:gd name="connsiteY397" fmla="*/ 4808075 h 5886900"/>
                <a:gd name="connsiteX398" fmla="*/ 5347118 w 5821983"/>
                <a:gd name="connsiteY398" fmla="*/ 4830025 h 5886900"/>
                <a:gd name="connsiteX399" fmla="*/ 5303160 w 5821983"/>
                <a:gd name="connsiteY399" fmla="*/ 4801490 h 5886900"/>
                <a:gd name="connsiteX400" fmla="*/ 5277884 w 5821983"/>
                <a:gd name="connsiteY400" fmla="*/ 4778443 h 5886900"/>
                <a:gd name="connsiteX401" fmla="*/ 5253707 w 5821983"/>
                <a:gd name="connsiteY401" fmla="*/ 4778443 h 5886900"/>
                <a:gd name="connsiteX402" fmla="*/ 5221838 w 5821983"/>
                <a:gd name="connsiteY402" fmla="*/ 4767468 h 5886900"/>
                <a:gd name="connsiteX403" fmla="*/ 5177880 w 5821983"/>
                <a:gd name="connsiteY403" fmla="*/ 4734543 h 5886900"/>
                <a:gd name="connsiteX404" fmla="*/ 5143812 w 5821983"/>
                <a:gd name="connsiteY404" fmla="*/ 4689547 h 5886900"/>
                <a:gd name="connsiteX405" fmla="*/ 5132823 w 5821983"/>
                <a:gd name="connsiteY405" fmla="*/ 4666499 h 5886900"/>
                <a:gd name="connsiteX406" fmla="*/ 5121833 w 5821983"/>
                <a:gd name="connsiteY406" fmla="*/ 4639062 h 5886900"/>
                <a:gd name="connsiteX407" fmla="*/ 5135021 w 5821983"/>
                <a:gd name="connsiteY407" fmla="*/ 4594066 h 5886900"/>
                <a:gd name="connsiteX408" fmla="*/ 5129526 w 5821983"/>
                <a:gd name="connsiteY408" fmla="*/ 4563336 h 5886900"/>
                <a:gd name="connsiteX409" fmla="*/ 5117438 w 5821983"/>
                <a:gd name="connsiteY409" fmla="*/ 4519437 h 5886900"/>
                <a:gd name="connsiteX410" fmla="*/ 5130625 w 5821983"/>
                <a:gd name="connsiteY410" fmla="*/ 4507364 h 5886900"/>
                <a:gd name="connsiteX411" fmla="*/ 5153703 w 5821983"/>
                <a:gd name="connsiteY411" fmla="*/ 4479927 h 5886900"/>
                <a:gd name="connsiteX412" fmla="*/ 5154802 w 5821983"/>
                <a:gd name="connsiteY412" fmla="*/ 4473343 h 5886900"/>
                <a:gd name="connsiteX413" fmla="*/ 5167989 w 5821983"/>
                <a:gd name="connsiteY413" fmla="*/ 4439320 h 5886900"/>
                <a:gd name="connsiteX414" fmla="*/ 5187770 w 5821983"/>
                <a:gd name="connsiteY414" fmla="*/ 4437126 h 5886900"/>
                <a:gd name="connsiteX415" fmla="*/ 5221838 w 5821983"/>
                <a:gd name="connsiteY415" fmla="*/ 4428345 h 5886900"/>
                <a:gd name="connsiteX416" fmla="*/ 5219640 w 5821983"/>
                <a:gd name="connsiteY416" fmla="*/ 4416273 h 5886900"/>
                <a:gd name="connsiteX417" fmla="*/ 5196562 w 5821983"/>
                <a:gd name="connsiteY417" fmla="*/ 4354814 h 5886900"/>
                <a:gd name="connsiteX418" fmla="*/ 5181177 w 5821983"/>
                <a:gd name="connsiteY418" fmla="*/ 4322987 h 5886900"/>
                <a:gd name="connsiteX419" fmla="*/ 5169088 w 5821983"/>
                <a:gd name="connsiteY419" fmla="*/ 4321890 h 5886900"/>
                <a:gd name="connsiteX420" fmla="*/ 5107547 w 5821983"/>
                <a:gd name="connsiteY420" fmla="*/ 4316403 h 5886900"/>
                <a:gd name="connsiteX421" fmla="*/ 5089964 w 5821983"/>
                <a:gd name="connsiteY421" fmla="*/ 4301038 h 5886900"/>
                <a:gd name="connsiteX422" fmla="*/ 5082271 w 5821983"/>
                <a:gd name="connsiteY422" fmla="*/ 4271405 h 5886900"/>
                <a:gd name="connsiteX423" fmla="*/ 5076777 w 5821983"/>
                <a:gd name="connsiteY423" fmla="*/ 4242871 h 5886900"/>
                <a:gd name="connsiteX424" fmla="*/ 5050401 w 5821983"/>
                <a:gd name="connsiteY424" fmla="*/ 4197874 h 5886900"/>
                <a:gd name="connsiteX425" fmla="*/ 5027324 w 5821983"/>
                <a:gd name="connsiteY425" fmla="*/ 4167144 h 5886900"/>
                <a:gd name="connsiteX426" fmla="*/ 5033917 w 5821983"/>
                <a:gd name="connsiteY426" fmla="*/ 4139707 h 5886900"/>
                <a:gd name="connsiteX427" fmla="*/ 5042709 w 5821983"/>
                <a:gd name="connsiteY427" fmla="*/ 4124343 h 5886900"/>
                <a:gd name="connsiteX428" fmla="*/ 5084469 w 5821983"/>
                <a:gd name="connsiteY428" fmla="*/ 4110075 h 5886900"/>
                <a:gd name="connsiteX429" fmla="*/ 5114140 w 5821983"/>
                <a:gd name="connsiteY429" fmla="*/ 4124343 h 5886900"/>
                <a:gd name="connsiteX430" fmla="*/ 5141614 w 5821983"/>
                <a:gd name="connsiteY430" fmla="*/ 4126537 h 5886900"/>
                <a:gd name="connsiteX431" fmla="*/ 5155901 w 5821983"/>
                <a:gd name="connsiteY431" fmla="*/ 4111173 h 5886900"/>
                <a:gd name="connsiteX432" fmla="*/ 5182275 w 5821983"/>
                <a:gd name="connsiteY432" fmla="*/ 4089223 h 5886900"/>
                <a:gd name="connsiteX433" fmla="*/ 5194364 w 5821983"/>
                <a:gd name="connsiteY433" fmla="*/ 4082638 h 5886900"/>
                <a:gd name="connsiteX434" fmla="*/ 5229530 w 5821983"/>
                <a:gd name="connsiteY434" fmla="*/ 4068371 h 5886900"/>
                <a:gd name="connsiteX435" fmla="*/ 5267993 w 5821983"/>
                <a:gd name="connsiteY435" fmla="*/ 4006912 h 5886900"/>
                <a:gd name="connsiteX436" fmla="*/ 5275686 w 5821983"/>
                <a:gd name="connsiteY436" fmla="*/ 3978377 h 5886900"/>
                <a:gd name="connsiteX437" fmla="*/ 5270191 w 5821983"/>
                <a:gd name="connsiteY437" fmla="*/ 3933380 h 5886900"/>
                <a:gd name="connsiteX438" fmla="*/ 5243817 w 5821983"/>
                <a:gd name="connsiteY438" fmla="*/ 3916918 h 5886900"/>
                <a:gd name="connsiteX439" fmla="*/ 5211947 w 5821983"/>
                <a:gd name="connsiteY439" fmla="*/ 3879603 h 5886900"/>
                <a:gd name="connsiteX440" fmla="*/ 5209749 w 5821983"/>
                <a:gd name="connsiteY440" fmla="*/ 3838997 h 5886900"/>
                <a:gd name="connsiteX441" fmla="*/ 5198760 w 5821983"/>
                <a:gd name="connsiteY441" fmla="*/ 3796195 h 5886900"/>
                <a:gd name="connsiteX442" fmla="*/ 5171286 w 5821983"/>
                <a:gd name="connsiteY442" fmla="*/ 3781928 h 5886900"/>
                <a:gd name="connsiteX443" fmla="*/ 5129526 w 5821983"/>
                <a:gd name="connsiteY443" fmla="*/ 3744613 h 5886900"/>
                <a:gd name="connsiteX444" fmla="*/ 5127328 w 5821983"/>
                <a:gd name="connsiteY444" fmla="*/ 3655717 h 5886900"/>
                <a:gd name="connsiteX445" fmla="*/ 5149307 w 5821983"/>
                <a:gd name="connsiteY445" fmla="*/ 3641450 h 5886900"/>
                <a:gd name="connsiteX446" fmla="*/ 5170187 w 5821983"/>
                <a:gd name="connsiteY446" fmla="*/ 3641450 h 5886900"/>
                <a:gd name="connsiteX447" fmla="*/ 5218541 w 5821983"/>
                <a:gd name="connsiteY447" fmla="*/ 3619500 h 5886900"/>
                <a:gd name="connsiteX448" fmla="*/ 5197661 w 5821983"/>
                <a:gd name="connsiteY448" fmla="*/ 3528409 h 5886900"/>
                <a:gd name="connsiteX449" fmla="*/ 5174583 w 5821983"/>
                <a:gd name="connsiteY449" fmla="*/ 3524019 h 5886900"/>
                <a:gd name="connsiteX450" fmla="*/ 5152604 w 5821983"/>
                <a:gd name="connsiteY450" fmla="*/ 3496582 h 5886900"/>
                <a:gd name="connsiteX451" fmla="*/ 5152604 w 5821983"/>
                <a:gd name="connsiteY451" fmla="*/ 3493290 h 5886900"/>
                <a:gd name="connsiteX452" fmla="*/ 5137219 w 5821983"/>
                <a:gd name="connsiteY452" fmla="*/ 3449391 h 5886900"/>
                <a:gd name="connsiteX453" fmla="*/ 5128427 w 5821983"/>
                <a:gd name="connsiteY453" fmla="*/ 3445000 h 5886900"/>
                <a:gd name="connsiteX454" fmla="*/ 5115240 w 5821983"/>
                <a:gd name="connsiteY454" fmla="*/ 3415368 h 5886900"/>
                <a:gd name="connsiteX455" fmla="*/ 5124031 w 5821983"/>
                <a:gd name="connsiteY455" fmla="*/ 3392321 h 5886900"/>
                <a:gd name="connsiteX456" fmla="*/ 5128427 w 5821983"/>
                <a:gd name="connsiteY456" fmla="*/ 3358299 h 5886900"/>
                <a:gd name="connsiteX457" fmla="*/ 5118536 w 5821983"/>
                <a:gd name="connsiteY457" fmla="*/ 3342935 h 5886900"/>
                <a:gd name="connsiteX458" fmla="*/ 5085568 w 5821983"/>
                <a:gd name="connsiteY458" fmla="*/ 3265013 h 5886900"/>
                <a:gd name="connsiteX459" fmla="*/ 5070182 w 5821983"/>
                <a:gd name="connsiteY459" fmla="*/ 3243063 h 5886900"/>
                <a:gd name="connsiteX460" fmla="*/ 5014136 w 5821983"/>
                <a:gd name="connsiteY460" fmla="*/ 3252941 h 5886900"/>
                <a:gd name="connsiteX461" fmla="*/ 4967980 w 5821983"/>
                <a:gd name="connsiteY461" fmla="*/ 3266111 h 5886900"/>
                <a:gd name="connsiteX462" fmla="*/ 4938309 w 5821983"/>
                <a:gd name="connsiteY462" fmla="*/ 3268306 h 5886900"/>
                <a:gd name="connsiteX463" fmla="*/ 4896549 w 5821983"/>
                <a:gd name="connsiteY463" fmla="*/ 3300132 h 5886900"/>
                <a:gd name="connsiteX464" fmla="*/ 4894351 w 5821983"/>
                <a:gd name="connsiteY464" fmla="*/ 3330862 h 5886900"/>
                <a:gd name="connsiteX465" fmla="*/ 4891054 w 5821983"/>
                <a:gd name="connsiteY465" fmla="*/ 3403296 h 5886900"/>
                <a:gd name="connsiteX466" fmla="*/ 4862481 w 5821983"/>
                <a:gd name="connsiteY466" fmla="*/ 3415368 h 5886900"/>
                <a:gd name="connsiteX467" fmla="*/ 4800940 w 5821983"/>
                <a:gd name="connsiteY467" fmla="*/ 3448293 h 5886900"/>
                <a:gd name="connsiteX468" fmla="*/ 4752587 w 5821983"/>
                <a:gd name="connsiteY468" fmla="*/ 3455975 h 5886900"/>
                <a:gd name="connsiteX469" fmla="*/ 4732806 w 5821983"/>
                <a:gd name="connsiteY469" fmla="*/ 3407686 h 5886900"/>
                <a:gd name="connsiteX470" fmla="*/ 4770169 w 5821983"/>
                <a:gd name="connsiteY470" fmla="*/ 3372567 h 5886900"/>
                <a:gd name="connsiteX471" fmla="*/ 4796544 w 5821983"/>
                <a:gd name="connsiteY471" fmla="*/ 3359397 h 5886900"/>
                <a:gd name="connsiteX472" fmla="*/ 4813029 w 5821983"/>
                <a:gd name="connsiteY472" fmla="*/ 3325374 h 5886900"/>
                <a:gd name="connsiteX473" fmla="*/ 4818523 w 5821983"/>
                <a:gd name="connsiteY473" fmla="*/ 3300132 h 5886900"/>
                <a:gd name="connsiteX474" fmla="*/ 4815227 w 5821983"/>
                <a:gd name="connsiteY474" fmla="*/ 3241966 h 5886900"/>
                <a:gd name="connsiteX475" fmla="*/ 4803138 w 5821983"/>
                <a:gd name="connsiteY475" fmla="*/ 3199164 h 5886900"/>
                <a:gd name="connsiteX476" fmla="*/ 4820721 w 5821983"/>
                <a:gd name="connsiteY476" fmla="*/ 3180507 h 5886900"/>
                <a:gd name="connsiteX477" fmla="*/ 4847096 w 5821983"/>
                <a:gd name="connsiteY477" fmla="*/ 3140997 h 5886900"/>
                <a:gd name="connsiteX478" fmla="*/ 4845997 w 5821983"/>
                <a:gd name="connsiteY478" fmla="*/ 3121243 h 5886900"/>
                <a:gd name="connsiteX479" fmla="*/ 4865778 w 5821983"/>
                <a:gd name="connsiteY479" fmla="*/ 3093806 h 5886900"/>
                <a:gd name="connsiteX480" fmla="*/ 4885559 w 5821983"/>
                <a:gd name="connsiteY480" fmla="*/ 3086123 h 5886900"/>
                <a:gd name="connsiteX481" fmla="*/ 4953694 w 5821983"/>
                <a:gd name="connsiteY481" fmla="*/ 3047711 h 5886900"/>
                <a:gd name="connsiteX482" fmla="*/ 4980069 w 5821983"/>
                <a:gd name="connsiteY482" fmla="*/ 2980765 h 5886900"/>
                <a:gd name="connsiteX483" fmla="*/ 4980069 w 5821983"/>
                <a:gd name="connsiteY483" fmla="*/ 2977473 h 5886900"/>
                <a:gd name="connsiteX484" fmla="*/ 4986663 w 5821983"/>
                <a:gd name="connsiteY484" fmla="*/ 2951133 h 5886900"/>
                <a:gd name="connsiteX485" fmla="*/ 4995454 w 5821983"/>
                <a:gd name="connsiteY485" fmla="*/ 2922599 h 5886900"/>
                <a:gd name="connsiteX486" fmla="*/ 5009740 w 5821983"/>
                <a:gd name="connsiteY486" fmla="*/ 2873212 h 5886900"/>
                <a:gd name="connsiteX487" fmla="*/ 5033917 w 5821983"/>
                <a:gd name="connsiteY487" fmla="*/ 2869919 h 5886900"/>
                <a:gd name="connsiteX488" fmla="*/ 5120734 w 5821983"/>
                <a:gd name="connsiteY488" fmla="*/ 2830410 h 5886900"/>
                <a:gd name="connsiteX489" fmla="*/ 5125130 w 5821983"/>
                <a:gd name="connsiteY489" fmla="*/ 2817240 h 5886900"/>
                <a:gd name="connsiteX490" fmla="*/ 5147109 w 5821983"/>
                <a:gd name="connsiteY490" fmla="*/ 2779926 h 5886900"/>
                <a:gd name="connsiteX491" fmla="*/ 5153703 w 5821983"/>
                <a:gd name="connsiteY491" fmla="*/ 2774438 h 5886900"/>
                <a:gd name="connsiteX492" fmla="*/ 5203156 w 5821983"/>
                <a:gd name="connsiteY492" fmla="*/ 2730539 h 5886900"/>
                <a:gd name="connsiteX493" fmla="*/ 5226233 w 5821983"/>
                <a:gd name="connsiteY493" fmla="*/ 2714077 h 5886900"/>
                <a:gd name="connsiteX494" fmla="*/ 5259202 w 5821983"/>
                <a:gd name="connsiteY494" fmla="*/ 2683347 h 5886900"/>
                <a:gd name="connsiteX495" fmla="*/ 5249312 w 5821983"/>
                <a:gd name="connsiteY495" fmla="*/ 2640545 h 5886900"/>
                <a:gd name="connsiteX496" fmla="*/ 5237223 w 5821983"/>
                <a:gd name="connsiteY496" fmla="*/ 2616400 h 5886900"/>
                <a:gd name="connsiteX497" fmla="*/ 5263598 w 5821983"/>
                <a:gd name="connsiteY497" fmla="*/ 2552747 h 5886900"/>
                <a:gd name="connsiteX498" fmla="*/ 5317446 w 5821983"/>
                <a:gd name="connsiteY498" fmla="*/ 2542869 h 5886900"/>
                <a:gd name="connsiteX499" fmla="*/ 5346019 w 5821983"/>
                <a:gd name="connsiteY499" fmla="*/ 2568111 h 5886900"/>
                <a:gd name="connsiteX500" fmla="*/ 5380086 w 5821983"/>
                <a:gd name="connsiteY500" fmla="*/ 2586768 h 5886900"/>
                <a:gd name="connsiteX501" fmla="*/ 5385581 w 5821983"/>
                <a:gd name="connsiteY501" fmla="*/ 2586768 h 5886900"/>
                <a:gd name="connsiteX502" fmla="*/ 5414154 w 5821983"/>
                <a:gd name="connsiteY502" fmla="*/ 2591158 h 5886900"/>
                <a:gd name="connsiteX503" fmla="*/ 5440528 w 5821983"/>
                <a:gd name="connsiteY503" fmla="*/ 2576891 h 5886900"/>
                <a:gd name="connsiteX504" fmla="*/ 5449320 w 5821983"/>
                <a:gd name="connsiteY504" fmla="*/ 2554942 h 5886900"/>
                <a:gd name="connsiteX505" fmla="*/ 5477893 w 5821983"/>
                <a:gd name="connsiteY505" fmla="*/ 2514335 h 5886900"/>
                <a:gd name="connsiteX506" fmla="*/ 5508663 w 5821983"/>
                <a:gd name="connsiteY506" fmla="*/ 2441900 h 5886900"/>
                <a:gd name="connsiteX507" fmla="*/ 5499872 w 5821983"/>
                <a:gd name="connsiteY507" fmla="*/ 2415561 h 5886900"/>
                <a:gd name="connsiteX508" fmla="*/ 5497674 w 5821983"/>
                <a:gd name="connsiteY508" fmla="*/ 2366174 h 5886900"/>
                <a:gd name="connsiteX509" fmla="*/ 5505367 w 5821983"/>
                <a:gd name="connsiteY509" fmla="*/ 2353004 h 5886900"/>
                <a:gd name="connsiteX510" fmla="*/ 5517455 w 5821983"/>
                <a:gd name="connsiteY510" fmla="*/ 2310202 h 5886900"/>
                <a:gd name="connsiteX511" fmla="*/ 5528444 w 5821983"/>
                <a:gd name="connsiteY511" fmla="*/ 2273985 h 5886900"/>
                <a:gd name="connsiteX512" fmla="*/ 5538335 w 5821983"/>
                <a:gd name="connsiteY512" fmla="*/ 2239964 h 5886900"/>
                <a:gd name="connsiteX513" fmla="*/ 5530642 w 5821983"/>
                <a:gd name="connsiteY513" fmla="*/ 2210332 h 5886900"/>
                <a:gd name="connsiteX514" fmla="*/ 5524049 w 5821983"/>
                <a:gd name="connsiteY514" fmla="*/ 2173017 h 5886900"/>
                <a:gd name="connsiteX515" fmla="*/ 5547127 w 5821983"/>
                <a:gd name="connsiteY515" fmla="*/ 2096193 h 5886900"/>
                <a:gd name="connsiteX516" fmla="*/ 5563611 w 5821983"/>
                <a:gd name="connsiteY516" fmla="*/ 2074243 h 5886900"/>
                <a:gd name="connsiteX517" fmla="*/ 5581194 w 5821983"/>
                <a:gd name="connsiteY517" fmla="*/ 2046806 h 5886900"/>
                <a:gd name="connsiteX518" fmla="*/ 5588887 w 5821983"/>
                <a:gd name="connsiteY518" fmla="*/ 2002907 h 5886900"/>
                <a:gd name="connsiteX519" fmla="*/ 5595481 w 5821983"/>
                <a:gd name="connsiteY519" fmla="*/ 1964495 h 5886900"/>
                <a:gd name="connsiteX520" fmla="*/ 5606470 w 5821983"/>
                <a:gd name="connsiteY520" fmla="*/ 1945838 h 5886900"/>
                <a:gd name="connsiteX521" fmla="*/ 5618558 w 5821983"/>
                <a:gd name="connsiteY521" fmla="*/ 1910719 h 5886900"/>
                <a:gd name="connsiteX522" fmla="*/ 5640537 w 5821983"/>
                <a:gd name="connsiteY522" fmla="*/ 1822920 h 5886900"/>
                <a:gd name="connsiteX523" fmla="*/ 5643834 w 5821983"/>
                <a:gd name="connsiteY523" fmla="*/ 1815237 h 5886900"/>
                <a:gd name="connsiteX524" fmla="*/ 5688891 w 5821983"/>
                <a:gd name="connsiteY524" fmla="*/ 1751584 h 5886900"/>
                <a:gd name="connsiteX525" fmla="*/ 5714167 w 5821983"/>
                <a:gd name="connsiteY525" fmla="*/ 1719756 h 5886900"/>
                <a:gd name="connsiteX526" fmla="*/ 5725157 w 5821983"/>
                <a:gd name="connsiteY526" fmla="*/ 1703294 h 5886900"/>
                <a:gd name="connsiteX527" fmla="*/ 5742739 w 5821983"/>
                <a:gd name="connsiteY527" fmla="*/ 1691222 h 5886900"/>
                <a:gd name="connsiteX528" fmla="*/ 5762520 w 5821983"/>
                <a:gd name="connsiteY528" fmla="*/ 1678052 h 5886900"/>
                <a:gd name="connsiteX529" fmla="*/ 5776807 w 5821983"/>
                <a:gd name="connsiteY529" fmla="*/ 1652810 h 5886900"/>
                <a:gd name="connsiteX530" fmla="*/ 5793291 w 5821983"/>
                <a:gd name="connsiteY530" fmla="*/ 1620983 h 5886900"/>
                <a:gd name="connsiteX531" fmla="*/ 5808676 w 5821983"/>
                <a:gd name="connsiteY531" fmla="*/ 1603423 h 5886900"/>
                <a:gd name="connsiteX532" fmla="*/ 5821864 w 5821983"/>
                <a:gd name="connsiteY532" fmla="*/ 1583669 h 5886900"/>
                <a:gd name="connsiteX533" fmla="*/ 5817468 w 5821983"/>
                <a:gd name="connsiteY533" fmla="*/ 1578181 h 5886900"/>
                <a:gd name="connsiteX534" fmla="*/ 5796588 w 5821983"/>
                <a:gd name="connsiteY534" fmla="*/ 1575986 h 5886900"/>
                <a:gd name="connsiteX535" fmla="*/ 5759224 w 5821983"/>
                <a:gd name="connsiteY535" fmla="*/ 1565011 h 5886900"/>
                <a:gd name="connsiteX536" fmla="*/ 5753729 w 5821983"/>
                <a:gd name="connsiteY536" fmla="*/ 1559524 h 5886900"/>
                <a:gd name="connsiteX537" fmla="*/ 5706474 w 5821983"/>
                <a:gd name="connsiteY537" fmla="*/ 1527697 h 5886900"/>
                <a:gd name="connsiteX538" fmla="*/ 5682297 w 5821983"/>
                <a:gd name="connsiteY538" fmla="*/ 1522209 h 5886900"/>
                <a:gd name="connsiteX539" fmla="*/ 5638339 w 5821983"/>
                <a:gd name="connsiteY539" fmla="*/ 1516722 h 5886900"/>
                <a:gd name="connsiteX540" fmla="*/ 5626251 w 5821983"/>
                <a:gd name="connsiteY540" fmla="*/ 1518917 h 5886900"/>
                <a:gd name="connsiteX541" fmla="*/ 5575699 w 5821983"/>
                <a:gd name="connsiteY541" fmla="*/ 1513430 h 5886900"/>
                <a:gd name="connsiteX542" fmla="*/ 5561413 w 5821983"/>
                <a:gd name="connsiteY542" fmla="*/ 1503552 h 5886900"/>
                <a:gd name="connsiteX543" fmla="*/ 5540533 w 5821983"/>
                <a:gd name="connsiteY543" fmla="*/ 1484895 h 5886900"/>
                <a:gd name="connsiteX544" fmla="*/ 5533939 w 5821983"/>
                <a:gd name="connsiteY544" fmla="*/ 1473920 h 5886900"/>
                <a:gd name="connsiteX545" fmla="*/ 5510861 w 5821983"/>
                <a:gd name="connsiteY545" fmla="*/ 1445385 h 5886900"/>
                <a:gd name="connsiteX546" fmla="*/ 5468002 w 5821983"/>
                <a:gd name="connsiteY546" fmla="*/ 1427826 h 5886900"/>
                <a:gd name="connsiteX547" fmla="*/ 5452617 w 5821983"/>
                <a:gd name="connsiteY547" fmla="*/ 1436606 h 5886900"/>
                <a:gd name="connsiteX548" fmla="*/ 5378988 w 5821983"/>
                <a:gd name="connsiteY548" fmla="*/ 1451971 h 5886900"/>
                <a:gd name="connsiteX549" fmla="*/ 5371295 w 5821983"/>
                <a:gd name="connsiteY549" fmla="*/ 1450873 h 5886900"/>
                <a:gd name="connsiteX550" fmla="*/ 5322941 w 5821983"/>
                <a:gd name="connsiteY550" fmla="*/ 1461848 h 5886900"/>
                <a:gd name="connsiteX551" fmla="*/ 5304259 w 5821983"/>
                <a:gd name="connsiteY551" fmla="*/ 1467335 h 5886900"/>
                <a:gd name="connsiteX552" fmla="*/ 5295467 w 5821983"/>
                <a:gd name="connsiteY552" fmla="*/ 1458555 h 5886900"/>
                <a:gd name="connsiteX553" fmla="*/ 5286676 w 5821983"/>
                <a:gd name="connsiteY553" fmla="*/ 1432216 h 5886900"/>
                <a:gd name="connsiteX554" fmla="*/ 5267993 w 5821983"/>
                <a:gd name="connsiteY554" fmla="*/ 1399291 h 5886900"/>
                <a:gd name="connsiteX555" fmla="*/ 5242718 w 5821983"/>
                <a:gd name="connsiteY555" fmla="*/ 1388316 h 5886900"/>
                <a:gd name="connsiteX556" fmla="*/ 5228431 w 5821983"/>
                <a:gd name="connsiteY556" fmla="*/ 1381732 h 5886900"/>
                <a:gd name="connsiteX557" fmla="*/ 5226233 w 5821983"/>
                <a:gd name="connsiteY557" fmla="*/ 1386122 h 5886900"/>
                <a:gd name="connsiteX558" fmla="*/ 5205354 w 5821983"/>
                <a:gd name="connsiteY558" fmla="*/ 1427826 h 5886900"/>
                <a:gd name="connsiteX559" fmla="*/ 5191067 w 5821983"/>
                <a:gd name="connsiteY559" fmla="*/ 1427826 h 5886900"/>
                <a:gd name="connsiteX560" fmla="*/ 5178979 w 5821983"/>
                <a:gd name="connsiteY560" fmla="*/ 1412461 h 5886900"/>
                <a:gd name="connsiteX561" fmla="*/ 5167989 w 5821983"/>
                <a:gd name="connsiteY561" fmla="*/ 1389414 h 5886900"/>
                <a:gd name="connsiteX562" fmla="*/ 5147109 w 5821983"/>
                <a:gd name="connsiteY562" fmla="*/ 1375147 h 5886900"/>
                <a:gd name="connsiteX563" fmla="*/ 5127328 w 5821983"/>
                <a:gd name="connsiteY563" fmla="*/ 1347710 h 5886900"/>
                <a:gd name="connsiteX564" fmla="*/ 5127328 w 5821983"/>
                <a:gd name="connsiteY564" fmla="*/ 1345515 h 5886900"/>
                <a:gd name="connsiteX565" fmla="*/ 5096557 w 5821983"/>
                <a:gd name="connsiteY565" fmla="*/ 1259911 h 5886900"/>
                <a:gd name="connsiteX566" fmla="*/ 5050401 w 5821983"/>
                <a:gd name="connsiteY566" fmla="*/ 1236864 h 5886900"/>
                <a:gd name="connsiteX567" fmla="*/ 5010840 w 5821983"/>
                <a:gd name="connsiteY567" fmla="*/ 1223694 h 5886900"/>
                <a:gd name="connsiteX568" fmla="*/ 4991059 w 5821983"/>
                <a:gd name="connsiteY568" fmla="*/ 1202842 h 5886900"/>
                <a:gd name="connsiteX569" fmla="*/ 4962486 w 5821983"/>
                <a:gd name="connsiteY569" fmla="*/ 1192964 h 5886900"/>
                <a:gd name="connsiteX570" fmla="*/ 4928418 w 5821983"/>
                <a:gd name="connsiteY570" fmla="*/ 1210524 h 5886900"/>
                <a:gd name="connsiteX571" fmla="*/ 4889955 w 5821983"/>
                <a:gd name="connsiteY571" fmla="*/ 1224792 h 5886900"/>
                <a:gd name="connsiteX572" fmla="*/ 4847096 w 5821983"/>
                <a:gd name="connsiteY572" fmla="*/ 1201744 h 5886900"/>
                <a:gd name="connsiteX573" fmla="*/ 4831711 w 5821983"/>
                <a:gd name="connsiteY573" fmla="*/ 1188575 h 5886900"/>
                <a:gd name="connsiteX574" fmla="*/ 4816325 w 5821983"/>
                <a:gd name="connsiteY574" fmla="*/ 1173210 h 5886900"/>
                <a:gd name="connsiteX575" fmla="*/ 4753685 w 5821983"/>
                <a:gd name="connsiteY575" fmla="*/ 1142480 h 5886900"/>
                <a:gd name="connsiteX576" fmla="*/ 4707529 w 5821983"/>
                <a:gd name="connsiteY576" fmla="*/ 1161138 h 5886900"/>
                <a:gd name="connsiteX577" fmla="*/ 4653681 w 5821983"/>
                <a:gd name="connsiteY577" fmla="*/ 1174307 h 5886900"/>
                <a:gd name="connsiteX578" fmla="*/ 4634999 w 5821983"/>
                <a:gd name="connsiteY578" fmla="*/ 1132603 h 5886900"/>
                <a:gd name="connsiteX579" fmla="*/ 4610822 w 5821983"/>
                <a:gd name="connsiteY579" fmla="*/ 1088703 h 5886900"/>
                <a:gd name="connsiteX580" fmla="*/ 4567963 w 5821983"/>
                <a:gd name="connsiteY580" fmla="*/ 1068949 h 5886900"/>
                <a:gd name="connsiteX581" fmla="*/ 4550380 w 5821983"/>
                <a:gd name="connsiteY581" fmla="*/ 1046999 h 5886900"/>
                <a:gd name="connsiteX582" fmla="*/ 4526203 w 5821983"/>
                <a:gd name="connsiteY582" fmla="*/ 1036024 h 5886900"/>
                <a:gd name="connsiteX583" fmla="*/ 4492135 w 5821983"/>
                <a:gd name="connsiteY583" fmla="*/ 1016270 h 5886900"/>
                <a:gd name="connsiteX584" fmla="*/ 4430595 w 5821983"/>
                <a:gd name="connsiteY584" fmla="*/ 971272 h 5886900"/>
                <a:gd name="connsiteX585" fmla="*/ 4385537 w 5821983"/>
                <a:gd name="connsiteY585" fmla="*/ 969078 h 5886900"/>
                <a:gd name="connsiteX586" fmla="*/ 4374548 w 5821983"/>
                <a:gd name="connsiteY586" fmla="*/ 935056 h 5886900"/>
                <a:gd name="connsiteX587" fmla="*/ 4384439 w 5821983"/>
                <a:gd name="connsiteY587" fmla="*/ 896644 h 5886900"/>
                <a:gd name="connsiteX588" fmla="*/ 4384439 w 5821983"/>
                <a:gd name="connsiteY588" fmla="*/ 867012 h 5886900"/>
                <a:gd name="connsiteX589" fmla="*/ 4374548 w 5821983"/>
                <a:gd name="connsiteY589" fmla="*/ 800065 h 5886900"/>
                <a:gd name="connsiteX590" fmla="*/ 4385537 w 5821983"/>
                <a:gd name="connsiteY590" fmla="*/ 785798 h 5886900"/>
                <a:gd name="connsiteX591" fmla="*/ 4414110 w 5821983"/>
                <a:gd name="connsiteY591" fmla="*/ 734216 h 5886900"/>
                <a:gd name="connsiteX592" fmla="*/ 4408616 w 5821983"/>
                <a:gd name="connsiteY592" fmla="*/ 726534 h 5886900"/>
                <a:gd name="connsiteX593" fmla="*/ 4355865 w 5821983"/>
                <a:gd name="connsiteY593" fmla="*/ 753971 h 5886900"/>
                <a:gd name="connsiteX594" fmla="*/ 4337184 w 5821983"/>
                <a:gd name="connsiteY594" fmla="*/ 778116 h 5886900"/>
                <a:gd name="connsiteX595" fmla="*/ 4313007 w 5821983"/>
                <a:gd name="connsiteY595" fmla="*/ 811040 h 5886900"/>
                <a:gd name="connsiteX596" fmla="*/ 4287731 w 5821983"/>
                <a:gd name="connsiteY596" fmla="*/ 824210 h 5886900"/>
                <a:gd name="connsiteX597" fmla="*/ 4263554 w 5821983"/>
                <a:gd name="connsiteY597" fmla="*/ 839574 h 5886900"/>
                <a:gd name="connsiteX598" fmla="*/ 4185528 w 5821983"/>
                <a:gd name="connsiteY598" fmla="*/ 840672 h 5886900"/>
                <a:gd name="connsiteX599" fmla="*/ 4138274 w 5821983"/>
                <a:gd name="connsiteY599" fmla="*/ 828600 h 5886900"/>
                <a:gd name="connsiteX600" fmla="*/ 4133878 w 5821983"/>
                <a:gd name="connsiteY600" fmla="*/ 828600 h 5886900"/>
                <a:gd name="connsiteX601" fmla="*/ 4081128 w 5821983"/>
                <a:gd name="connsiteY601" fmla="*/ 818723 h 5886900"/>
                <a:gd name="connsiteX602" fmla="*/ 4077831 w 5821983"/>
                <a:gd name="connsiteY602" fmla="*/ 794578 h 5886900"/>
                <a:gd name="connsiteX603" fmla="*/ 4099810 w 5821983"/>
                <a:gd name="connsiteY603" fmla="*/ 759458 h 5886900"/>
                <a:gd name="connsiteX604" fmla="*/ 4109701 w 5821983"/>
                <a:gd name="connsiteY604" fmla="*/ 738607 h 5886900"/>
                <a:gd name="connsiteX605" fmla="*/ 4096514 w 5821983"/>
                <a:gd name="connsiteY605" fmla="*/ 725437 h 5886900"/>
                <a:gd name="connsiteX606" fmla="*/ 4087722 w 5821983"/>
                <a:gd name="connsiteY606" fmla="*/ 694707 h 5886900"/>
                <a:gd name="connsiteX607" fmla="*/ 4096514 w 5821983"/>
                <a:gd name="connsiteY607" fmla="*/ 671660 h 5886900"/>
                <a:gd name="connsiteX608" fmla="*/ 4107503 w 5821983"/>
                <a:gd name="connsiteY608" fmla="*/ 644223 h 5886900"/>
                <a:gd name="connsiteX609" fmla="*/ 4107503 w 5821983"/>
                <a:gd name="connsiteY609" fmla="*/ 618981 h 5886900"/>
                <a:gd name="connsiteX610" fmla="*/ 4092118 w 5821983"/>
                <a:gd name="connsiteY610" fmla="*/ 608006 h 5886900"/>
                <a:gd name="connsiteX611" fmla="*/ 4065743 w 5821983"/>
                <a:gd name="connsiteY611" fmla="*/ 591544 h 5886900"/>
                <a:gd name="connsiteX612" fmla="*/ 4014092 w 5821983"/>
                <a:gd name="connsiteY612" fmla="*/ 566302 h 5886900"/>
                <a:gd name="connsiteX613" fmla="*/ 3972332 w 5821983"/>
                <a:gd name="connsiteY613" fmla="*/ 565204 h 5886900"/>
                <a:gd name="connsiteX614" fmla="*/ 3964640 w 5821983"/>
                <a:gd name="connsiteY614" fmla="*/ 561911 h 5886900"/>
                <a:gd name="connsiteX615" fmla="*/ 3934968 w 5821983"/>
                <a:gd name="connsiteY615" fmla="*/ 558619 h 5886900"/>
                <a:gd name="connsiteX616" fmla="*/ 3932770 w 5821983"/>
                <a:gd name="connsiteY616" fmla="*/ 569594 h 5886900"/>
                <a:gd name="connsiteX617" fmla="*/ 3922880 w 5821983"/>
                <a:gd name="connsiteY617" fmla="*/ 588251 h 5886900"/>
                <a:gd name="connsiteX618" fmla="*/ 3910791 w 5821983"/>
                <a:gd name="connsiteY618" fmla="*/ 586056 h 5886900"/>
                <a:gd name="connsiteX619" fmla="*/ 3896505 w 5821983"/>
                <a:gd name="connsiteY619" fmla="*/ 536669 h 5886900"/>
                <a:gd name="connsiteX620" fmla="*/ 3895406 w 5821983"/>
                <a:gd name="connsiteY620" fmla="*/ 508135 h 5886900"/>
                <a:gd name="connsiteX621" fmla="*/ 3893208 w 5821983"/>
                <a:gd name="connsiteY621" fmla="*/ 489478 h 5886900"/>
                <a:gd name="connsiteX622" fmla="*/ 3865734 w 5821983"/>
                <a:gd name="connsiteY622" fmla="*/ 453261 h 5886900"/>
                <a:gd name="connsiteX623" fmla="*/ 3839359 w 5821983"/>
                <a:gd name="connsiteY623" fmla="*/ 442286 h 5886900"/>
                <a:gd name="connsiteX624" fmla="*/ 3809688 w 5821983"/>
                <a:gd name="connsiteY624" fmla="*/ 431311 h 5886900"/>
                <a:gd name="connsiteX625" fmla="*/ 3796501 w 5821983"/>
                <a:gd name="connsiteY625" fmla="*/ 424726 h 5886900"/>
                <a:gd name="connsiteX626" fmla="*/ 3783313 w 5821983"/>
                <a:gd name="connsiteY626" fmla="*/ 432408 h 5886900"/>
                <a:gd name="connsiteX627" fmla="*/ 3759136 w 5821983"/>
                <a:gd name="connsiteY627" fmla="*/ 434603 h 5886900"/>
                <a:gd name="connsiteX628" fmla="*/ 3750345 w 5821983"/>
                <a:gd name="connsiteY628" fmla="*/ 428019 h 5886900"/>
                <a:gd name="connsiteX629" fmla="*/ 3737157 w 5821983"/>
                <a:gd name="connsiteY629" fmla="*/ 391801 h 5886900"/>
                <a:gd name="connsiteX630" fmla="*/ 3733860 w 5821983"/>
                <a:gd name="connsiteY630" fmla="*/ 343512 h 5886900"/>
                <a:gd name="connsiteX631" fmla="*/ 3725069 w 5821983"/>
                <a:gd name="connsiteY631" fmla="*/ 308393 h 5886900"/>
                <a:gd name="connsiteX632" fmla="*/ 3722871 w 5821983"/>
                <a:gd name="connsiteY632" fmla="*/ 298515 h 5886900"/>
                <a:gd name="connsiteX633" fmla="*/ 3686606 w 5821983"/>
                <a:gd name="connsiteY633" fmla="*/ 240349 h 5886900"/>
                <a:gd name="connsiteX634" fmla="*/ 3685506 w 5821983"/>
                <a:gd name="connsiteY634" fmla="*/ 240349 h 5886900"/>
                <a:gd name="connsiteX635" fmla="*/ 3630559 w 5821983"/>
                <a:gd name="connsiteY635" fmla="*/ 263396 h 5886900"/>
                <a:gd name="connsiteX636" fmla="*/ 3599788 w 5821983"/>
                <a:gd name="connsiteY636" fmla="*/ 279858 h 5886900"/>
                <a:gd name="connsiteX637" fmla="*/ 3559127 w 5821983"/>
                <a:gd name="connsiteY637" fmla="*/ 286443 h 5886900"/>
                <a:gd name="connsiteX638" fmla="*/ 3533851 w 5821983"/>
                <a:gd name="connsiteY638" fmla="*/ 253519 h 5886900"/>
                <a:gd name="connsiteX639" fmla="*/ 3512972 w 5821983"/>
                <a:gd name="connsiteY639" fmla="*/ 220594 h 5886900"/>
                <a:gd name="connsiteX640" fmla="*/ 3499784 w 5821983"/>
                <a:gd name="connsiteY640" fmla="*/ 201937 h 5886900"/>
                <a:gd name="connsiteX641" fmla="*/ 3498685 w 5821983"/>
                <a:gd name="connsiteY641" fmla="*/ 200839 h 5886900"/>
                <a:gd name="connsiteX642" fmla="*/ 3484399 w 5821983"/>
                <a:gd name="connsiteY642" fmla="*/ 139380 h 5886900"/>
                <a:gd name="connsiteX643" fmla="*/ 3482201 w 5821983"/>
                <a:gd name="connsiteY643" fmla="*/ 117431 h 5886900"/>
                <a:gd name="connsiteX644" fmla="*/ 3470113 w 5821983"/>
                <a:gd name="connsiteY644" fmla="*/ 53777 h 5886900"/>
                <a:gd name="connsiteX645" fmla="*/ 3456925 w 5821983"/>
                <a:gd name="connsiteY645" fmla="*/ 0 h 5886900"/>
                <a:gd name="connsiteX646" fmla="*/ 3438243 w 5821983"/>
                <a:gd name="connsiteY646" fmla="*/ 1098 h 5886900"/>
                <a:gd name="connsiteX647" fmla="*/ 3163505 w 5821983"/>
                <a:gd name="connsiteY647" fmla="*/ 54874 h 5886900"/>
                <a:gd name="connsiteX648" fmla="*/ 3049215 w 5821983"/>
                <a:gd name="connsiteY648" fmla="*/ 107553 h 5886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</a:cxnLst>
              <a:rect l="l" t="t" r="r" b="b"/>
              <a:pathLst>
                <a:path w="5821983" h="5886900">
                  <a:moveTo>
                    <a:pt x="3049215" y="107553"/>
                  </a:moveTo>
                  <a:cubicBezTo>
                    <a:pt x="3010752" y="163525"/>
                    <a:pt x="3026137" y="171207"/>
                    <a:pt x="3010752" y="220594"/>
                  </a:cubicBezTo>
                  <a:cubicBezTo>
                    <a:pt x="2995366" y="269981"/>
                    <a:pt x="3012950" y="242544"/>
                    <a:pt x="3005257" y="296321"/>
                  </a:cubicBezTo>
                  <a:cubicBezTo>
                    <a:pt x="2995366" y="350097"/>
                    <a:pt x="2986575" y="340220"/>
                    <a:pt x="2978882" y="388509"/>
                  </a:cubicBezTo>
                  <a:cubicBezTo>
                    <a:pt x="2973387" y="436798"/>
                    <a:pt x="3001961" y="411556"/>
                    <a:pt x="2995366" y="447773"/>
                  </a:cubicBezTo>
                  <a:cubicBezTo>
                    <a:pt x="2987674" y="486185"/>
                    <a:pt x="2956903" y="470820"/>
                    <a:pt x="2976684" y="499355"/>
                  </a:cubicBezTo>
                  <a:cubicBezTo>
                    <a:pt x="2995366" y="526792"/>
                    <a:pt x="3052512" y="563009"/>
                    <a:pt x="3007455" y="558619"/>
                  </a:cubicBezTo>
                  <a:cubicBezTo>
                    <a:pt x="2963497" y="555327"/>
                    <a:pt x="2943716" y="566302"/>
                    <a:pt x="2912945" y="603616"/>
                  </a:cubicBezTo>
                  <a:cubicBezTo>
                    <a:pt x="2881076" y="640930"/>
                    <a:pt x="2832722" y="696902"/>
                    <a:pt x="2765686" y="711169"/>
                  </a:cubicBezTo>
                  <a:cubicBezTo>
                    <a:pt x="2699749" y="725437"/>
                    <a:pt x="2682166" y="701292"/>
                    <a:pt x="2636010" y="714462"/>
                  </a:cubicBezTo>
                  <a:cubicBezTo>
                    <a:pt x="2590953" y="726534"/>
                    <a:pt x="2572271" y="728729"/>
                    <a:pt x="2528313" y="738607"/>
                  </a:cubicBezTo>
                  <a:cubicBezTo>
                    <a:pt x="2484355" y="748483"/>
                    <a:pt x="2450288" y="755069"/>
                    <a:pt x="2410725" y="779213"/>
                  </a:cubicBezTo>
                  <a:cubicBezTo>
                    <a:pt x="2371163" y="803358"/>
                    <a:pt x="2330502" y="823112"/>
                    <a:pt x="2320612" y="846160"/>
                  </a:cubicBezTo>
                  <a:cubicBezTo>
                    <a:pt x="2310721" y="868109"/>
                    <a:pt x="2318414" y="865914"/>
                    <a:pt x="2296435" y="895547"/>
                  </a:cubicBezTo>
                  <a:cubicBezTo>
                    <a:pt x="2273357" y="924081"/>
                    <a:pt x="2285446" y="961396"/>
                    <a:pt x="2312919" y="971272"/>
                  </a:cubicBezTo>
                  <a:cubicBezTo>
                    <a:pt x="2341492" y="981150"/>
                    <a:pt x="2390944" y="970175"/>
                    <a:pt x="2370065" y="988833"/>
                  </a:cubicBezTo>
                  <a:cubicBezTo>
                    <a:pt x="2350283" y="1007490"/>
                    <a:pt x="2326107" y="988833"/>
                    <a:pt x="2294237" y="1008587"/>
                  </a:cubicBezTo>
                  <a:cubicBezTo>
                    <a:pt x="2262367" y="1028342"/>
                    <a:pt x="2207420" y="1082119"/>
                    <a:pt x="2164561" y="1071144"/>
                  </a:cubicBezTo>
                  <a:cubicBezTo>
                    <a:pt x="2123900" y="1057974"/>
                    <a:pt x="2139285" y="1014075"/>
                    <a:pt x="2088733" y="1004197"/>
                  </a:cubicBezTo>
                  <a:cubicBezTo>
                    <a:pt x="2038182" y="994320"/>
                    <a:pt x="2006312" y="1009684"/>
                    <a:pt x="1967849" y="991028"/>
                  </a:cubicBezTo>
                  <a:cubicBezTo>
                    <a:pt x="1930485" y="972370"/>
                    <a:pt x="1892022" y="965785"/>
                    <a:pt x="1870043" y="960298"/>
                  </a:cubicBezTo>
                  <a:cubicBezTo>
                    <a:pt x="1848064" y="954810"/>
                    <a:pt x="1813996" y="906521"/>
                    <a:pt x="1775533" y="931763"/>
                  </a:cubicBezTo>
                  <a:cubicBezTo>
                    <a:pt x="1737070" y="957005"/>
                    <a:pt x="1711794" y="995417"/>
                    <a:pt x="1711794" y="954810"/>
                  </a:cubicBezTo>
                  <a:cubicBezTo>
                    <a:pt x="1711794" y="913106"/>
                    <a:pt x="1724981" y="887864"/>
                    <a:pt x="1708497" y="853842"/>
                  </a:cubicBezTo>
                  <a:cubicBezTo>
                    <a:pt x="1693112" y="818723"/>
                    <a:pt x="1686518" y="822015"/>
                    <a:pt x="1711794" y="781408"/>
                  </a:cubicBezTo>
                  <a:cubicBezTo>
                    <a:pt x="1737070" y="740801"/>
                    <a:pt x="1752455" y="699097"/>
                    <a:pt x="1708497" y="708974"/>
                  </a:cubicBezTo>
                  <a:cubicBezTo>
                    <a:pt x="1664539" y="718851"/>
                    <a:pt x="1639263" y="690317"/>
                    <a:pt x="1600800" y="706779"/>
                  </a:cubicBezTo>
                  <a:cubicBezTo>
                    <a:pt x="1563436" y="722144"/>
                    <a:pt x="1564535" y="733119"/>
                    <a:pt x="1530467" y="706779"/>
                  </a:cubicBezTo>
                  <a:cubicBezTo>
                    <a:pt x="1495301" y="679342"/>
                    <a:pt x="1475520" y="680440"/>
                    <a:pt x="1463431" y="662880"/>
                  </a:cubicBezTo>
                  <a:cubicBezTo>
                    <a:pt x="1452442" y="644223"/>
                    <a:pt x="1428265" y="610201"/>
                    <a:pt x="1419473" y="645320"/>
                  </a:cubicBezTo>
                  <a:cubicBezTo>
                    <a:pt x="1409583" y="680440"/>
                    <a:pt x="1448046" y="703487"/>
                    <a:pt x="1448046" y="741899"/>
                  </a:cubicBezTo>
                  <a:cubicBezTo>
                    <a:pt x="1448046" y="779213"/>
                    <a:pt x="1439255" y="768238"/>
                    <a:pt x="1433760" y="806650"/>
                  </a:cubicBezTo>
                  <a:cubicBezTo>
                    <a:pt x="1428265" y="845062"/>
                    <a:pt x="1442551" y="837380"/>
                    <a:pt x="1444749" y="873597"/>
                  </a:cubicBezTo>
                  <a:cubicBezTo>
                    <a:pt x="1448046" y="908716"/>
                    <a:pt x="1448046" y="910911"/>
                    <a:pt x="1461234" y="936154"/>
                  </a:cubicBezTo>
                  <a:cubicBezTo>
                    <a:pt x="1473322" y="962493"/>
                    <a:pt x="1490905" y="960298"/>
                    <a:pt x="1498598" y="984442"/>
                  </a:cubicBezTo>
                  <a:cubicBezTo>
                    <a:pt x="1507389" y="1008587"/>
                    <a:pt x="1534863" y="999807"/>
                    <a:pt x="1544753" y="1012977"/>
                  </a:cubicBezTo>
                  <a:cubicBezTo>
                    <a:pt x="1555743" y="1026147"/>
                    <a:pt x="1531566" y="1043707"/>
                    <a:pt x="1519478" y="1048096"/>
                  </a:cubicBezTo>
                  <a:cubicBezTo>
                    <a:pt x="1506290" y="1051389"/>
                    <a:pt x="1492004" y="1056877"/>
                    <a:pt x="1496400" y="1072241"/>
                  </a:cubicBezTo>
                  <a:cubicBezTo>
                    <a:pt x="1500795" y="1087606"/>
                    <a:pt x="1513983" y="1088703"/>
                    <a:pt x="1505192" y="1112848"/>
                  </a:cubicBezTo>
                  <a:cubicBezTo>
                    <a:pt x="1495301" y="1136993"/>
                    <a:pt x="1487608" y="1162235"/>
                    <a:pt x="1509587" y="1155650"/>
                  </a:cubicBezTo>
                  <a:cubicBezTo>
                    <a:pt x="1531566" y="1150163"/>
                    <a:pt x="1550248" y="1152357"/>
                    <a:pt x="1539259" y="1166625"/>
                  </a:cubicBezTo>
                  <a:cubicBezTo>
                    <a:pt x="1528269" y="1180892"/>
                    <a:pt x="1506290" y="1184185"/>
                    <a:pt x="1500795" y="1196257"/>
                  </a:cubicBezTo>
                  <a:cubicBezTo>
                    <a:pt x="1496400" y="1209427"/>
                    <a:pt x="1506290" y="1223694"/>
                    <a:pt x="1490905" y="1247838"/>
                  </a:cubicBezTo>
                  <a:cubicBezTo>
                    <a:pt x="1475520" y="1271983"/>
                    <a:pt x="1464530" y="1269788"/>
                    <a:pt x="1474421" y="1288445"/>
                  </a:cubicBezTo>
                  <a:cubicBezTo>
                    <a:pt x="1484311" y="1307103"/>
                    <a:pt x="1500795" y="1316980"/>
                    <a:pt x="1496400" y="1337832"/>
                  </a:cubicBezTo>
                  <a:cubicBezTo>
                    <a:pt x="1492004" y="1357587"/>
                    <a:pt x="1486509" y="1360879"/>
                    <a:pt x="1506290" y="1370757"/>
                  </a:cubicBezTo>
                  <a:cubicBezTo>
                    <a:pt x="1524972" y="1381732"/>
                    <a:pt x="1568930" y="1390511"/>
                    <a:pt x="1549150" y="1400389"/>
                  </a:cubicBezTo>
                  <a:cubicBezTo>
                    <a:pt x="1530467" y="1410266"/>
                    <a:pt x="1524972" y="1385024"/>
                    <a:pt x="1502994" y="1397097"/>
                  </a:cubicBezTo>
                  <a:cubicBezTo>
                    <a:pt x="1481015" y="1410266"/>
                    <a:pt x="1443650" y="1405876"/>
                    <a:pt x="1418374" y="1409169"/>
                  </a:cubicBezTo>
                  <a:cubicBezTo>
                    <a:pt x="1393099" y="1411364"/>
                    <a:pt x="1383208" y="1414656"/>
                    <a:pt x="1370021" y="1406974"/>
                  </a:cubicBezTo>
                  <a:cubicBezTo>
                    <a:pt x="1357932" y="1399291"/>
                    <a:pt x="1367823" y="1390511"/>
                    <a:pt x="1364526" y="1361977"/>
                  </a:cubicBezTo>
                  <a:cubicBezTo>
                    <a:pt x="1361229" y="1333442"/>
                    <a:pt x="1346943" y="1337832"/>
                    <a:pt x="1319469" y="1344417"/>
                  </a:cubicBezTo>
                  <a:cubicBezTo>
                    <a:pt x="1290896" y="1352099"/>
                    <a:pt x="1282105" y="1329052"/>
                    <a:pt x="1273313" y="1354294"/>
                  </a:cubicBezTo>
                  <a:cubicBezTo>
                    <a:pt x="1263423" y="1380634"/>
                    <a:pt x="1302985" y="1411364"/>
                    <a:pt x="1290896" y="1426728"/>
                  </a:cubicBezTo>
                  <a:cubicBezTo>
                    <a:pt x="1277709" y="1442093"/>
                    <a:pt x="1272214" y="1383927"/>
                    <a:pt x="1253532" y="1371854"/>
                  </a:cubicBezTo>
                  <a:cubicBezTo>
                    <a:pt x="1237048" y="1358685"/>
                    <a:pt x="1231553" y="1382829"/>
                    <a:pt x="1213970" y="1370757"/>
                  </a:cubicBezTo>
                  <a:cubicBezTo>
                    <a:pt x="1197486" y="1357587"/>
                    <a:pt x="1209574" y="1383927"/>
                    <a:pt x="1186496" y="1386122"/>
                  </a:cubicBezTo>
                  <a:cubicBezTo>
                    <a:pt x="1162319" y="1387219"/>
                    <a:pt x="1157924" y="1372952"/>
                    <a:pt x="1162319" y="1353197"/>
                  </a:cubicBezTo>
                  <a:cubicBezTo>
                    <a:pt x="1166715" y="1333442"/>
                    <a:pt x="1130450" y="1312590"/>
                    <a:pt x="1110669" y="1333442"/>
                  </a:cubicBezTo>
                  <a:cubicBezTo>
                    <a:pt x="1091987" y="1353197"/>
                    <a:pt x="1084294" y="1353197"/>
                    <a:pt x="1065612" y="1352099"/>
                  </a:cubicBezTo>
                  <a:cubicBezTo>
                    <a:pt x="1046930" y="1349904"/>
                    <a:pt x="1032643" y="1388316"/>
                    <a:pt x="1011763" y="1383927"/>
                  </a:cubicBezTo>
                  <a:cubicBezTo>
                    <a:pt x="991982" y="1381732"/>
                    <a:pt x="988685" y="1426728"/>
                    <a:pt x="971102" y="1405876"/>
                  </a:cubicBezTo>
                  <a:cubicBezTo>
                    <a:pt x="952420" y="1382829"/>
                    <a:pt x="975498" y="1378439"/>
                    <a:pt x="948024" y="1354294"/>
                  </a:cubicBezTo>
                  <a:cubicBezTo>
                    <a:pt x="921649" y="1330150"/>
                    <a:pt x="926045" y="1302713"/>
                    <a:pt x="902967" y="1277471"/>
                  </a:cubicBezTo>
                  <a:cubicBezTo>
                    <a:pt x="878790" y="1251131"/>
                    <a:pt x="895275" y="1245643"/>
                    <a:pt x="883186" y="1224792"/>
                  </a:cubicBezTo>
                  <a:cubicBezTo>
                    <a:pt x="868900" y="1205037"/>
                    <a:pt x="866702" y="1205037"/>
                    <a:pt x="846921" y="1207231"/>
                  </a:cubicBezTo>
                  <a:cubicBezTo>
                    <a:pt x="829338" y="1210524"/>
                    <a:pt x="796369" y="1207231"/>
                    <a:pt x="817249" y="1192964"/>
                  </a:cubicBezTo>
                  <a:cubicBezTo>
                    <a:pt x="837030" y="1178697"/>
                    <a:pt x="855712" y="1163332"/>
                    <a:pt x="842525" y="1155650"/>
                  </a:cubicBezTo>
                  <a:cubicBezTo>
                    <a:pt x="830436" y="1146870"/>
                    <a:pt x="817249" y="1153455"/>
                    <a:pt x="801864" y="1160040"/>
                  </a:cubicBezTo>
                  <a:cubicBezTo>
                    <a:pt x="786478" y="1165527"/>
                    <a:pt x="786478" y="1164430"/>
                    <a:pt x="771093" y="1147968"/>
                  </a:cubicBezTo>
                  <a:cubicBezTo>
                    <a:pt x="754609" y="1132603"/>
                    <a:pt x="733729" y="1146870"/>
                    <a:pt x="724938" y="1151260"/>
                  </a:cubicBezTo>
                  <a:cubicBezTo>
                    <a:pt x="715047" y="1155650"/>
                    <a:pt x="694167" y="1162235"/>
                    <a:pt x="660099" y="1152357"/>
                  </a:cubicBezTo>
                  <a:cubicBezTo>
                    <a:pt x="627131" y="1142480"/>
                    <a:pt x="610647" y="1138090"/>
                    <a:pt x="607350" y="1162235"/>
                  </a:cubicBezTo>
                  <a:cubicBezTo>
                    <a:pt x="605152" y="1186380"/>
                    <a:pt x="646912" y="1187477"/>
                    <a:pt x="626032" y="1199550"/>
                  </a:cubicBezTo>
                  <a:cubicBezTo>
                    <a:pt x="606251" y="1210524"/>
                    <a:pt x="615043" y="1221499"/>
                    <a:pt x="600756" y="1226987"/>
                  </a:cubicBezTo>
                  <a:cubicBezTo>
                    <a:pt x="586470" y="1234669"/>
                    <a:pt x="590866" y="1207231"/>
                    <a:pt x="574381" y="1203939"/>
                  </a:cubicBezTo>
                  <a:cubicBezTo>
                    <a:pt x="556798" y="1200647"/>
                    <a:pt x="516137" y="1154552"/>
                    <a:pt x="493059" y="1174307"/>
                  </a:cubicBezTo>
                  <a:cubicBezTo>
                    <a:pt x="471080" y="1191867"/>
                    <a:pt x="494158" y="1244546"/>
                    <a:pt x="473278" y="1233571"/>
                  </a:cubicBezTo>
                  <a:cubicBezTo>
                    <a:pt x="450200" y="1222596"/>
                    <a:pt x="454596" y="1222596"/>
                    <a:pt x="443607" y="1208329"/>
                  </a:cubicBezTo>
                  <a:cubicBezTo>
                    <a:pt x="431518" y="1194062"/>
                    <a:pt x="455695" y="1171015"/>
                    <a:pt x="439211" y="1166625"/>
                  </a:cubicBezTo>
                  <a:cubicBezTo>
                    <a:pt x="421628" y="1162235"/>
                    <a:pt x="416133" y="1191867"/>
                    <a:pt x="406242" y="1185282"/>
                  </a:cubicBezTo>
                  <a:cubicBezTo>
                    <a:pt x="395253" y="1179794"/>
                    <a:pt x="395253" y="1165527"/>
                    <a:pt x="377670" y="1173210"/>
                  </a:cubicBezTo>
                  <a:cubicBezTo>
                    <a:pt x="361185" y="1180892"/>
                    <a:pt x="344701" y="1165527"/>
                    <a:pt x="326019" y="1176502"/>
                  </a:cubicBezTo>
                  <a:cubicBezTo>
                    <a:pt x="307337" y="1186380"/>
                    <a:pt x="309535" y="1187477"/>
                    <a:pt x="295248" y="1186380"/>
                  </a:cubicBezTo>
                  <a:cubicBezTo>
                    <a:pt x="280962" y="1186380"/>
                    <a:pt x="283160" y="1188575"/>
                    <a:pt x="267775" y="1178697"/>
                  </a:cubicBezTo>
                  <a:cubicBezTo>
                    <a:pt x="251290" y="1169917"/>
                    <a:pt x="245796" y="1167722"/>
                    <a:pt x="235905" y="1174307"/>
                  </a:cubicBezTo>
                  <a:cubicBezTo>
                    <a:pt x="226014" y="1179794"/>
                    <a:pt x="220520" y="1184185"/>
                    <a:pt x="207332" y="1178697"/>
                  </a:cubicBezTo>
                  <a:cubicBezTo>
                    <a:pt x="195244" y="1174307"/>
                    <a:pt x="175463" y="1173210"/>
                    <a:pt x="157880" y="1186380"/>
                  </a:cubicBezTo>
                  <a:cubicBezTo>
                    <a:pt x="141396" y="1200647"/>
                    <a:pt x="152385" y="1208329"/>
                    <a:pt x="163375" y="1206134"/>
                  </a:cubicBezTo>
                  <a:cubicBezTo>
                    <a:pt x="175463" y="1205037"/>
                    <a:pt x="177661" y="1223694"/>
                    <a:pt x="157880" y="1220401"/>
                  </a:cubicBezTo>
                  <a:cubicBezTo>
                    <a:pt x="138098" y="1217109"/>
                    <a:pt x="135901" y="1207231"/>
                    <a:pt x="118318" y="1211622"/>
                  </a:cubicBezTo>
                  <a:cubicBezTo>
                    <a:pt x="101833" y="1216012"/>
                    <a:pt x="93042" y="1211622"/>
                    <a:pt x="79854" y="1221499"/>
                  </a:cubicBezTo>
                  <a:cubicBezTo>
                    <a:pt x="67766" y="1232474"/>
                    <a:pt x="52381" y="1243449"/>
                    <a:pt x="54579" y="1253326"/>
                  </a:cubicBezTo>
                  <a:cubicBezTo>
                    <a:pt x="55677" y="1265399"/>
                    <a:pt x="64469" y="1264301"/>
                    <a:pt x="53480" y="1278568"/>
                  </a:cubicBezTo>
                  <a:cubicBezTo>
                    <a:pt x="42490" y="1292836"/>
                    <a:pt x="44688" y="1296128"/>
                    <a:pt x="42490" y="1315883"/>
                  </a:cubicBezTo>
                  <a:cubicBezTo>
                    <a:pt x="40292" y="1334540"/>
                    <a:pt x="29303" y="1345515"/>
                    <a:pt x="40292" y="1356490"/>
                  </a:cubicBezTo>
                  <a:cubicBezTo>
                    <a:pt x="52381" y="1366367"/>
                    <a:pt x="93042" y="1340027"/>
                    <a:pt x="100734" y="1358685"/>
                  </a:cubicBezTo>
                  <a:cubicBezTo>
                    <a:pt x="108427" y="1378439"/>
                    <a:pt x="106229" y="1376244"/>
                    <a:pt x="110625" y="1395999"/>
                  </a:cubicBezTo>
                  <a:cubicBezTo>
                    <a:pt x="112823" y="1414656"/>
                    <a:pt x="128208" y="1413559"/>
                    <a:pt x="133703" y="1395999"/>
                  </a:cubicBezTo>
                  <a:cubicBezTo>
                    <a:pt x="137000" y="1377341"/>
                    <a:pt x="142495" y="1352099"/>
                    <a:pt x="155682" y="1354294"/>
                  </a:cubicBezTo>
                  <a:cubicBezTo>
                    <a:pt x="169968" y="1355392"/>
                    <a:pt x="183155" y="1349904"/>
                    <a:pt x="195244" y="1340027"/>
                  </a:cubicBezTo>
                  <a:cubicBezTo>
                    <a:pt x="207332" y="1330150"/>
                    <a:pt x="208431" y="1331248"/>
                    <a:pt x="227113" y="1327955"/>
                  </a:cubicBezTo>
                  <a:cubicBezTo>
                    <a:pt x="245796" y="1325760"/>
                    <a:pt x="253488" y="1335637"/>
                    <a:pt x="231509" y="1344417"/>
                  </a:cubicBezTo>
                  <a:cubicBezTo>
                    <a:pt x="211728" y="1354294"/>
                    <a:pt x="187551" y="1360879"/>
                    <a:pt x="182056" y="1374049"/>
                  </a:cubicBezTo>
                  <a:cubicBezTo>
                    <a:pt x="178760" y="1387219"/>
                    <a:pt x="187551" y="1397097"/>
                    <a:pt x="211728" y="1390511"/>
                  </a:cubicBezTo>
                  <a:cubicBezTo>
                    <a:pt x="235905" y="1386122"/>
                    <a:pt x="252389" y="1370757"/>
                    <a:pt x="252389" y="1380634"/>
                  </a:cubicBezTo>
                  <a:cubicBezTo>
                    <a:pt x="252389" y="1391609"/>
                    <a:pt x="235905" y="1398194"/>
                    <a:pt x="251290" y="1406974"/>
                  </a:cubicBezTo>
                  <a:cubicBezTo>
                    <a:pt x="266676" y="1414656"/>
                    <a:pt x="280962" y="1415753"/>
                    <a:pt x="275467" y="1425631"/>
                  </a:cubicBezTo>
                  <a:cubicBezTo>
                    <a:pt x="269972" y="1436606"/>
                    <a:pt x="252389" y="1434411"/>
                    <a:pt x="237004" y="1424534"/>
                  </a:cubicBezTo>
                  <a:cubicBezTo>
                    <a:pt x="221619" y="1414656"/>
                    <a:pt x="215025" y="1411364"/>
                    <a:pt x="200739" y="1410266"/>
                  </a:cubicBezTo>
                  <a:cubicBezTo>
                    <a:pt x="187551" y="1409169"/>
                    <a:pt x="164474" y="1404778"/>
                    <a:pt x="151286" y="1406974"/>
                  </a:cubicBezTo>
                  <a:cubicBezTo>
                    <a:pt x="137000" y="1408071"/>
                    <a:pt x="128208" y="1412461"/>
                    <a:pt x="119417" y="1434411"/>
                  </a:cubicBezTo>
                  <a:cubicBezTo>
                    <a:pt x="108427" y="1456360"/>
                    <a:pt x="113922" y="1490383"/>
                    <a:pt x="127109" y="1478310"/>
                  </a:cubicBezTo>
                  <a:cubicBezTo>
                    <a:pt x="140297" y="1467335"/>
                    <a:pt x="130406" y="1451971"/>
                    <a:pt x="146890" y="1449776"/>
                  </a:cubicBezTo>
                  <a:cubicBezTo>
                    <a:pt x="162275" y="1447581"/>
                    <a:pt x="163375" y="1431118"/>
                    <a:pt x="174364" y="1436606"/>
                  </a:cubicBezTo>
                  <a:cubicBezTo>
                    <a:pt x="185353" y="1444288"/>
                    <a:pt x="173265" y="1451971"/>
                    <a:pt x="184254" y="1465140"/>
                  </a:cubicBezTo>
                  <a:cubicBezTo>
                    <a:pt x="196343" y="1477213"/>
                    <a:pt x="202937" y="1461848"/>
                    <a:pt x="210629" y="1476115"/>
                  </a:cubicBezTo>
                  <a:cubicBezTo>
                    <a:pt x="219421" y="1491480"/>
                    <a:pt x="209530" y="1503552"/>
                    <a:pt x="216124" y="1514527"/>
                  </a:cubicBezTo>
                  <a:cubicBezTo>
                    <a:pt x="223817" y="1525502"/>
                    <a:pt x="240301" y="1541964"/>
                    <a:pt x="219421" y="1540867"/>
                  </a:cubicBezTo>
                  <a:cubicBezTo>
                    <a:pt x="197442" y="1539769"/>
                    <a:pt x="201838" y="1522209"/>
                    <a:pt x="177661" y="1524404"/>
                  </a:cubicBezTo>
                  <a:cubicBezTo>
                    <a:pt x="153484" y="1525502"/>
                    <a:pt x="153484" y="1535379"/>
                    <a:pt x="133703" y="1534282"/>
                  </a:cubicBezTo>
                  <a:cubicBezTo>
                    <a:pt x="112823" y="1533184"/>
                    <a:pt x="82052" y="1543062"/>
                    <a:pt x="50183" y="1533184"/>
                  </a:cubicBezTo>
                  <a:cubicBezTo>
                    <a:pt x="18313" y="1524404"/>
                    <a:pt x="-12457" y="1513430"/>
                    <a:pt x="5126" y="1543062"/>
                  </a:cubicBezTo>
                  <a:cubicBezTo>
                    <a:pt x="20511" y="1573791"/>
                    <a:pt x="36995" y="1579279"/>
                    <a:pt x="62271" y="1582571"/>
                  </a:cubicBezTo>
                  <a:cubicBezTo>
                    <a:pt x="86448" y="1586961"/>
                    <a:pt x="106229" y="1580376"/>
                    <a:pt x="110625" y="1595741"/>
                  </a:cubicBezTo>
                  <a:cubicBezTo>
                    <a:pt x="112823" y="1611106"/>
                    <a:pt x="121614" y="1614398"/>
                    <a:pt x="132604" y="1623178"/>
                  </a:cubicBezTo>
                  <a:cubicBezTo>
                    <a:pt x="143593" y="1631958"/>
                    <a:pt x="152385" y="1650615"/>
                    <a:pt x="147989" y="1682442"/>
                  </a:cubicBezTo>
                  <a:cubicBezTo>
                    <a:pt x="143593" y="1715367"/>
                    <a:pt x="123812" y="1702197"/>
                    <a:pt x="138098" y="1731829"/>
                  </a:cubicBezTo>
                  <a:cubicBezTo>
                    <a:pt x="152385" y="1760363"/>
                    <a:pt x="198541" y="1732926"/>
                    <a:pt x="210629" y="1751584"/>
                  </a:cubicBezTo>
                  <a:cubicBezTo>
                    <a:pt x="222718" y="1770241"/>
                    <a:pt x="242499" y="1784508"/>
                    <a:pt x="245796" y="1757071"/>
                  </a:cubicBezTo>
                  <a:cubicBezTo>
                    <a:pt x="247993" y="1728536"/>
                    <a:pt x="228212" y="1718659"/>
                    <a:pt x="243598" y="1708781"/>
                  </a:cubicBezTo>
                  <a:cubicBezTo>
                    <a:pt x="257884" y="1698905"/>
                    <a:pt x="253488" y="1689027"/>
                    <a:pt x="260082" y="1675857"/>
                  </a:cubicBezTo>
                  <a:cubicBezTo>
                    <a:pt x="268874" y="1661590"/>
                    <a:pt x="283160" y="1642932"/>
                    <a:pt x="283160" y="1671467"/>
                  </a:cubicBezTo>
                  <a:cubicBezTo>
                    <a:pt x="284259" y="1698905"/>
                    <a:pt x="267775" y="1708781"/>
                    <a:pt x="274368" y="1724147"/>
                  </a:cubicBezTo>
                  <a:cubicBezTo>
                    <a:pt x="282061" y="1738414"/>
                    <a:pt x="285358" y="1729634"/>
                    <a:pt x="296347" y="1742804"/>
                  </a:cubicBezTo>
                  <a:cubicBezTo>
                    <a:pt x="307337" y="1757071"/>
                    <a:pt x="319425" y="1782313"/>
                    <a:pt x="331514" y="1758168"/>
                  </a:cubicBezTo>
                  <a:cubicBezTo>
                    <a:pt x="342503" y="1732926"/>
                    <a:pt x="327118" y="1702197"/>
                    <a:pt x="342503" y="1703294"/>
                  </a:cubicBezTo>
                  <a:cubicBezTo>
                    <a:pt x="358987" y="1705489"/>
                    <a:pt x="356790" y="1723049"/>
                    <a:pt x="354592" y="1744998"/>
                  </a:cubicBezTo>
                  <a:cubicBezTo>
                    <a:pt x="352394" y="1766948"/>
                    <a:pt x="342503" y="1772435"/>
                    <a:pt x="356790" y="1783410"/>
                  </a:cubicBezTo>
                  <a:cubicBezTo>
                    <a:pt x="369977" y="1794385"/>
                    <a:pt x="415034" y="1771338"/>
                    <a:pt x="438112" y="1796580"/>
                  </a:cubicBezTo>
                  <a:cubicBezTo>
                    <a:pt x="461190" y="1822920"/>
                    <a:pt x="460091" y="1845967"/>
                    <a:pt x="480971" y="1841577"/>
                  </a:cubicBezTo>
                  <a:cubicBezTo>
                    <a:pt x="502950" y="1838284"/>
                    <a:pt x="520533" y="1836090"/>
                    <a:pt x="526028" y="1853649"/>
                  </a:cubicBezTo>
                  <a:cubicBezTo>
                    <a:pt x="531522" y="1871209"/>
                    <a:pt x="531522" y="1890964"/>
                    <a:pt x="553501" y="1889866"/>
                  </a:cubicBezTo>
                  <a:cubicBezTo>
                    <a:pt x="576579" y="1889866"/>
                    <a:pt x="575480" y="1858040"/>
                    <a:pt x="593064" y="1849259"/>
                  </a:cubicBezTo>
                  <a:cubicBezTo>
                    <a:pt x="610647" y="1840479"/>
                    <a:pt x="608449" y="1873404"/>
                    <a:pt x="594162" y="1887671"/>
                  </a:cubicBezTo>
                  <a:cubicBezTo>
                    <a:pt x="580975" y="1901939"/>
                    <a:pt x="598558" y="1895354"/>
                    <a:pt x="608449" y="1920596"/>
                  </a:cubicBezTo>
                  <a:cubicBezTo>
                    <a:pt x="617240" y="1945838"/>
                    <a:pt x="623834" y="1955715"/>
                    <a:pt x="638120" y="1935961"/>
                  </a:cubicBezTo>
                  <a:cubicBezTo>
                    <a:pt x="653506" y="1917303"/>
                    <a:pt x="654605" y="1884379"/>
                    <a:pt x="666693" y="1895354"/>
                  </a:cubicBezTo>
                  <a:cubicBezTo>
                    <a:pt x="679881" y="1906328"/>
                    <a:pt x="669990" y="1917303"/>
                    <a:pt x="654605" y="1938156"/>
                  </a:cubicBezTo>
                  <a:cubicBezTo>
                    <a:pt x="640318" y="1960105"/>
                    <a:pt x="657902" y="1964495"/>
                    <a:pt x="656803" y="1988640"/>
                  </a:cubicBezTo>
                  <a:cubicBezTo>
                    <a:pt x="654605" y="2013882"/>
                    <a:pt x="646912" y="1997419"/>
                    <a:pt x="645813" y="2027052"/>
                  </a:cubicBezTo>
                  <a:cubicBezTo>
                    <a:pt x="644714" y="2055587"/>
                    <a:pt x="654605" y="2081926"/>
                    <a:pt x="671089" y="2069854"/>
                  </a:cubicBezTo>
                  <a:cubicBezTo>
                    <a:pt x="686474" y="2056684"/>
                    <a:pt x="668891" y="2050099"/>
                    <a:pt x="675485" y="2029247"/>
                  </a:cubicBezTo>
                  <a:cubicBezTo>
                    <a:pt x="680980" y="2009492"/>
                    <a:pt x="683177" y="1990835"/>
                    <a:pt x="700761" y="1994127"/>
                  </a:cubicBezTo>
                  <a:cubicBezTo>
                    <a:pt x="719443" y="1996322"/>
                    <a:pt x="724938" y="1989738"/>
                    <a:pt x="733729" y="2009492"/>
                  </a:cubicBezTo>
                  <a:cubicBezTo>
                    <a:pt x="742521" y="2028150"/>
                    <a:pt x="744719" y="2054489"/>
                    <a:pt x="761203" y="2035831"/>
                  </a:cubicBezTo>
                  <a:cubicBezTo>
                    <a:pt x="777687" y="2018272"/>
                    <a:pt x="753510" y="1991932"/>
                    <a:pt x="755708" y="1976568"/>
                  </a:cubicBezTo>
                  <a:cubicBezTo>
                    <a:pt x="756807" y="1960105"/>
                    <a:pt x="773291" y="1945838"/>
                    <a:pt x="784281" y="1966690"/>
                  </a:cubicBezTo>
                  <a:cubicBezTo>
                    <a:pt x="795270" y="1988640"/>
                    <a:pt x="793072" y="2004005"/>
                    <a:pt x="808457" y="1994127"/>
                  </a:cubicBezTo>
                  <a:cubicBezTo>
                    <a:pt x="822744" y="1983152"/>
                    <a:pt x="824942" y="1954618"/>
                    <a:pt x="845822" y="1976568"/>
                  </a:cubicBezTo>
                  <a:cubicBezTo>
                    <a:pt x="867801" y="1996322"/>
                    <a:pt x="840327" y="2036929"/>
                    <a:pt x="817249" y="2035831"/>
                  </a:cubicBezTo>
                  <a:cubicBezTo>
                    <a:pt x="794171" y="2033637"/>
                    <a:pt x="763401" y="2022662"/>
                    <a:pt x="771093" y="2050099"/>
                  </a:cubicBezTo>
                  <a:cubicBezTo>
                    <a:pt x="778786" y="2077536"/>
                    <a:pt x="799666" y="2062171"/>
                    <a:pt x="807359" y="2076438"/>
                  </a:cubicBezTo>
                  <a:cubicBezTo>
                    <a:pt x="812854" y="2091803"/>
                    <a:pt x="806260" y="2106071"/>
                    <a:pt x="840327" y="2090706"/>
                  </a:cubicBezTo>
                  <a:cubicBezTo>
                    <a:pt x="873296" y="2075341"/>
                    <a:pt x="880988" y="2040222"/>
                    <a:pt x="911759" y="2066561"/>
                  </a:cubicBezTo>
                  <a:cubicBezTo>
                    <a:pt x="943628" y="2093999"/>
                    <a:pt x="951321" y="2054489"/>
                    <a:pt x="977696" y="2076438"/>
                  </a:cubicBezTo>
                  <a:cubicBezTo>
                    <a:pt x="1002972" y="2099486"/>
                    <a:pt x="968904" y="2103876"/>
                    <a:pt x="951321" y="2109363"/>
                  </a:cubicBezTo>
                  <a:cubicBezTo>
                    <a:pt x="934837" y="2114850"/>
                    <a:pt x="951321" y="2120338"/>
                    <a:pt x="960113" y="2140092"/>
                  </a:cubicBezTo>
                  <a:cubicBezTo>
                    <a:pt x="968904" y="2162042"/>
                    <a:pt x="946925" y="2179602"/>
                    <a:pt x="931540" y="2177407"/>
                  </a:cubicBezTo>
                  <a:cubicBezTo>
                    <a:pt x="916155" y="2174115"/>
                    <a:pt x="889780" y="2167529"/>
                    <a:pt x="900769" y="2192772"/>
                  </a:cubicBezTo>
                  <a:cubicBezTo>
                    <a:pt x="911759" y="2218014"/>
                    <a:pt x="891978" y="2215819"/>
                    <a:pt x="908462" y="2236671"/>
                  </a:cubicBezTo>
                  <a:cubicBezTo>
                    <a:pt x="924946" y="2259718"/>
                    <a:pt x="945826" y="2239964"/>
                    <a:pt x="966706" y="2254231"/>
                  </a:cubicBezTo>
                  <a:cubicBezTo>
                    <a:pt x="989784" y="2268498"/>
                    <a:pt x="978795" y="2291546"/>
                    <a:pt x="1012862" y="2281668"/>
                  </a:cubicBezTo>
                  <a:cubicBezTo>
                    <a:pt x="1048029" y="2272888"/>
                    <a:pt x="1059018" y="2245451"/>
                    <a:pt x="1091987" y="2244353"/>
                  </a:cubicBezTo>
                  <a:cubicBezTo>
                    <a:pt x="1122757" y="2242159"/>
                    <a:pt x="1186496" y="2260816"/>
                    <a:pt x="1145835" y="2269596"/>
                  </a:cubicBezTo>
                  <a:cubicBezTo>
                    <a:pt x="1104075" y="2278376"/>
                    <a:pt x="1052424" y="2260816"/>
                    <a:pt x="1050226" y="2298130"/>
                  </a:cubicBezTo>
                  <a:cubicBezTo>
                    <a:pt x="1049128" y="2334347"/>
                    <a:pt x="1019456" y="2314592"/>
                    <a:pt x="1024951" y="2349712"/>
                  </a:cubicBezTo>
                  <a:cubicBezTo>
                    <a:pt x="1032643" y="2384832"/>
                    <a:pt x="1090888" y="2362882"/>
                    <a:pt x="1097481" y="2401294"/>
                  </a:cubicBezTo>
                  <a:cubicBezTo>
                    <a:pt x="1106273" y="2438608"/>
                    <a:pt x="1095283" y="2471532"/>
                    <a:pt x="1073304" y="2480312"/>
                  </a:cubicBezTo>
                  <a:cubicBezTo>
                    <a:pt x="1052424" y="2487995"/>
                    <a:pt x="1038138" y="2480312"/>
                    <a:pt x="1029346" y="2455070"/>
                  </a:cubicBezTo>
                  <a:cubicBezTo>
                    <a:pt x="1019456" y="2429828"/>
                    <a:pt x="1010664" y="2392514"/>
                    <a:pt x="991982" y="2415561"/>
                  </a:cubicBezTo>
                  <a:cubicBezTo>
                    <a:pt x="973300" y="2437511"/>
                    <a:pt x="979894" y="2457265"/>
                    <a:pt x="1002972" y="2466045"/>
                  </a:cubicBezTo>
                  <a:cubicBezTo>
                    <a:pt x="1024951" y="2474825"/>
                    <a:pt x="1019456" y="2479215"/>
                    <a:pt x="1029346" y="2502262"/>
                  </a:cubicBezTo>
                  <a:cubicBezTo>
                    <a:pt x="1039237" y="2526407"/>
                    <a:pt x="1042534" y="2518724"/>
                    <a:pt x="1037039" y="2551649"/>
                  </a:cubicBezTo>
                  <a:cubicBezTo>
                    <a:pt x="1029346" y="2584573"/>
                    <a:pt x="1029346" y="2573598"/>
                    <a:pt x="1050226" y="2604328"/>
                  </a:cubicBezTo>
                  <a:cubicBezTo>
                    <a:pt x="1072205" y="2635058"/>
                    <a:pt x="1082096" y="2643837"/>
                    <a:pt x="1102976" y="2677859"/>
                  </a:cubicBezTo>
                  <a:cubicBezTo>
                    <a:pt x="1122757" y="2712979"/>
                    <a:pt x="1140340" y="2705296"/>
                    <a:pt x="1141439" y="2759073"/>
                  </a:cubicBezTo>
                  <a:cubicBezTo>
                    <a:pt x="1142538" y="2812850"/>
                    <a:pt x="1126054" y="2824922"/>
                    <a:pt x="1161220" y="2843580"/>
                  </a:cubicBezTo>
                  <a:cubicBezTo>
                    <a:pt x="1197486" y="2862237"/>
                    <a:pt x="1255730" y="2866626"/>
                    <a:pt x="1270016" y="2881992"/>
                  </a:cubicBezTo>
                  <a:cubicBezTo>
                    <a:pt x="1284303" y="2897356"/>
                    <a:pt x="1262324" y="2921501"/>
                    <a:pt x="1286500" y="2940158"/>
                  </a:cubicBezTo>
                  <a:cubicBezTo>
                    <a:pt x="1309578" y="2958815"/>
                    <a:pt x="1340349" y="2930280"/>
                    <a:pt x="1352437" y="2952230"/>
                  </a:cubicBezTo>
                  <a:cubicBezTo>
                    <a:pt x="1365625" y="2975278"/>
                    <a:pt x="1375515" y="3000520"/>
                    <a:pt x="1396395" y="2990642"/>
                  </a:cubicBezTo>
                  <a:cubicBezTo>
                    <a:pt x="1419473" y="2980765"/>
                    <a:pt x="1405187" y="2936866"/>
                    <a:pt x="1428265" y="2954425"/>
                  </a:cubicBezTo>
                  <a:cubicBezTo>
                    <a:pt x="1451343" y="2970887"/>
                    <a:pt x="1478817" y="2993935"/>
                    <a:pt x="1443650" y="3019177"/>
                  </a:cubicBezTo>
                  <a:cubicBezTo>
                    <a:pt x="1408484" y="3044419"/>
                    <a:pt x="1374416" y="3055394"/>
                    <a:pt x="1378812" y="3074051"/>
                  </a:cubicBezTo>
                  <a:cubicBezTo>
                    <a:pt x="1383208" y="3092708"/>
                    <a:pt x="1420572" y="3078441"/>
                    <a:pt x="1428265" y="3123438"/>
                  </a:cubicBezTo>
                  <a:cubicBezTo>
                    <a:pt x="1433760" y="3167337"/>
                    <a:pt x="1433760" y="3187092"/>
                    <a:pt x="1415078" y="3201359"/>
                  </a:cubicBezTo>
                  <a:cubicBezTo>
                    <a:pt x="1396395" y="3215626"/>
                    <a:pt x="1420572" y="3233186"/>
                    <a:pt x="1413979" y="3259525"/>
                  </a:cubicBezTo>
                  <a:cubicBezTo>
                    <a:pt x="1405187" y="3286962"/>
                    <a:pt x="1371120" y="3322082"/>
                    <a:pt x="1365625" y="3288060"/>
                  </a:cubicBezTo>
                  <a:cubicBezTo>
                    <a:pt x="1361229" y="3255136"/>
                    <a:pt x="1366724" y="3187092"/>
                    <a:pt x="1345844" y="3169532"/>
                  </a:cubicBezTo>
                  <a:cubicBezTo>
                    <a:pt x="1322766" y="3151972"/>
                    <a:pt x="1317271" y="3160752"/>
                    <a:pt x="1302985" y="3139900"/>
                  </a:cubicBezTo>
                  <a:cubicBezTo>
                    <a:pt x="1288698" y="3116853"/>
                    <a:pt x="1260126" y="3101488"/>
                    <a:pt x="1259027" y="3136608"/>
                  </a:cubicBezTo>
                  <a:cubicBezTo>
                    <a:pt x="1257928" y="3171727"/>
                    <a:pt x="1283204" y="3200262"/>
                    <a:pt x="1298589" y="3235381"/>
                  </a:cubicBezTo>
                  <a:cubicBezTo>
                    <a:pt x="1313974" y="3272695"/>
                    <a:pt x="1353536" y="3262818"/>
                    <a:pt x="1355734" y="3292450"/>
                  </a:cubicBezTo>
                  <a:cubicBezTo>
                    <a:pt x="1356833" y="3322082"/>
                    <a:pt x="1374416" y="3322082"/>
                    <a:pt x="1396395" y="3327569"/>
                  </a:cubicBezTo>
                  <a:cubicBezTo>
                    <a:pt x="1419473" y="3331960"/>
                    <a:pt x="1445848" y="3362689"/>
                    <a:pt x="1428265" y="3371469"/>
                  </a:cubicBezTo>
                  <a:cubicBezTo>
                    <a:pt x="1410682" y="3381346"/>
                    <a:pt x="1386505" y="3347324"/>
                    <a:pt x="1352437" y="3346227"/>
                  </a:cubicBezTo>
                  <a:cubicBezTo>
                    <a:pt x="1320568" y="3344032"/>
                    <a:pt x="1298589" y="3365981"/>
                    <a:pt x="1320568" y="3382444"/>
                  </a:cubicBezTo>
                  <a:cubicBezTo>
                    <a:pt x="1340349" y="3397809"/>
                    <a:pt x="1371120" y="3365981"/>
                    <a:pt x="1388703" y="3417563"/>
                  </a:cubicBezTo>
                  <a:cubicBezTo>
                    <a:pt x="1405187" y="3470242"/>
                    <a:pt x="1393099" y="3480120"/>
                    <a:pt x="1420572" y="3494387"/>
                  </a:cubicBezTo>
                  <a:cubicBezTo>
                    <a:pt x="1449145" y="3508654"/>
                    <a:pt x="1460135" y="3489997"/>
                    <a:pt x="1481015" y="3525117"/>
                  </a:cubicBezTo>
                  <a:cubicBezTo>
                    <a:pt x="1500795" y="3562431"/>
                    <a:pt x="1526072" y="3560236"/>
                    <a:pt x="1521676" y="3593161"/>
                  </a:cubicBezTo>
                  <a:cubicBezTo>
                    <a:pt x="1517280" y="3626085"/>
                    <a:pt x="1522774" y="3635963"/>
                    <a:pt x="1522774" y="3684252"/>
                  </a:cubicBezTo>
                  <a:cubicBezTo>
                    <a:pt x="1522774" y="3730346"/>
                    <a:pt x="1521676" y="3755588"/>
                    <a:pt x="1520577" y="3794000"/>
                  </a:cubicBezTo>
                  <a:cubicBezTo>
                    <a:pt x="1518379" y="3832412"/>
                    <a:pt x="1495301" y="3889481"/>
                    <a:pt x="1496400" y="3818145"/>
                  </a:cubicBezTo>
                  <a:cubicBezTo>
                    <a:pt x="1497499" y="3746808"/>
                    <a:pt x="1510686" y="3707299"/>
                    <a:pt x="1486509" y="3671082"/>
                  </a:cubicBezTo>
                  <a:cubicBezTo>
                    <a:pt x="1462332" y="3634865"/>
                    <a:pt x="1463431" y="3603038"/>
                    <a:pt x="1442551" y="3578893"/>
                  </a:cubicBezTo>
                  <a:cubicBezTo>
                    <a:pt x="1419473" y="3554749"/>
                    <a:pt x="1417276" y="3581089"/>
                    <a:pt x="1399692" y="3534994"/>
                  </a:cubicBezTo>
                  <a:cubicBezTo>
                    <a:pt x="1383208" y="3489997"/>
                    <a:pt x="1395297" y="3469145"/>
                    <a:pt x="1373318" y="3475730"/>
                  </a:cubicBezTo>
                  <a:cubicBezTo>
                    <a:pt x="1350240" y="3481217"/>
                    <a:pt x="1344745" y="3519629"/>
                    <a:pt x="1331557" y="3551456"/>
                  </a:cubicBezTo>
                  <a:cubicBezTo>
                    <a:pt x="1319469" y="3583283"/>
                    <a:pt x="1339250" y="3575601"/>
                    <a:pt x="1321667" y="3622793"/>
                  </a:cubicBezTo>
                  <a:cubicBezTo>
                    <a:pt x="1306282" y="3671082"/>
                    <a:pt x="1285402" y="3740224"/>
                    <a:pt x="1251334" y="3828022"/>
                  </a:cubicBezTo>
                  <a:cubicBezTo>
                    <a:pt x="1216168" y="3916918"/>
                    <a:pt x="1256829" y="3935576"/>
                    <a:pt x="1222761" y="3982767"/>
                  </a:cubicBezTo>
                  <a:cubicBezTo>
                    <a:pt x="1187595" y="4028862"/>
                    <a:pt x="1163418" y="4099100"/>
                    <a:pt x="1199683" y="4078248"/>
                  </a:cubicBezTo>
                  <a:cubicBezTo>
                    <a:pt x="1238147" y="4058494"/>
                    <a:pt x="1235949" y="4026667"/>
                    <a:pt x="1255730" y="4018984"/>
                  </a:cubicBezTo>
                  <a:cubicBezTo>
                    <a:pt x="1275511" y="4010204"/>
                    <a:pt x="1290896" y="3986060"/>
                    <a:pt x="1296391" y="4018984"/>
                  </a:cubicBezTo>
                  <a:cubicBezTo>
                    <a:pt x="1301886" y="4051909"/>
                    <a:pt x="1301886" y="4088125"/>
                    <a:pt x="1281006" y="4083736"/>
                  </a:cubicBezTo>
                  <a:cubicBezTo>
                    <a:pt x="1257928" y="4079346"/>
                    <a:pt x="1248037" y="4085931"/>
                    <a:pt x="1222761" y="4103490"/>
                  </a:cubicBezTo>
                  <a:cubicBezTo>
                    <a:pt x="1197486" y="4122148"/>
                    <a:pt x="1187595" y="4149585"/>
                    <a:pt x="1179903" y="4163852"/>
                  </a:cubicBezTo>
                  <a:cubicBezTo>
                    <a:pt x="1172210" y="4178119"/>
                    <a:pt x="1175507" y="4185802"/>
                    <a:pt x="1168913" y="4222019"/>
                  </a:cubicBezTo>
                  <a:cubicBezTo>
                    <a:pt x="1163418" y="4258235"/>
                    <a:pt x="1110669" y="4351521"/>
                    <a:pt x="1100778" y="4417370"/>
                  </a:cubicBezTo>
                  <a:cubicBezTo>
                    <a:pt x="1090888" y="4483219"/>
                    <a:pt x="1088690" y="4496389"/>
                    <a:pt x="1062315" y="4555654"/>
                  </a:cubicBezTo>
                  <a:cubicBezTo>
                    <a:pt x="1037039" y="4614917"/>
                    <a:pt x="1050226" y="4637965"/>
                    <a:pt x="1006268" y="4713691"/>
                  </a:cubicBezTo>
                  <a:cubicBezTo>
                    <a:pt x="962310" y="4790515"/>
                    <a:pt x="939233" y="4834414"/>
                    <a:pt x="893077" y="4862949"/>
                  </a:cubicBezTo>
                  <a:cubicBezTo>
                    <a:pt x="845822" y="4891483"/>
                    <a:pt x="856812" y="4876119"/>
                    <a:pt x="806260" y="4893679"/>
                  </a:cubicBezTo>
                  <a:cubicBezTo>
                    <a:pt x="810656" y="4898069"/>
                    <a:pt x="815051" y="4903556"/>
                    <a:pt x="819447" y="4906848"/>
                  </a:cubicBezTo>
                  <a:cubicBezTo>
                    <a:pt x="826041" y="4912336"/>
                    <a:pt x="828239" y="4916725"/>
                    <a:pt x="829338" y="4920018"/>
                  </a:cubicBezTo>
                  <a:cubicBezTo>
                    <a:pt x="831535" y="4925506"/>
                    <a:pt x="833734" y="4928798"/>
                    <a:pt x="846921" y="4930993"/>
                  </a:cubicBezTo>
                  <a:cubicBezTo>
                    <a:pt x="869999" y="4934286"/>
                    <a:pt x="876592" y="4949650"/>
                    <a:pt x="882087" y="4963918"/>
                  </a:cubicBezTo>
                  <a:cubicBezTo>
                    <a:pt x="884285" y="4968307"/>
                    <a:pt x="885384" y="4972697"/>
                    <a:pt x="887582" y="4975990"/>
                  </a:cubicBezTo>
                  <a:cubicBezTo>
                    <a:pt x="889780" y="4980380"/>
                    <a:pt x="891978" y="4980380"/>
                    <a:pt x="891978" y="4980380"/>
                  </a:cubicBezTo>
                  <a:lnTo>
                    <a:pt x="891978" y="4980380"/>
                  </a:lnTo>
                  <a:cubicBezTo>
                    <a:pt x="895275" y="4980380"/>
                    <a:pt x="900769" y="4973795"/>
                    <a:pt x="905165" y="4969405"/>
                  </a:cubicBezTo>
                  <a:cubicBezTo>
                    <a:pt x="907363" y="4967210"/>
                    <a:pt x="910660" y="4963918"/>
                    <a:pt x="912858" y="4961723"/>
                  </a:cubicBezTo>
                  <a:cubicBezTo>
                    <a:pt x="927144" y="4950748"/>
                    <a:pt x="937035" y="4961723"/>
                    <a:pt x="943628" y="4969405"/>
                  </a:cubicBezTo>
                  <a:cubicBezTo>
                    <a:pt x="945826" y="4972697"/>
                    <a:pt x="949123" y="4974893"/>
                    <a:pt x="951321" y="4977087"/>
                  </a:cubicBezTo>
                  <a:cubicBezTo>
                    <a:pt x="954618" y="4979282"/>
                    <a:pt x="961212" y="4980380"/>
                    <a:pt x="966706" y="4981477"/>
                  </a:cubicBezTo>
                  <a:cubicBezTo>
                    <a:pt x="979894" y="4982574"/>
                    <a:pt x="995279" y="4984770"/>
                    <a:pt x="1002972" y="5002330"/>
                  </a:cubicBezTo>
                  <a:cubicBezTo>
                    <a:pt x="1008466" y="5016597"/>
                    <a:pt x="1007367" y="5022084"/>
                    <a:pt x="1005170" y="5028669"/>
                  </a:cubicBezTo>
                  <a:cubicBezTo>
                    <a:pt x="1004071" y="5031961"/>
                    <a:pt x="1002972" y="5035254"/>
                    <a:pt x="1006268" y="5042936"/>
                  </a:cubicBezTo>
                  <a:cubicBezTo>
                    <a:pt x="1010664" y="5059398"/>
                    <a:pt x="995279" y="5073666"/>
                    <a:pt x="979894" y="5086835"/>
                  </a:cubicBezTo>
                  <a:cubicBezTo>
                    <a:pt x="972201" y="5093421"/>
                    <a:pt x="963409" y="5101103"/>
                    <a:pt x="960113" y="5107688"/>
                  </a:cubicBezTo>
                  <a:cubicBezTo>
                    <a:pt x="957915" y="5112078"/>
                    <a:pt x="957915" y="5116468"/>
                    <a:pt x="961212" y="5121955"/>
                  </a:cubicBezTo>
                  <a:cubicBezTo>
                    <a:pt x="967805" y="5134028"/>
                    <a:pt x="986487" y="5145002"/>
                    <a:pt x="996378" y="5145002"/>
                  </a:cubicBezTo>
                  <a:cubicBezTo>
                    <a:pt x="1000774" y="5146100"/>
                    <a:pt x="1002972" y="5140612"/>
                    <a:pt x="1006268" y="5129637"/>
                  </a:cubicBezTo>
                  <a:cubicBezTo>
                    <a:pt x="1009565" y="5118663"/>
                    <a:pt x="1013961" y="5105493"/>
                    <a:pt x="1027149" y="5103298"/>
                  </a:cubicBezTo>
                  <a:cubicBezTo>
                    <a:pt x="1032643" y="5102200"/>
                    <a:pt x="1038138" y="5103298"/>
                    <a:pt x="1041435" y="5106591"/>
                  </a:cubicBezTo>
                  <a:cubicBezTo>
                    <a:pt x="1046930" y="5110980"/>
                    <a:pt x="1048029" y="5119760"/>
                    <a:pt x="1049128" y="5128540"/>
                  </a:cubicBezTo>
                  <a:cubicBezTo>
                    <a:pt x="1050226" y="5135125"/>
                    <a:pt x="1050226" y="5140612"/>
                    <a:pt x="1052424" y="5147197"/>
                  </a:cubicBezTo>
                  <a:cubicBezTo>
                    <a:pt x="1057919" y="5163659"/>
                    <a:pt x="1083195" y="5177927"/>
                    <a:pt x="1132648" y="5195486"/>
                  </a:cubicBezTo>
                  <a:cubicBezTo>
                    <a:pt x="1168913" y="5208656"/>
                    <a:pt x="1197486" y="5227314"/>
                    <a:pt x="1217267" y="5239386"/>
                  </a:cubicBezTo>
                  <a:cubicBezTo>
                    <a:pt x="1223860" y="5243776"/>
                    <a:pt x="1230454" y="5247068"/>
                    <a:pt x="1234850" y="5250361"/>
                  </a:cubicBezTo>
                  <a:cubicBezTo>
                    <a:pt x="1240345" y="5253653"/>
                    <a:pt x="1248037" y="5254751"/>
                    <a:pt x="1256829" y="5254751"/>
                  </a:cubicBezTo>
                  <a:cubicBezTo>
                    <a:pt x="1271115" y="5255848"/>
                    <a:pt x="1287599" y="5256945"/>
                    <a:pt x="1295292" y="5274505"/>
                  </a:cubicBezTo>
                  <a:cubicBezTo>
                    <a:pt x="1298589" y="5281090"/>
                    <a:pt x="1300787" y="5286577"/>
                    <a:pt x="1302985" y="5292065"/>
                  </a:cubicBezTo>
                  <a:cubicBezTo>
                    <a:pt x="1308479" y="5305235"/>
                    <a:pt x="1310677" y="5310722"/>
                    <a:pt x="1321667" y="5311819"/>
                  </a:cubicBezTo>
                  <a:cubicBezTo>
                    <a:pt x="1339250" y="5314015"/>
                    <a:pt x="1344745" y="5329380"/>
                    <a:pt x="1353536" y="5349134"/>
                  </a:cubicBezTo>
                  <a:cubicBezTo>
                    <a:pt x="1355734" y="5355719"/>
                    <a:pt x="1359031" y="5362304"/>
                    <a:pt x="1363427" y="5369987"/>
                  </a:cubicBezTo>
                  <a:cubicBezTo>
                    <a:pt x="1372219" y="5388643"/>
                    <a:pt x="1409583" y="5384254"/>
                    <a:pt x="1431562" y="5382059"/>
                  </a:cubicBezTo>
                  <a:cubicBezTo>
                    <a:pt x="1439255" y="5380961"/>
                    <a:pt x="1444749" y="5380961"/>
                    <a:pt x="1449145" y="5380961"/>
                  </a:cubicBezTo>
                  <a:cubicBezTo>
                    <a:pt x="1455739" y="5380961"/>
                    <a:pt x="1461234" y="5377668"/>
                    <a:pt x="1467827" y="5373279"/>
                  </a:cubicBezTo>
                  <a:cubicBezTo>
                    <a:pt x="1477718" y="5366694"/>
                    <a:pt x="1489806" y="5359012"/>
                    <a:pt x="1507389" y="5364499"/>
                  </a:cubicBezTo>
                  <a:cubicBezTo>
                    <a:pt x="1526072" y="5371084"/>
                    <a:pt x="1537061" y="5386449"/>
                    <a:pt x="1549150" y="5400716"/>
                  </a:cubicBezTo>
                  <a:cubicBezTo>
                    <a:pt x="1554644" y="5407301"/>
                    <a:pt x="1560139" y="5414983"/>
                    <a:pt x="1565634" y="5420471"/>
                  </a:cubicBezTo>
                  <a:cubicBezTo>
                    <a:pt x="1570029" y="5424861"/>
                    <a:pt x="1574425" y="5429250"/>
                    <a:pt x="1577722" y="5432543"/>
                  </a:cubicBezTo>
                  <a:cubicBezTo>
                    <a:pt x="1588711" y="5442420"/>
                    <a:pt x="1596404" y="5450103"/>
                    <a:pt x="1601899" y="5469857"/>
                  </a:cubicBezTo>
                  <a:cubicBezTo>
                    <a:pt x="1607394" y="5488515"/>
                    <a:pt x="1632669" y="5487417"/>
                    <a:pt x="1652451" y="5487417"/>
                  </a:cubicBezTo>
                  <a:lnTo>
                    <a:pt x="1657945" y="5487417"/>
                  </a:lnTo>
                  <a:cubicBezTo>
                    <a:pt x="1666737" y="5487417"/>
                    <a:pt x="1673331" y="5484124"/>
                    <a:pt x="1679924" y="5480832"/>
                  </a:cubicBezTo>
                  <a:cubicBezTo>
                    <a:pt x="1688716" y="5476442"/>
                    <a:pt x="1697508" y="5473150"/>
                    <a:pt x="1709596" y="5474247"/>
                  </a:cubicBezTo>
                  <a:cubicBezTo>
                    <a:pt x="1720585" y="5475345"/>
                    <a:pt x="1733773" y="5481929"/>
                    <a:pt x="1749158" y="5489612"/>
                  </a:cubicBezTo>
                  <a:cubicBezTo>
                    <a:pt x="1763445" y="5497294"/>
                    <a:pt x="1779929" y="5504977"/>
                    <a:pt x="1787621" y="5503879"/>
                  </a:cubicBezTo>
                  <a:cubicBezTo>
                    <a:pt x="1789819" y="5503879"/>
                    <a:pt x="1792017" y="5502782"/>
                    <a:pt x="1794215" y="5501685"/>
                  </a:cubicBezTo>
                  <a:cubicBezTo>
                    <a:pt x="1807403" y="5497294"/>
                    <a:pt x="1820590" y="5494002"/>
                    <a:pt x="1846964" y="5517049"/>
                  </a:cubicBezTo>
                  <a:cubicBezTo>
                    <a:pt x="1861251" y="5529122"/>
                    <a:pt x="1879933" y="5526927"/>
                    <a:pt x="1898615" y="5523634"/>
                  </a:cubicBezTo>
                  <a:cubicBezTo>
                    <a:pt x="1917297" y="5521439"/>
                    <a:pt x="1935980" y="5518147"/>
                    <a:pt x="1946969" y="5532414"/>
                  </a:cubicBezTo>
                  <a:cubicBezTo>
                    <a:pt x="1949167" y="5535706"/>
                    <a:pt x="1952464" y="5537901"/>
                    <a:pt x="1953563" y="5537901"/>
                  </a:cubicBezTo>
                  <a:cubicBezTo>
                    <a:pt x="1959057" y="5535706"/>
                    <a:pt x="1965651" y="5511562"/>
                    <a:pt x="1959057" y="5480832"/>
                  </a:cubicBezTo>
                  <a:cubicBezTo>
                    <a:pt x="1954661" y="5461078"/>
                    <a:pt x="1959057" y="5443517"/>
                    <a:pt x="1971146" y="5432543"/>
                  </a:cubicBezTo>
                  <a:cubicBezTo>
                    <a:pt x="1984333" y="5421568"/>
                    <a:pt x="2004114" y="5419373"/>
                    <a:pt x="2024994" y="5425958"/>
                  </a:cubicBezTo>
                  <a:cubicBezTo>
                    <a:pt x="2038182" y="5430348"/>
                    <a:pt x="2052468" y="5439128"/>
                    <a:pt x="2066754" y="5447908"/>
                  </a:cubicBezTo>
                  <a:cubicBezTo>
                    <a:pt x="2089833" y="5462175"/>
                    <a:pt x="2115108" y="5477540"/>
                    <a:pt x="2134889" y="5473150"/>
                  </a:cubicBezTo>
                  <a:cubicBezTo>
                    <a:pt x="2160165" y="5466565"/>
                    <a:pt x="2172254" y="5481929"/>
                    <a:pt x="2186540" y="5498392"/>
                  </a:cubicBezTo>
                  <a:cubicBezTo>
                    <a:pt x="2194233" y="5508269"/>
                    <a:pt x="2204123" y="5519244"/>
                    <a:pt x="2217311" y="5529122"/>
                  </a:cubicBezTo>
                  <a:cubicBezTo>
                    <a:pt x="2239290" y="5545584"/>
                    <a:pt x="2264565" y="5552169"/>
                    <a:pt x="2286544" y="5558753"/>
                  </a:cubicBezTo>
                  <a:cubicBezTo>
                    <a:pt x="2301930" y="5563143"/>
                    <a:pt x="2316216" y="5566436"/>
                    <a:pt x="2328304" y="5573021"/>
                  </a:cubicBezTo>
                  <a:cubicBezTo>
                    <a:pt x="2342591" y="5581801"/>
                    <a:pt x="2343690" y="5594971"/>
                    <a:pt x="2342591" y="5610335"/>
                  </a:cubicBezTo>
                  <a:cubicBezTo>
                    <a:pt x="2355778" y="5604848"/>
                    <a:pt x="2378856" y="5596068"/>
                    <a:pt x="2400835" y="5600458"/>
                  </a:cubicBezTo>
                  <a:cubicBezTo>
                    <a:pt x="2420616" y="5603750"/>
                    <a:pt x="2427210" y="5610335"/>
                    <a:pt x="2434902" y="5618018"/>
                  </a:cubicBezTo>
                  <a:cubicBezTo>
                    <a:pt x="2439298" y="5622408"/>
                    <a:pt x="2442595" y="5626797"/>
                    <a:pt x="2450288" y="5630090"/>
                  </a:cubicBezTo>
                  <a:cubicBezTo>
                    <a:pt x="2459079" y="5634480"/>
                    <a:pt x="2468970" y="5633383"/>
                    <a:pt x="2479960" y="5632285"/>
                  </a:cubicBezTo>
                  <a:cubicBezTo>
                    <a:pt x="2492048" y="5631187"/>
                    <a:pt x="2503037" y="5630090"/>
                    <a:pt x="2515125" y="5635577"/>
                  </a:cubicBezTo>
                  <a:cubicBezTo>
                    <a:pt x="2527214" y="5641064"/>
                    <a:pt x="2531610" y="5648747"/>
                    <a:pt x="2532709" y="5654234"/>
                  </a:cubicBezTo>
                  <a:cubicBezTo>
                    <a:pt x="2534907" y="5666307"/>
                    <a:pt x="2528313" y="5679476"/>
                    <a:pt x="2515125" y="5694841"/>
                  </a:cubicBezTo>
                  <a:cubicBezTo>
                    <a:pt x="2500839" y="5711304"/>
                    <a:pt x="2497543" y="5728863"/>
                    <a:pt x="2495345" y="5736546"/>
                  </a:cubicBezTo>
                  <a:cubicBezTo>
                    <a:pt x="2496444" y="5736546"/>
                    <a:pt x="2498641" y="5736546"/>
                    <a:pt x="2499741" y="5737644"/>
                  </a:cubicBezTo>
                  <a:cubicBezTo>
                    <a:pt x="2510730" y="5742033"/>
                    <a:pt x="2526115" y="5740936"/>
                    <a:pt x="2541501" y="5738741"/>
                  </a:cubicBezTo>
                  <a:cubicBezTo>
                    <a:pt x="2564578" y="5735448"/>
                    <a:pt x="2589855" y="5732156"/>
                    <a:pt x="2605239" y="5753008"/>
                  </a:cubicBezTo>
                  <a:cubicBezTo>
                    <a:pt x="2618427" y="5770568"/>
                    <a:pt x="2618427" y="5789225"/>
                    <a:pt x="2619526" y="5805687"/>
                  </a:cubicBezTo>
                  <a:cubicBezTo>
                    <a:pt x="2619526" y="5821052"/>
                    <a:pt x="2620625" y="5832027"/>
                    <a:pt x="2629416" y="5838611"/>
                  </a:cubicBezTo>
                  <a:cubicBezTo>
                    <a:pt x="2642604" y="5848489"/>
                    <a:pt x="2666781" y="5833124"/>
                    <a:pt x="2688760" y="5819955"/>
                  </a:cubicBezTo>
                  <a:cubicBezTo>
                    <a:pt x="2699749" y="5813369"/>
                    <a:pt x="2709640" y="5806785"/>
                    <a:pt x="2718431" y="5803493"/>
                  </a:cubicBezTo>
                  <a:cubicBezTo>
                    <a:pt x="2750301" y="5791420"/>
                    <a:pt x="2801952" y="5829832"/>
                    <a:pt x="2811842" y="5843002"/>
                  </a:cubicBezTo>
                  <a:cubicBezTo>
                    <a:pt x="2821733" y="5855074"/>
                    <a:pt x="2839315" y="5870439"/>
                    <a:pt x="2873383" y="5862756"/>
                  </a:cubicBezTo>
                  <a:cubicBezTo>
                    <a:pt x="2897560" y="5856172"/>
                    <a:pt x="2907450" y="5868244"/>
                    <a:pt x="2916242" y="5877023"/>
                  </a:cubicBezTo>
                  <a:cubicBezTo>
                    <a:pt x="2922836" y="5883609"/>
                    <a:pt x="2926133" y="5886901"/>
                    <a:pt x="2933826" y="5886901"/>
                  </a:cubicBezTo>
                  <a:cubicBezTo>
                    <a:pt x="2944815" y="5885804"/>
                    <a:pt x="2947013" y="5881414"/>
                    <a:pt x="2952508" y="5867146"/>
                  </a:cubicBezTo>
                  <a:cubicBezTo>
                    <a:pt x="2954705" y="5859464"/>
                    <a:pt x="2958003" y="5850684"/>
                    <a:pt x="2964596" y="5839709"/>
                  </a:cubicBezTo>
                  <a:cubicBezTo>
                    <a:pt x="2981080" y="5815565"/>
                    <a:pt x="3012950" y="5815565"/>
                    <a:pt x="3040424" y="5815565"/>
                  </a:cubicBezTo>
                  <a:cubicBezTo>
                    <a:pt x="3045918" y="5815565"/>
                    <a:pt x="3052512" y="5815565"/>
                    <a:pt x="3058007" y="5815565"/>
                  </a:cubicBezTo>
                  <a:cubicBezTo>
                    <a:pt x="3065699" y="5814467"/>
                    <a:pt x="3073392" y="5813369"/>
                    <a:pt x="3081084" y="5812272"/>
                  </a:cubicBezTo>
                  <a:cubicBezTo>
                    <a:pt x="3104163" y="5808980"/>
                    <a:pt x="3126142" y="5805687"/>
                    <a:pt x="3151417" y="5817760"/>
                  </a:cubicBezTo>
                  <a:cubicBezTo>
                    <a:pt x="3165704" y="5825442"/>
                    <a:pt x="3183287" y="5830930"/>
                    <a:pt x="3197573" y="5834222"/>
                  </a:cubicBezTo>
                  <a:cubicBezTo>
                    <a:pt x="3200870" y="5816662"/>
                    <a:pt x="3200870" y="5798005"/>
                    <a:pt x="3181089" y="5779348"/>
                  </a:cubicBezTo>
                  <a:cubicBezTo>
                    <a:pt x="3143725" y="5740936"/>
                    <a:pt x="3117350" y="5754106"/>
                    <a:pt x="3134933" y="5702524"/>
                  </a:cubicBezTo>
                  <a:cubicBezTo>
                    <a:pt x="3150319" y="5652039"/>
                    <a:pt x="3162407" y="5613627"/>
                    <a:pt x="3150319" y="5598263"/>
                  </a:cubicBezTo>
                  <a:cubicBezTo>
                    <a:pt x="3137131" y="5582898"/>
                    <a:pt x="3068996" y="5513757"/>
                    <a:pt x="3096470" y="5514854"/>
                  </a:cubicBezTo>
                  <a:cubicBezTo>
                    <a:pt x="3122845" y="5515952"/>
                    <a:pt x="3139329" y="5574118"/>
                    <a:pt x="3155813" y="5549973"/>
                  </a:cubicBezTo>
                  <a:cubicBezTo>
                    <a:pt x="3173396" y="5524731"/>
                    <a:pt x="3140428" y="5495099"/>
                    <a:pt x="3169000" y="5476442"/>
                  </a:cubicBezTo>
                  <a:cubicBezTo>
                    <a:pt x="3197573" y="5457785"/>
                    <a:pt x="3234937" y="5440225"/>
                    <a:pt x="3212958" y="5413886"/>
                  </a:cubicBezTo>
                  <a:cubicBezTo>
                    <a:pt x="3189881" y="5388643"/>
                    <a:pt x="3163505" y="5363401"/>
                    <a:pt x="3188782" y="5362304"/>
                  </a:cubicBezTo>
                  <a:cubicBezTo>
                    <a:pt x="3214058" y="5360109"/>
                    <a:pt x="3214058" y="5413886"/>
                    <a:pt x="3238235" y="5386449"/>
                  </a:cubicBezTo>
                  <a:cubicBezTo>
                    <a:pt x="3262411" y="5357914"/>
                    <a:pt x="3260214" y="5354622"/>
                    <a:pt x="3283291" y="5329380"/>
                  </a:cubicBezTo>
                  <a:cubicBezTo>
                    <a:pt x="3307468" y="5304138"/>
                    <a:pt x="3316260" y="5286577"/>
                    <a:pt x="3350327" y="5288773"/>
                  </a:cubicBezTo>
                  <a:cubicBezTo>
                    <a:pt x="3383295" y="5289870"/>
                    <a:pt x="3393186" y="5296455"/>
                    <a:pt x="3410769" y="5286577"/>
                  </a:cubicBezTo>
                  <a:cubicBezTo>
                    <a:pt x="3429451" y="5276700"/>
                    <a:pt x="3456925" y="5300845"/>
                    <a:pt x="3476706" y="5255848"/>
                  </a:cubicBezTo>
                  <a:cubicBezTo>
                    <a:pt x="3495388" y="5209754"/>
                    <a:pt x="3617372" y="5096713"/>
                    <a:pt x="3670121" y="5116468"/>
                  </a:cubicBezTo>
                  <a:cubicBezTo>
                    <a:pt x="3723970" y="5135125"/>
                    <a:pt x="3706387" y="5168049"/>
                    <a:pt x="3747048" y="5188902"/>
                  </a:cubicBezTo>
                  <a:cubicBezTo>
                    <a:pt x="3787709" y="5211949"/>
                    <a:pt x="3800896" y="5176829"/>
                    <a:pt x="3836063" y="5173537"/>
                  </a:cubicBezTo>
                  <a:cubicBezTo>
                    <a:pt x="3871229" y="5170244"/>
                    <a:pt x="3871229" y="5192194"/>
                    <a:pt x="3905296" y="5204266"/>
                  </a:cubicBezTo>
                  <a:cubicBezTo>
                    <a:pt x="3940463" y="5217436"/>
                    <a:pt x="3962442" y="5198779"/>
                    <a:pt x="3956947" y="5230606"/>
                  </a:cubicBezTo>
                  <a:cubicBezTo>
                    <a:pt x="3949254" y="5261335"/>
                    <a:pt x="3949254" y="5281090"/>
                    <a:pt x="3984421" y="5276700"/>
                  </a:cubicBezTo>
                  <a:cubicBezTo>
                    <a:pt x="4020686" y="5274505"/>
                    <a:pt x="4000905" y="5279993"/>
                    <a:pt x="4056952" y="5276700"/>
                  </a:cubicBezTo>
                  <a:cubicBezTo>
                    <a:pt x="4114097" y="5274505"/>
                    <a:pt x="4108602" y="5220728"/>
                    <a:pt x="4136075" y="5230606"/>
                  </a:cubicBezTo>
                  <a:cubicBezTo>
                    <a:pt x="4164649" y="5240483"/>
                    <a:pt x="4208607" y="5276700"/>
                    <a:pt x="4193221" y="5214144"/>
                  </a:cubicBezTo>
                  <a:cubicBezTo>
                    <a:pt x="4177836" y="5150490"/>
                    <a:pt x="4174539" y="5094518"/>
                    <a:pt x="4208607" y="5132930"/>
                  </a:cubicBezTo>
                  <a:cubicBezTo>
                    <a:pt x="4243773" y="5170244"/>
                    <a:pt x="4250367" y="5202071"/>
                    <a:pt x="4227289" y="5237191"/>
                  </a:cubicBezTo>
                  <a:cubicBezTo>
                    <a:pt x="4205310" y="5272310"/>
                    <a:pt x="4132779" y="5303040"/>
                    <a:pt x="4176737" y="5319502"/>
                  </a:cubicBezTo>
                  <a:cubicBezTo>
                    <a:pt x="4220695" y="5334867"/>
                    <a:pt x="4231684" y="5320600"/>
                    <a:pt x="4274544" y="5315112"/>
                  </a:cubicBezTo>
                  <a:cubicBezTo>
                    <a:pt x="4317402" y="5307430"/>
                    <a:pt x="4319600" y="5290968"/>
                    <a:pt x="4332788" y="5312917"/>
                  </a:cubicBezTo>
                  <a:cubicBezTo>
                    <a:pt x="4344876" y="5335964"/>
                    <a:pt x="4304215" y="5348037"/>
                    <a:pt x="4303116" y="5365596"/>
                  </a:cubicBezTo>
                  <a:cubicBezTo>
                    <a:pt x="4300918" y="5383156"/>
                    <a:pt x="4305314" y="5408398"/>
                    <a:pt x="4330590" y="5404008"/>
                  </a:cubicBezTo>
                  <a:cubicBezTo>
                    <a:pt x="4356965" y="5399618"/>
                    <a:pt x="4376746" y="5368889"/>
                    <a:pt x="4408616" y="5400716"/>
                  </a:cubicBezTo>
                  <a:cubicBezTo>
                    <a:pt x="4440485" y="5432543"/>
                    <a:pt x="4440485" y="5419373"/>
                    <a:pt x="4464662" y="5423763"/>
                  </a:cubicBezTo>
                  <a:cubicBezTo>
                    <a:pt x="4487739" y="5425958"/>
                    <a:pt x="4496531" y="5424861"/>
                    <a:pt x="4502026" y="5449005"/>
                  </a:cubicBezTo>
                  <a:cubicBezTo>
                    <a:pt x="4506422" y="5473150"/>
                    <a:pt x="4529500" y="5447908"/>
                    <a:pt x="4534995" y="5464370"/>
                  </a:cubicBezTo>
                  <a:cubicBezTo>
                    <a:pt x="4540489" y="5481929"/>
                    <a:pt x="4522906" y="5477540"/>
                    <a:pt x="4530599" y="5499489"/>
                  </a:cubicBezTo>
                  <a:cubicBezTo>
                    <a:pt x="4539390" y="5522536"/>
                    <a:pt x="4563567" y="5512659"/>
                    <a:pt x="4570161" y="5502782"/>
                  </a:cubicBezTo>
                  <a:cubicBezTo>
                    <a:pt x="4575655" y="5492904"/>
                    <a:pt x="4583348" y="5487417"/>
                    <a:pt x="4589942" y="5503879"/>
                  </a:cubicBezTo>
                  <a:cubicBezTo>
                    <a:pt x="4598734" y="5521439"/>
                    <a:pt x="4617416" y="5526927"/>
                    <a:pt x="4620713" y="5500587"/>
                  </a:cubicBezTo>
                  <a:cubicBezTo>
                    <a:pt x="4622911" y="5475345"/>
                    <a:pt x="4636097" y="5444615"/>
                    <a:pt x="4647087" y="5465467"/>
                  </a:cubicBezTo>
                  <a:cubicBezTo>
                    <a:pt x="4658076" y="5488515"/>
                    <a:pt x="4671264" y="5475345"/>
                    <a:pt x="4691045" y="5492904"/>
                  </a:cubicBezTo>
                  <a:cubicBezTo>
                    <a:pt x="4710827" y="5509366"/>
                    <a:pt x="4666869" y="5517049"/>
                    <a:pt x="4676759" y="5537901"/>
                  </a:cubicBezTo>
                  <a:cubicBezTo>
                    <a:pt x="4686650" y="5560948"/>
                    <a:pt x="4696540" y="5562046"/>
                    <a:pt x="4718519" y="5553266"/>
                  </a:cubicBezTo>
                  <a:cubicBezTo>
                    <a:pt x="4738300" y="5545584"/>
                    <a:pt x="4745992" y="5535706"/>
                    <a:pt x="4741597" y="5511562"/>
                  </a:cubicBezTo>
                  <a:cubicBezTo>
                    <a:pt x="4737201" y="5487417"/>
                    <a:pt x="4740498" y="5463273"/>
                    <a:pt x="4755883" y="5474247"/>
                  </a:cubicBezTo>
                  <a:cubicBezTo>
                    <a:pt x="4772367" y="5486320"/>
                    <a:pt x="4798743" y="5450103"/>
                    <a:pt x="4802039" y="5483027"/>
                  </a:cubicBezTo>
                  <a:cubicBezTo>
                    <a:pt x="4804237" y="5513757"/>
                    <a:pt x="4817424" y="5533511"/>
                    <a:pt x="4827315" y="5513757"/>
                  </a:cubicBezTo>
                  <a:cubicBezTo>
                    <a:pt x="4837206" y="5496197"/>
                    <a:pt x="4831711" y="5478637"/>
                    <a:pt x="4842700" y="5473150"/>
                  </a:cubicBezTo>
                  <a:cubicBezTo>
                    <a:pt x="4853690" y="5467662"/>
                    <a:pt x="4858085" y="5453395"/>
                    <a:pt x="4874570" y="5458882"/>
                  </a:cubicBezTo>
                  <a:cubicBezTo>
                    <a:pt x="4889955" y="5464370"/>
                    <a:pt x="4889955" y="5434738"/>
                    <a:pt x="4916330" y="5444615"/>
                  </a:cubicBezTo>
                  <a:cubicBezTo>
                    <a:pt x="4943803" y="5454492"/>
                    <a:pt x="4930616" y="5477540"/>
                    <a:pt x="4958090" y="5462175"/>
                  </a:cubicBezTo>
                  <a:cubicBezTo>
                    <a:pt x="4984465" y="5446810"/>
                    <a:pt x="4950397" y="5420471"/>
                    <a:pt x="4980069" y="5404008"/>
                  </a:cubicBezTo>
                  <a:cubicBezTo>
                    <a:pt x="5008642" y="5386449"/>
                    <a:pt x="5011938" y="5366694"/>
                    <a:pt x="4995454" y="5366694"/>
                  </a:cubicBezTo>
                  <a:cubicBezTo>
                    <a:pt x="4980069" y="5366694"/>
                    <a:pt x="4946001" y="5396326"/>
                    <a:pt x="4949298" y="5379864"/>
                  </a:cubicBezTo>
                  <a:cubicBezTo>
                    <a:pt x="4950397" y="5362304"/>
                    <a:pt x="4971277" y="5362304"/>
                    <a:pt x="4986663" y="5346939"/>
                  </a:cubicBezTo>
                  <a:cubicBezTo>
                    <a:pt x="5003147" y="5331575"/>
                    <a:pt x="4998751" y="5318405"/>
                    <a:pt x="5015235" y="5303040"/>
                  </a:cubicBezTo>
                  <a:cubicBezTo>
                    <a:pt x="5032819" y="5287675"/>
                    <a:pt x="5033917" y="5272310"/>
                    <a:pt x="5056996" y="5276700"/>
                  </a:cubicBezTo>
                  <a:cubicBezTo>
                    <a:pt x="5078975" y="5281090"/>
                    <a:pt x="5098755" y="5293163"/>
                    <a:pt x="5117438" y="5258043"/>
                  </a:cubicBezTo>
                  <a:cubicBezTo>
                    <a:pt x="5136119" y="5220728"/>
                    <a:pt x="5135021" y="5214144"/>
                    <a:pt x="5157000" y="5211949"/>
                  </a:cubicBezTo>
                  <a:cubicBezTo>
                    <a:pt x="5180077" y="5210851"/>
                    <a:pt x="5209749" y="5230606"/>
                    <a:pt x="5220739" y="5195486"/>
                  </a:cubicBezTo>
                  <a:cubicBezTo>
                    <a:pt x="5232827" y="5158172"/>
                    <a:pt x="5229530" y="5149392"/>
                    <a:pt x="5249312" y="5130735"/>
                  </a:cubicBezTo>
                  <a:cubicBezTo>
                    <a:pt x="5269093" y="5112078"/>
                    <a:pt x="5311951" y="5094518"/>
                    <a:pt x="5342722" y="5114272"/>
                  </a:cubicBezTo>
                  <a:cubicBezTo>
                    <a:pt x="5374591" y="5132930"/>
                    <a:pt x="5386680" y="5109883"/>
                    <a:pt x="5397670" y="5089030"/>
                  </a:cubicBezTo>
                  <a:cubicBezTo>
                    <a:pt x="5408659" y="5070373"/>
                    <a:pt x="5416351" y="5071471"/>
                    <a:pt x="5433935" y="5062691"/>
                  </a:cubicBezTo>
                  <a:cubicBezTo>
                    <a:pt x="5422945" y="5042936"/>
                    <a:pt x="5409758" y="5015499"/>
                    <a:pt x="5413055" y="5000135"/>
                  </a:cubicBezTo>
                  <a:cubicBezTo>
                    <a:pt x="5417451" y="4985867"/>
                    <a:pt x="5422945" y="4982574"/>
                    <a:pt x="5428440" y="4978185"/>
                  </a:cubicBezTo>
                  <a:cubicBezTo>
                    <a:pt x="5432836" y="4974893"/>
                    <a:pt x="5437232" y="4971600"/>
                    <a:pt x="5441628" y="4961723"/>
                  </a:cubicBezTo>
                  <a:cubicBezTo>
                    <a:pt x="5444924" y="4952943"/>
                    <a:pt x="5446023" y="4945260"/>
                    <a:pt x="5446023" y="4938675"/>
                  </a:cubicBezTo>
                  <a:cubicBezTo>
                    <a:pt x="5447123" y="4928798"/>
                    <a:pt x="5447123" y="4918921"/>
                    <a:pt x="5461409" y="4910141"/>
                  </a:cubicBezTo>
                  <a:cubicBezTo>
                    <a:pt x="5469101" y="4904653"/>
                    <a:pt x="5474596" y="4903556"/>
                    <a:pt x="5478992" y="4902458"/>
                  </a:cubicBezTo>
                  <a:cubicBezTo>
                    <a:pt x="5485586" y="4900263"/>
                    <a:pt x="5488882" y="4899166"/>
                    <a:pt x="5500971" y="4882704"/>
                  </a:cubicBezTo>
                  <a:cubicBezTo>
                    <a:pt x="5515257" y="4862949"/>
                    <a:pt x="5511960" y="4856364"/>
                    <a:pt x="5505367" y="4842097"/>
                  </a:cubicBezTo>
                  <a:cubicBezTo>
                    <a:pt x="5503169" y="4837707"/>
                    <a:pt x="5500971" y="4834414"/>
                    <a:pt x="5498773" y="4828927"/>
                  </a:cubicBezTo>
                  <a:cubicBezTo>
                    <a:pt x="5494377" y="4819050"/>
                    <a:pt x="5494377" y="4809172"/>
                    <a:pt x="5493278" y="4801490"/>
                  </a:cubicBezTo>
                  <a:cubicBezTo>
                    <a:pt x="5492179" y="4788320"/>
                    <a:pt x="5492179" y="4781735"/>
                    <a:pt x="5482288" y="4777346"/>
                  </a:cubicBezTo>
                  <a:cubicBezTo>
                    <a:pt x="5473497" y="4774053"/>
                    <a:pt x="5470200" y="4777346"/>
                    <a:pt x="5462507" y="4788320"/>
                  </a:cubicBezTo>
                  <a:cubicBezTo>
                    <a:pt x="5458112" y="4794905"/>
                    <a:pt x="5451518" y="4803685"/>
                    <a:pt x="5442726" y="4808075"/>
                  </a:cubicBezTo>
                  <a:cubicBezTo>
                    <a:pt x="5419649" y="4819050"/>
                    <a:pt x="5381186" y="4827830"/>
                    <a:pt x="5347118" y="4830025"/>
                  </a:cubicBezTo>
                  <a:cubicBezTo>
                    <a:pt x="5324040" y="4832220"/>
                    <a:pt x="5313051" y="4815757"/>
                    <a:pt x="5303160" y="4801490"/>
                  </a:cubicBezTo>
                  <a:cubicBezTo>
                    <a:pt x="5295467" y="4790515"/>
                    <a:pt x="5287775" y="4780638"/>
                    <a:pt x="5277884" y="4778443"/>
                  </a:cubicBezTo>
                  <a:cubicBezTo>
                    <a:pt x="5266895" y="4775150"/>
                    <a:pt x="5260301" y="4776248"/>
                    <a:pt x="5253707" y="4778443"/>
                  </a:cubicBezTo>
                  <a:cubicBezTo>
                    <a:pt x="5243817" y="4780638"/>
                    <a:pt x="5235025" y="4782833"/>
                    <a:pt x="5221838" y="4767468"/>
                  </a:cubicBezTo>
                  <a:cubicBezTo>
                    <a:pt x="5202056" y="4744421"/>
                    <a:pt x="5198760" y="4743323"/>
                    <a:pt x="5177880" y="4734543"/>
                  </a:cubicBezTo>
                  <a:cubicBezTo>
                    <a:pt x="5152604" y="4723569"/>
                    <a:pt x="5151505" y="4720276"/>
                    <a:pt x="5143812" y="4689547"/>
                  </a:cubicBezTo>
                  <a:cubicBezTo>
                    <a:pt x="5141614" y="4676377"/>
                    <a:pt x="5137219" y="4671987"/>
                    <a:pt x="5132823" y="4666499"/>
                  </a:cubicBezTo>
                  <a:cubicBezTo>
                    <a:pt x="5127328" y="4661012"/>
                    <a:pt x="5121833" y="4655524"/>
                    <a:pt x="5121833" y="4639062"/>
                  </a:cubicBezTo>
                  <a:cubicBezTo>
                    <a:pt x="5119635" y="4611625"/>
                    <a:pt x="5121833" y="4606138"/>
                    <a:pt x="5135021" y="4594066"/>
                  </a:cubicBezTo>
                  <a:cubicBezTo>
                    <a:pt x="5143812" y="4586383"/>
                    <a:pt x="5143812" y="4583091"/>
                    <a:pt x="5129526" y="4563336"/>
                  </a:cubicBezTo>
                  <a:cubicBezTo>
                    <a:pt x="5119635" y="4550166"/>
                    <a:pt x="5113042" y="4531509"/>
                    <a:pt x="5117438" y="4519437"/>
                  </a:cubicBezTo>
                  <a:cubicBezTo>
                    <a:pt x="5119635" y="4513950"/>
                    <a:pt x="5124031" y="4509559"/>
                    <a:pt x="5130625" y="4507364"/>
                  </a:cubicBezTo>
                  <a:cubicBezTo>
                    <a:pt x="5147109" y="4502975"/>
                    <a:pt x="5153703" y="4495292"/>
                    <a:pt x="5153703" y="4479927"/>
                  </a:cubicBezTo>
                  <a:lnTo>
                    <a:pt x="5154802" y="4473343"/>
                  </a:lnTo>
                  <a:cubicBezTo>
                    <a:pt x="5155901" y="4460173"/>
                    <a:pt x="5158098" y="4445905"/>
                    <a:pt x="5167989" y="4439320"/>
                  </a:cubicBezTo>
                  <a:cubicBezTo>
                    <a:pt x="5173484" y="4436028"/>
                    <a:pt x="5180077" y="4434931"/>
                    <a:pt x="5187770" y="4437126"/>
                  </a:cubicBezTo>
                  <a:cubicBezTo>
                    <a:pt x="5202056" y="4440418"/>
                    <a:pt x="5217442" y="4434931"/>
                    <a:pt x="5221838" y="4428345"/>
                  </a:cubicBezTo>
                  <a:cubicBezTo>
                    <a:pt x="5222937" y="4427248"/>
                    <a:pt x="5225135" y="4422858"/>
                    <a:pt x="5219640" y="4416273"/>
                  </a:cubicBezTo>
                  <a:cubicBezTo>
                    <a:pt x="5203156" y="4394324"/>
                    <a:pt x="5199859" y="4381154"/>
                    <a:pt x="5196562" y="4354814"/>
                  </a:cubicBezTo>
                  <a:cubicBezTo>
                    <a:pt x="5194364" y="4339449"/>
                    <a:pt x="5188869" y="4328475"/>
                    <a:pt x="5181177" y="4322987"/>
                  </a:cubicBezTo>
                  <a:cubicBezTo>
                    <a:pt x="5177880" y="4320792"/>
                    <a:pt x="5173484" y="4320792"/>
                    <a:pt x="5169088" y="4321890"/>
                  </a:cubicBezTo>
                  <a:cubicBezTo>
                    <a:pt x="5155901" y="4327377"/>
                    <a:pt x="5126229" y="4325182"/>
                    <a:pt x="5107547" y="4316403"/>
                  </a:cubicBezTo>
                  <a:cubicBezTo>
                    <a:pt x="5097656" y="4312012"/>
                    <a:pt x="5092161" y="4306525"/>
                    <a:pt x="5089964" y="4301038"/>
                  </a:cubicBezTo>
                  <a:cubicBezTo>
                    <a:pt x="5086667" y="4290063"/>
                    <a:pt x="5084469" y="4282380"/>
                    <a:pt x="5082271" y="4271405"/>
                  </a:cubicBezTo>
                  <a:cubicBezTo>
                    <a:pt x="5081172" y="4263723"/>
                    <a:pt x="5078975" y="4256041"/>
                    <a:pt x="5076777" y="4242871"/>
                  </a:cubicBezTo>
                  <a:cubicBezTo>
                    <a:pt x="5070182" y="4208849"/>
                    <a:pt x="5059193" y="4201167"/>
                    <a:pt x="5050401" y="4197874"/>
                  </a:cubicBezTo>
                  <a:cubicBezTo>
                    <a:pt x="5040511" y="4193484"/>
                    <a:pt x="5030621" y="4180314"/>
                    <a:pt x="5027324" y="4167144"/>
                  </a:cubicBezTo>
                  <a:cubicBezTo>
                    <a:pt x="5025126" y="4156169"/>
                    <a:pt x="5027324" y="4146292"/>
                    <a:pt x="5033917" y="4139707"/>
                  </a:cubicBezTo>
                  <a:cubicBezTo>
                    <a:pt x="5038313" y="4135318"/>
                    <a:pt x="5040511" y="4129830"/>
                    <a:pt x="5042709" y="4124343"/>
                  </a:cubicBezTo>
                  <a:cubicBezTo>
                    <a:pt x="5049303" y="4108978"/>
                    <a:pt x="5055896" y="4099100"/>
                    <a:pt x="5084469" y="4110075"/>
                  </a:cubicBezTo>
                  <a:cubicBezTo>
                    <a:pt x="5096557" y="4114465"/>
                    <a:pt x="5106448" y="4119953"/>
                    <a:pt x="5114140" y="4124343"/>
                  </a:cubicBezTo>
                  <a:cubicBezTo>
                    <a:pt x="5129526" y="4133123"/>
                    <a:pt x="5133922" y="4135318"/>
                    <a:pt x="5141614" y="4126537"/>
                  </a:cubicBezTo>
                  <a:cubicBezTo>
                    <a:pt x="5148208" y="4121050"/>
                    <a:pt x="5152604" y="4115562"/>
                    <a:pt x="5155901" y="4111173"/>
                  </a:cubicBezTo>
                  <a:cubicBezTo>
                    <a:pt x="5163593" y="4102393"/>
                    <a:pt x="5169088" y="4095808"/>
                    <a:pt x="5182275" y="4089223"/>
                  </a:cubicBezTo>
                  <a:cubicBezTo>
                    <a:pt x="5187770" y="4087028"/>
                    <a:pt x="5191067" y="4084833"/>
                    <a:pt x="5194364" y="4082638"/>
                  </a:cubicBezTo>
                  <a:cubicBezTo>
                    <a:pt x="5203156" y="4077151"/>
                    <a:pt x="5209749" y="4073858"/>
                    <a:pt x="5229530" y="4068371"/>
                  </a:cubicBezTo>
                  <a:cubicBezTo>
                    <a:pt x="5250410" y="4061786"/>
                    <a:pt x="5265796" y="4035446"/>
                    <a:pt x="5267993" y="4006912"/>
                  </a:cubicBezTo>
                  <a:cubicBezTo>
                    <a:pt x="5269093" y="3995937"/>
                    <a:pt x="5272389" y="3987157"/>
                    <a:pt x="5275686" y="3978377"/>
                  </a:cubicBezTo>
                  <a:cubicBezTo>
                    <a:pt x="5282280" y="3959720"/>
                    <a:pt x="5287775" y="3946550"/>
                    <a:pt x="5270191" y="3933380"/>
                  </a:cubicBezTo>
                  <a:cubicBezTo>
                    <a:pt x="5260301" y="3925698"/>
                    <a:pt x="5251509" y="3921308"/>
                    <a:pt x="5243817" y="3916918"/>
                  </a:cubicBezTo>
                  <a:cubicBezTo>
                    <a:pt x="5229530" y="3910334"/>
                    <a:pt x="5218541" y="3904846"/>
                    <a:pt x="5211947" y="3879603"/>
                  </a:cubicBezTo>
                  <a:cubicBezTo>
                    <a:pt x="5207551" y="3864239"/>
                    <a:pt x="5208650" y="3851069"/>
                    <a:pt x="5209749" y="3838997"/>
                  </a:cubicBezTo>
                  <a:cubicBezTo>
                    <a:pt x="5210848" y="3821437"/>
                    <a:pt x="5211947" y="3808267"/>
                    <a:pt x="5198760" y="3796195"/>
                  </a:cubicBezTo>
                  <a:cubicBezTo>
                    <a:pt x="5189968" y="3788513"/>
                    <a:pt x="5180077" y="3785220"/>
                    <a:pt x="5171286" y="3781928"/>
                  </a:cubicBezTo>
                  <a:cubicBezTo>
                    <a:pt x="5155901" y="3776440"/>
                    <a:pt x="5139417" y="3770953"/>
                    <a:pt x="5129526" y="3744613"/>
                  </a:cubicBezTo>
                  <a:cubicBezTo>
                    <a:pt x="5118536" y="3716079"/>
                    <a:pt x="5115240" y="3676569"/>
                    <a:pt x="5127328" y="3655717"/>
                  </a:cubicBezTo>
                  <a:cubicBezTo>
                    <a:pt x="5132823" y="3646938"/>
                    <a:pt x="5140515" y="3642547"/>
                    <a:pt x="5149307" y="3641450"/>
                  </a:cubicBezTo>
                  <a:cubicBezTo>
                    <a:pt x="5157000" y="3640352"/>
                    <a:pt x="5163593" y="3640352"/>
                    <a:pt x="5170187" y="3641450"/>
                  </a:cubicBezTo>
                  <a:cubicBezTo>
                    <a:pt x="5196562" y="3641450"/>
                    <a:pt x="5211947" y="3640352"/>
                    <a:pt x="5218541" y="3619500"/>
                  </a:cubicBezTo>
                  <a:cubicBezTo>
                    <a:pt x="5229530" y="3587673"/>
                    <a:pt x="5222937" y="3539384"/>
                    <a:pt x="5197661" y="3528409"/>
                  </a:cubicBezTo>
                  <a:cubicBezTo>
                    <a:pt x="5187770" y="3524019"/>
                    <a:pt x="5181177" y="3524019"/>
                    <a:pt x="5174583" y="3524019"/>
                  </a:cubicBezTo>
                  <a:cubicBezTo>
                    <a:pt x="5159198" y="3524019"/>
                    <a:pt x="5153703" y="3519629"/>
                    <a:pt x="5152604" y="3496582"/>
                  </a:cubicBezTo>
                  <a:lnTo>
                    <a:pt x="5152604" y="3493290"/>
                  </a:lnTo>
                  <a:cubicBezTo>
                    <a:pt x="5150406" y="3460365"/>
                    <a:pt x="5149307" y="3457072"/>
                    <a:pt x="5137219" y="3449391"/>
                  </a:cubicBezTo>
                  <a:cubicBezTo>
                    <a:pt x="5133922" y="3447195"/>
                    <a:pt x="5130625" y="3446098"/>
                    <a:pt x="5128427" y="3445000"/>
                  </a:cubicBezTo>
                  <a:cubicBezTo>
                    <a:pt x="5117438" y="3439513"/>
                    <a:pt x="5110844" y="3435123"/>
                    <a:pt x="5115240" y="3415368"/>
                  </a:cubicBezTo>
                  <a:cubicBezTo>
                    <a:pt x="5117438" y="3406588"/>
                    <a:pt x="5120734" y="3400004"/>
                    <a:pt x="5124031" y="3392321"/>
                  </a:cubicBezTo>
                  <a:cubicBezTo>
                    <a:pt x="5129526" y="3380249"/>
                    <a:pt x="5135021" y="3370372"/>
                    <a:pt x="5128427" y="3358299"/>
                  </a:cubicBezTo>
                  <a:cubicBezTo>
                    <a:pt x="5126229" y="3353909"/>
                    <a:pt x="5122933" y="3348422"/>
                    <a:pt x="5118536" y="3342935"/>
                  </a:cubicBezTo>
                  <a:cubicBezTo>
                    <a:pt x="5105349" y="3322082"/>
                    <a:pt x="5088865" y="3296840"/>
                    <a:pt x="5085568" y="3265013"/>
                  </a:cubicBezTo>
                  <a:cubicBezTo>
                    <a:pt x="5084469" y="3254038"/>
                    <a:pt x="5080073" y="3247453"/>
                    <a:pt x="5070182" y="3243063"/>
                  </a:cubicBezTo>
                  <a:cubicBezTo>
                    <a:pt x="5053698" y="3236479"/>
                    <a:pt x="5028422" y="3240869"/>
                    <a:pt x="5014136" y="3252941"/>
                  </a:cubicBezTo>
                  <a:cubicBezTo>
                    <a:pt x="4997652" y="3268306"/>
                    <a:pt x="4982266" y="3267208"/>
                    <a:pt x="4967980" y="3266111"/>
                  </a:cubicBezTo>
                  <a:cubicBezTo>
                    <a:pt x="4959189" y="3266111"/>
                    <a:pt x="4949298" y="3265013"/>
                    <a:pt x="4938309" y="3268306"/>
                  </a:cubicBezTo>
                  <a:cubicBezTo>
                    <a:pt x="4919627" y="3273793"/>
                    <a:pt x="4903143" y="3285865"/>
                    <a:pt x="4896549" y="3300132"/>
                  </a:cubicBezTo>
                  <a:cubicBezTo>
                    <a:pt x="4891054" y="3310010"/>
                    <a:pt x="4891054" y="3319887"/>
                    <a:pt x="4894351" y="3330862"/>
                  </a:cubicBezTo>
                  <a:cubicBezTo>
                    <a:pt x="4906439" y="3362689"/>
                    <a:pt x="4914132" y="3387931"/>
                    <a:pt x="4891054" y="3403296"/>
                  </a:cubicBezTo>
                  <a:cubicBezTo>
                    <a:pt x="4883361" y="3407686"/>
                    <a:pt x="4873471" y="3410979"/>
                    <a:pt x="4862481" y="3415368"/>
                  </a:cubicBezTo>
                  <a:cubicBezTo>
                    <a:pt x="4842700" y="3421953"/>
                    <a:pt x="4818523" y="3430733"/>
                    <a:pt x="4800940" y="3448293"/>
                  </a:cubicBezTo>
                  <a:cubicBezTo>
                    <a:pt x="4784456" y="3465853"/>
                    <a:pt x="4764675" y="3463658"/>
                    <a:pt x="4752587" y="3455975"/>
                  </a:cubicBezTo>
                  <a:cubicBezTo>
                    <a:pt x="4736102" y="3446098"/>
                    <a:pt x="4727311" y="3426343"/>
                    <a:pt x="4732806" y="3407686"/>
                  </a:cubicBezTo>
                  <a:cubicBezTo>
                    <a:pt x="4739399" y="3383542"/>
                    <a:pt x="4754785" y="3378054"/>
                    <a:pt x="4770169" y="3372567"/>
                  </a:cubicBezTo>
                  <a:cubicBezTo>
                    <a:pt x="4778961" y="3369274"/>
                    <a:pt x="4787753" y="3365981"/>
                    <a:pt x="4796544" y="3359397"/>
                  </a:cubicBezTo>
                  <a:cubicBezTo>
                    <a:pt x="4810831" y="3346227"/>
                    <a:pt x="4811929" y="3337447"/>
                    <a:pt x="4813029" y="3325374"/>
                  </a:cubicBezTo>
                  <a:cubicBezTo>
                    <a:pt x="4814127" y="3317693"/>
                    <a:pt x="4815227" y="3310010"/>
                    <a:pt x="4818523" y="3300132"/>
                  </a:cubicBezTo>
                  <a:cubicBezTo>
                    <a:pt x="4827315" y="3274890"/>
                    <a:pt x="4829513" y="3262818"/>
                    <a:pt x="4815227" y="3241966"/>
                  </a:cubicBezTo>
                  <a:cubicBezTo>
                    <a:pt x="4804237" y="3226601"/>
                    <a:pt x="4799841" y="3211237"/>
                    <a:pt x="4803138" y="3199164"/>
                  </a:cubicBezTo>
                  <a:cubicBezTo>
                    <a:pt x="4805336" y="3190384"/>
                    <a:pt x="4811929" y="3184897"/>
                    <a:pt x="4820721" y="3180507"/>
                  </a:cubicBezTo>
                  <a:cubicBezTo>
                    <a:pt x="4839403" y="3173922"/>
                    <a:pt x="4843799" y="3168434"/>
                    <a:pt x="4847096" y="3140997"/>
                  </a:cubicBezTo>
                  <a:cubicBezTo>
                    <a:pt x="4848195" y="3132218"/>
                    <a:pt x="4847096" y="3125633"/>
                    <a:pt x="4845997" y="3121243"/>
                  </a:cubicBezTo>
                  <a:cubicBezTo>
                    <a:pt x="4843799" y="3106976"/>
                    <a:pt x="4845997" y="3102585"/>
                    <a:pt x="4865778" y="3093806"/>
                  </a:cubicBezTo>
                  <a:cubicBezTo>
                    <a:pt x="4872372" y="3091611"/>
                    <a:pt x="4878966" y="3089415"/>
                    <a:pt x="4885559" y="3086123"/>
                  </a:cubicBezTo>
                  <a:cubicBezTo>
                    <a:pt x="4907538" y="3078441"/>
                    <a:pt x="4931715" y="3070759"/>
                    <a:pt x="4953694" y="3047711"/>
                  </a:cubicBezTo>
                  <a:cubicBezTo>
                    <a:pt x="4982266" y="3018079"/>
                    <a:pt x="4981168" y="3003812"/>
                    <a:pt x="4980069" y="2980765"/>
                  </a:cubicBezTo>
                  <a:lnTo>
                    <a:pt x="4980069" y="2977473"/>
                  </a:lnTo>
                  <a:cubicBezTo>
                    <a:pt x="4978970" y="2963205"/>
                    <a:pt x="4983366" y="2957717"/>
                    <a:pt x="4986663" y="2951133"/>
                  </a:cubicBezTo>
                  <a:cubicBezTo>
                    <a:pt x="4989959" y="2945645"/>
                    <a:pt x="4994355" y="2940158"/>
                    <a:pt x="4995454" y="2922599"/>
                  </a:cubicBezTo>
                  <a:cubicBezTo>
                    <a:pt x="4997652" y="2896259"/>
                    <a:pt x="4999850" y="2880894"/>
                    <a:pt x="5009740" y="2873212"/>
                  </a:cubicBezTo>
                  <a:cubicBezTo>
                    <a:pt x="5015235" y="2868822"/>
                    <a:pt x="5022928" y="2867724"/>
                    <a:pt x="5033917" y="2869919"/>
                  </a:cubicBezTo>
                  <a:cubicBezTo>
                    <a:pt x="5058094" y="2874309"/>
                    <a:pt x="5107547" y="2872114"/>
                    <a:pt x="5120734" y="2830410"/>
                  </a:cubicBezTo>
                  <a:lnTo>
                    <a:pt x="5125130" y="2817240"/>
                  </a:lnTo>
                  <a:cubicBezTo>
                    <a:pt x="5132823" y="2791998"/>
                    <a:pt x="5133922" y="2790901"/>
                    <a:pt x="5147109" y="2779926"/>
                  </a:cubicBezTo>
                  <a:cubicBezTo>
                    <a:pt x="5149307" y="2778828"/>
                    <a:pt x="5151505" y="2776633"/>
                    <a:pt x="5153703" y="2774438"/>
                  </a:cubicBezTo>
                  <a:cubicBezTo>
                    <a:pt x="5176781" y="2757976"/>
                    <a:pt x="5185572" y="2749196"/>
                    <a:pt x="5203156" y="2730539"/>
                  </a:cubicBezTo>
                  <a:cubicBezTo>
                    <a:pt x="5210848" y="2723954"/>
                    <a:pt x="5218541" y="2719564"/>
                    <a:pt x="5226233" y="2714077"/>
                  </a:cubicBezTo>
                  <a:cubicBezTo>
                    <a:pt x="5240520" y="2705296"/>
                    <a:pt x="5253707" y="2696517"/>
                    <a:pt x="5259202" y="2683347"/>
                  </a:cubicBezTo>
                  <a:cubicBezTo>
                    <a:pt x="5264697" y="2669079"/>
                    <a:pt x="5258103" y="2657007"/>
                    <a:pt x="5249312" y="2640545"/>
                  </a:cubicBezTo>
                  <a:cubicBezTo>
                    <a:pt x="5244916" y="2633960"/>
                    <a:pt x="5240520" y="2626278"/>
                    <a:pt x="5237223" y="2616400"/>
                  </a:cubicBezTo>
                  <a:cubicBezTo>
                    <a:pt x="5229530" y="2595548"/>
                    <a:pt x="5244916" y="2568111"/>
                    <a:pt x="5263598" y="2552747"/>
                  </a:cubicBezTo>
                  <a:cubicBezTo>
                    <a:pt x="5282280" y="2537381"/>
                    <a:pt x="5302061" y="2534089"/>
                    <a:pt x="5317446" y="2542869"/>
                  </a:cubicBezTo>
                  <a:cubicBezTo>
                    <a:pt x="5330633" y="2551649"/>
                    <a:pt x="5339425" y="2560429"/>
                    <a:pt x="5346019" y="2568111"/>
                  </a:cubicBezTo>
                  <a:cubicBezTo>
                    <a:pt x="5355909" y="2579086"/>
                    <a:pt x="5362503" y="2586768"/>
                    <a:pt x="5380086" y="2586768"/>
                  </a:cubicBezTo>
                  <a:cubicBezTo>
                    <a:pt x="5382284" y="2586768"/>
                    <a:pt x="5383383" y="2586768"/>
                    <a:pt x="5385581" y="2586768"/>
                  </a:cubicBezTo>
                  <a:cubicBezTo>
                    <a:pt x="5397670" y="2586768"/>
                    <a:pt x="5407560" y="2588963"/>
                    <a:pt x="5414154" y="2591158"/>
                  </a:cubicBezTo>
                  <a:cubicBezTo>
                    <a:pt x="5428440" y="2594451"/>
                    <a:pt x="5432836" y="2595548"/>
                    <a:pt x="5440528" y="2576891"/>
                  </a:cubicBezTo>
                  <a:cubicBezTo>
                    <a:pt x="5443825" y="2568111"/>
                    <a:pt x="5447123" y="2561526"/>
                    <a:pt x="5449320" y="2554942"/>
                  </a:cubicBezTo>
                  <a:cubicBezTo>
                    <a:pt x="5455914" y="2536284"/>
                    <a:pt x="5460309" y="2525309"/>
                    <a:pt x="5477893" y="2514335"/>
                  </a:cubicBezTo>
                  <a:cubicBezTo>
                    <a:pt x="5499872" y="2503360"/>
                    <a:pt x="5518554" y="2478118"/>
                    <a:pt x="5508663" y="2441900"/>
                  </a:cubicBezTo>
                  <a:cubicBezTo>
                    <a:pt x="5505367" y="2430925"/>
                    <a:pt x="5503169" y="2422146"/>
                    <a:pt x="5499872" y="2415561"/>
                  </a:cubicBezTo>
                  <a:cubicBezTo>
                    <a:pt x="5493278" y="2395807"/>
                    <a:pt x="5488882" y="2383734"/>
                    <a:pt x="5497674" y="2366174"/>
                  </a:cubicBezTo>
                  <a:cubicBezTo>
                    <a:pt x="5499872" y="2360687"/>
                    <a:pt x="5503169" y="2356297"/>
                    <a:pt x="5505367" y="2353004"/>
                  </a:cubicBezTo>
                  <a:cubicBezTo>
                    <a:pt x="5513059" y="2339834"/>
                    <a:pt x="5517455" y="2331055"/>
                    <a:pt x="5517455" y="2310202"/>
                  </a:cubicBezTo>
                  <a:cubicBezTo>
                    <a:pt x="5517455" y="2294838"/>
                    <a:pt x="5522950" y="2283863"/>
                    <a:pt x="5528444" y="2273985"/>
                  </a:cubicBezTo>
                  <a:cubicBezTo>
                    <a:pt x="5533939" y="2264109"/>
                    <a:pt x="5538335" y="2254231"/>
                    <a:pt x="5538335" y="2239964"/>
                  </a:cubicBezTo>
                  <a:cubicBezTo>
                    <a:pt x="5538335" y="2226794"/>
                    <a:pt x="5533939" y="2219111"/>
                    <a:pt x="5530642" y="2210332"/>
                  </a:cubicBezTo>
                  <a:cubicBezTo>
                    <a:pt x="5526246" y="2200454"/>
                    <a:pt x="5521851" y="2189479"/>
                    <a:pt x="5524049" y="2173017"/>
                  </a:cubicBezTo>
                  <a:cubicBezTo>
                    <a:pt x="5529544" y="2144483"/>
                    <a:pt x="5537236" y="2119241"/>
                    <a:pt x="5547127" y="2096193"/>
                  </a:cubicBezTo>
                  <a:cubicBezTo>
                    <a:pt x="5552621" y="2084121"/>
                    <a:pt x="5558116" y="2078633"/>
                    <a:pt x="5563611" y="2074243"/>
                  </a:cubicBezTo>
                  <a:cubicBezTo>
                    <a:pt x="5570204" y="2068756"/>
                    <a:pt x="5575699" y="2063268"/>
                    <a:pt x="5581194" y="2046806"/>
                  </a:cubicBezTo>
                  <a:cubicBezTo>
                    <a:pt x="5586689" y="2031442"/>
                    <a:pt x="5587788" y="2017175"/>
                    <a:pt x="5588887" y="2002907"/>
                  </a:cubicBezTo>
                  <a:cubicBezTo>
                    <a:pt x="5589986" y="1989738"/>
                    <a:pt x="5591085" y="1976568"/>
                    <a:pt x="5595481" y="1964495"/>
                  </a:cubicBezTo>
                  <a:cubicBezTo>
                    <a:pt x="5598777" y="1956813"/>
                    <a:pt x="5603173" y="1951326"/>
                    <a:pt x="5606470" y="1945838"/>
                  </a:cubicBezTo>
                  <a:cubicBezTo>
                    <a:pt x="5613064" y="1935961"/>
                    <a:pt x="5618558" y="1928278"/>
                    <a:pt x="5618558" y="1910719"/>
                  </a:cubicBezTo>
                  <a:cubicBezTo>
                    <a:pt x="5618558" y="1881086"/>
                    <a:pt x="5627350" y="1859137"/>
                    <a:pt x="5640537" y="1822920"/>
                  </a:cubicBezTo>
                  <a:lnTo>
                    <a:pt x="5643834" y="1815237"/>
                  </a:lnTo>
                  <a:cubicBezTo>
                    <a:pt x="5659220" y="1775728"/>
                    <a:pt x="5664714" y="1770241"/>
                    <a:pt x="5688891" y="1751584"/>
                  </a:cubicBezTo>
                  <a:cubicBezTo>
                    <a:pt x="5702078" y="1740609"/>
                    <a:pt x="5708672" y="1729634"/>
                    <a:pt x="5714167" y="1719756"/>
                  </a:cubicBezTo>
                  <a:cubicBezTo>
                    <a:pt x="5717464" y="1714269"/>
                    <a:pt x="5720760" y="1708781"/>
                    <a:pt x="5725157" y="1703294"/>
                  </a:cubicBezTo>
                  <a:cubicBezTo>
                    <a:pt x="5732849" y="1694514"/>
                    <a:pt x="5737245" y="1693417"/>
                    <a:pt x="5742739" y="1691222"/>
                  </a:cubicBezTo>
                  <a:cubicBezTo>
                    <a:pt x="5748234" y="1690124"/>
                    <a:pt x="5752630" y="1687930"/>
                    <a:pt x="5762520" y="1678052"/>
                  </a:cubicBezTo>
                  <a:cubicBezTo>
                    <a:pt x="5772411" y="1667077"/>
                    <a:pt x="5773510" y="1661590"/>
                    <a:pt x="5776807" y="1652810"/>
                  </a:cubicBezTo>
                  <a:cubicBezTo>
                    <a:pt x="5779005" y="1645128"/>
                    <a:pt x="5782302" y="1635250"/>
                    <a:pt x="5793291" y="1620983"/>
                  </a:cubicBezTo>
                  <a:cubicBezTo>
                    <a:pt x="5798786" y="1614398"/>
                    <a:pt x="5804281" y="1608911"/>
                    <a:pt x="5808676" y="1603423"/>
                  </a:cubicBezTo>
                  <a:cubicBezTo>
                    <a:pt x="5816369" y="1594644"/>
                    <a:pt x="5822963" y="1586961"/>
                    <a:pt x="5821864" y="1583669"/>
                  </a:cubicBezTo>
                  <a:cubicBezTo>
                    <a:pt x="5821864" y="1582571"/>
                    <a:pt x="5819666" y="1580376"/>
                    <a:pt x="5817468" y="1578181"/>
                  </a:cubicBezTo>
                  <a:cubicBezTo>
                    <a:pt x="5810874" y="1573791"/>
                    <a:pt x="5805380" y="1574888"/>
                    <a:pt x="5796588" y="1575986"/>
                  </a:cubicBezTo>
                  <a:cubicBezTo>
                    <a:pt x="5785599" y="1577083"/>
                    <a:pt x="5772411" y="1579279"/>
                    <a:pt x="5759224" y="1565011"/>
                  </a:cubicBezTo>
                  <a:lnTo>
                    <a:pt x="5753729" y="1559524"/>
                  </a:lnTo>
                  <a:cubicBezTo>
                    <a:pt x="5736146" y="1540867"/>
                    <a:pt x="5722958" y="1526599"/>
                    <a:pt x="5706474" y="1527697"/>
                  </a:cubicBezTo>
                  <a:cubicBezTo>
                    <a:pt x="5697683" y="1527697"/>
                    <a:pt x="5689990" y="1525502"/>
                    <a:pt x="5682297" y="1522209"/>
                  </a:cubicBezTo>
                  <a:cubicBezTo>
                    <a:pt x="5671308" y="1517820"/>
                    <a:pt x="5659220" y="1512332"/>
                    <a:pt x="5638339" y="1516722"/>
                  </a:cubicBezTo>
                  <a:lnTo>
                    <a:pt x="5626251" y="1518917"/>
                  </a:lnTo>
                  <a:cubicBezTo>
                    <a:pt x="5600975" y="1524404"/>
                    <a:pt x="5592183" y="1526599"/>
                    <a:pt x="5575699" y="1513430"/>
                  </a:cubicBezTo>
                  <a:cubicBezTo>
                    <a:pt x="5570204" y="1509039"/>
                    <a:pt x="5565809" y="1506845"/>
                    <a:pt x="5561413" y="1503552"/>
                  </a:cubicBezTo>
                  <a:cubicBezTo>
                    <a:pt x="5553720" y="1499162"/>
                    <a:pt x="5547127" y="1495870"/>
                    <a:pt x="5540533" y="1484895"/>
                  </a:cubicBezTo>
                  <a:cubicBezTo>
                    <a:pt x="5537236" y="1480505"/>
                    <a:pt x="5536137" y="1477213"/>
                    <a:pt x="5533939" y="1473920"/>
                  </a:cubicBezTo>
                  <a:cubicBezTo>
                    <a:pt x="5529544" y="1465140"/>
                    <a:pt x="5525148" y="1458555"/>
                    <a:pt x="5510861" y="1445385"/>
                  </a:cubicBezTo>
                  <a:cubicBezTo>
                    <a:pt x="5495476" y="1433313"/>
                    <a:pt x="5480091" y="1425631"/>
                    <a:pt x="5468002" y="1427826"/>
                  </a:cubicBezTo>
                  <a:cubicBezTo>
                    <a:pt x="5461409" y="1428923"/>
                    <a:pt x="5457013" y="1432216"/>
                    <a:pt x="5452617" y="1436606"/>
                  </a:cubicBezTo>
                  <a:cubicBezTo>
                    <a:pt x="5438330" y="1459653"/>
                    <a:pt x="5419649" y="1457458"/>
                    <a:pt x="5378988" y="1451971"/>
                  </a:cubicBezTo>
                  <a:lnTo>
                    <a:pt x="5371295" y="1450873"/>
                  </a:lnTo>
                  <a:cubicBezTo>
                    <a:pt x="5348217" y="1447581"/>
                    <a:pt x="5333930" y="1455263"/>
                    <a:pt x="5322941" y="1461848"/>
                  </a:cubicBezTo>
                  <a:cubicBezTo>
                    <a:pt x="5316347" y="1466238"/>
                    <a:pt x="5310853" y="1469530"/>
                    <a:pt x="5304259" y="1467335"/>
                  </a:cubicBezTo>
                  <a:cubicBezTo>
                    <a:pt x="5300962" y="1466238"/>
                    <a:pt x="5297665" y="1462946"/>
                    <a:pt x="5295467" y="1458555"/>
                  </a:cubicBezTo>
                  <a:cubicBezTo>
                    <a:pt x="5292170" y="1450873"/>
                    <a:pt x="5288874" y="1440996"/>
                    <a:pt x="5286676" y="1432216"/>
                  </a:cubicBezTo>
                  <a:cubicBezTo>
                    <a:pt x="5282280" y="1415753"/>
                    <a:pt x="5277884" y="1400389"/>
                    <a:pt x="5267993" y="1399291"/>
                  </a:cubicBezTo>
                  <a:cubicBezTo>
                    <a:pt x="5259202" y="1398194"/>
                    <a:pt x="5250410" y="1392706"/>
                    <a:pt x="5242718" y="1388316"/>
                  </a:cubicBezTo>
                  <a:cubicBezTo>
                    <a:pt x="5237223" y="1385024"/>
                    <a:pt x="5230629" y="1380634"/>
                    <a:pt x="5228431" y="1381732"/>
                  </a:cubicBezTo>
                  <a:cubicBezTo>
                    <a:pt x="5227333" y="1381732"/>
                    <a:pt x="5227333" y="1382829"/>
                    <a:pt x="5226233" y="1386122"/>
                  </a:cubicBezTo>
                  <a:cubicBezTo>
                    <a:pt x="5221838" y="1403681"/>
                    <a:pt x="5216343" y="1422339"/>
                    <a:pt x="5205354" y="1427826"/>
                  </a:cubicBezTo>
                  <a:cubicBezTo>
                    <a:pt x="5200958" y="1430021"/>
                    <a:pt x="5196562" y="1430021"/>
                    <a:pt x="5191067" y="1427826"/>
                  </a:cubicBezTo>
                  <a:cubicBezTo>
                    <a:pt x="5181177" y="1423436"/>
                    <a:pt x="5180077" y="1417948"/>
                    <a:pt x="5178979" y="1412461"/>
                  </a:cubicBezTo>
                  <a:cubicBezTo>
                    <a:pt x="5177880" y="1406974"/>
                    <a:pt x="5177880" y="1401486"/>
                    <a:pt x="5167989" y="1389414"/>
                  </a:cubicBezTo>
                  <a:cubicBezTo>
                    <a:pt x="5160296" y="1380634"/>
                    <a:pt x="5153703" y="1377341"/>
                    <a:pt x="5147109" y="1375147"/>
                  </a:cubicBezTo>
                  <a:cubicBezTo>
                    <a:pt x="5138317" y="1371854"/>
                    <a:pt x="5129526" y="1367464"/>
                    <a:pt x="5127328" y="1347710"/>
                  </a:cubicBezTo>
                  <a:lnTo>
                    <a:pt x="5127328" y="1345515"/>
                  </a:lnTo>
                  <a:cubicBezTo>
                    <a:pt x="5124031" y="1316980"/>
                    <a:pt x="5120734" y="1293933"/>
                    <a:pt x="5096557" y="1259911"/>
                  </a:cubicBezTo>
                  <a:cubicBezTo>
                    <a:pt x="5083370" y="1240156"/>
                    <a:pt x="5067985" y="1239059"/>
                    <a:pt x="5050401" y="1236864"/>
                  </a:cubicBezTo>
                  <a:cubicBezTo>
                    <a:pt x="5037214" y="1235766"/>
                    <a:pt x="5022928" y="1233571"/>
                    <a:pt x="5010840" y="1223694"/>
                  </a:cubicBezTo>
                  <a:cubicBezTo>
                    <a:pt x="5000949" y="1216012"/>
                    <a:pt x="4995454" y="1208329"/>
                    <a:pt x="4991059" y="1202842"/>
                  </a:cubicBezTo>
                  <a:cubicBezTo>
                    <a:pt x="4984465" y="1194062"/>
                    <a:pt x="4981168" y="1189672"/>
                    <a:pt x="4962486" y="1192964"/>
                  </a:cubicBezTo>
                  <a:cubicBezTo>
                    <a:pt x="4948199" y="1195159"/>
                    <a:pt x="4938309" y="1202842"/>
                    <a:pt x="4928418" y="1210524"/>
                  </a:cubicBezTo>
                  <a:cubicBezTo>
                    <a:pt x="4917429" y="1219304"/>
                    <a:pt x="4906439" y="1228084"/>
                    <a:pt x="4889955" y="1224792"/>
                  </a:cubicBezTo>
                  <a:cubicBezTo>
                    <a:pt x="4867976" y="1221499"/>
                    <a:pt x="4859185" y="1212719"/>
                    <a:pt x="4847096" y="1201744"/>
                  </a:cubicBezTo>
                  <a:cubicBezTo>
                    <a:pt x="4842700" y="1197354"/>
                    <a:pt x="4838304" y="1192964"/>
                    <a:pt x="4831711" y="1188575"/>
                  </a:cubicBezTo>
                  <a:cubicBezTo>
                    <a:pt x="4826216" y="1184185"/>
                    <a:pt x="4820721" y="1178697"/>
                    <a:pt x="4816325" y="1173210"/>
                  </a:cubicBezTo>
                  <a:cubicBezTo>
                    <a:pt x="4799841" y="1155650"/>
                    <a:pt x="4783357" y="1138090"/>
                    <a:pt x="4753685" y="1142480"/>
                  </a:cubicBezTo>
                  <a:cubicBezTo>
                    <a:pt x="4737201" y="1145773"/>
                    <a:pt x="4721816" y="1153455"/>
                    <a:pt x="4707529" y="1161138"/>
                  </a:cubicBezTo>
                  <a:cubicBezTo>
                    <a:pt x="4688848" y="1171015"/>
                    <a:pt x="4670165" y="1180892"/>
                    <a:pt x="4653681" y="1174307"/>
                  </a:cubicBezTo>
                  <a:cubicBezTo>
                    <a:pt x="4639395" y="1168820"/>
                    <a:pt x="4637197" y="1151260"/>
                    <a:pt x="4634999" y="1132603"/>
                  </a:cubicBezTo>
                  <a:cubicBezTo>
                    <a:pt x="4631702" y="1107361"/>
                    <a:pt x="4628405" y="1089801"/>
                    <a:pt x="4610822" y="1088703"/>
                  </a:cubicBezTo>
                  <a:cubicBezTo>
                    <a:pt x="4582249" y="1086508"/>
                    <a:pt x="4577853" y="1082119"/>
                    <a:pt x="4567963" y="1068949"/>
                  </a:cubicBezTo>
                  <a:cubicBezTo>
                    <a:pt x="4564666" y="1063461"/>
                    <a:pt x="4559171" y="1055779"/>
                    <a:pt x="4550380" y="1046999"/>
                  </a:cubicBezTo>
                  <a:cubicBezTo>
                    <a:pt x="4538291" y="1033829"/>
                    <a:pt x="4532797" y="1034927"/>
                    <a:pt x="4526203" y="1036024"/>
                  </a:cubicBezTo>
                  <a:cubicBezTo>
                    <a:pt x="4515213" y="1038219"/>
                    <a:pt x="4506422" y="1038219"/>
                    <a:pt x="4492135" y="1016270"/>
                  </a:cubicBezTo>
                  <a:cubicBezTo>
                    <a:pt x="4465760" y="980053"/>
                    <a:pt x="4447079" y="966883"/>
                    <a:pt x="4430595" y="971272"/>
                  </a:cubicBezTo>
                  <a:cubicBezTo>
                    <a:pt x="4417407" y="976760"/>
                    <a:pt x="4397626" y="978955"/>
                    <a:pt x="4385537" y="969078"/>
                  </a:cubicBezTo>
                  <a:cubicBezTo>
                    <a:pt x="4376746" y="962493"/>
                    <a:pt x="4373449" y="950421"/>
                    <a:pt x="4374548" y="935056"/>
                  </a:cubicBezTo>
                  <a:cubicBezTo>
                    <a:pt x="4376746" y="918593"/>
                    <a:pt x="4381142" y="906521"/>
                    <a:pt x="4384439" y="896644"/>
                  </a:cubicBezTo>
                  <a:cubicBezTo>
                    <a:pt x="4389933" y="882377"/>
                    <a:pt x="4391032" y="875792"/>
                    <a:pt x="4384439" y="867012"/>
                  </a:cubicBezTo>
                  <a:cubicBezTo>
                    <a:pt x="4369053" y="848355"/>
                    <a:pt x="4360262" y="818723"/>
                    <a:pt x="4374548" y="800065"/>
                  </a:cubicBezTo>
                  <a:cubicBezTo>
                    <a:pt x="4376746" y="796773"/>
                    <a:pt x="4381142" y="792383"/>
                    <a:pt x="4385537" y="785798"/>
                  </a:cubicBezTo>
                  <a:cubicBezTo>
                    <a:pt x="4397626" y="770433"/>
                    <a:pt x="4416308" y="747386"/>
                    <a:pt x="4414110" y="734216"/>
                  </a:cubicBezTo>
                  <a:cubicBezTo>
                    <a:pt x="4414110" y="730924"/>
                    <a:pt x="4411912" y="728729"/>
                    <a:pt x="4408616" y="726534"/>
                  </a:cubicBezTo>
                  <a:cubicBezTo>
                    <a:pt x="4389933" y="714462"/>
                    <a:pt x="4372350" y="733119"/>
                    <a:pt x="4355865" y="753971"/>
                  </a:cubicBezTo>
                  <a:cubicBezTo>
                    <a:pt x="4350371" y="762751"/>
                    <a:pt x="4343777" y="770433"/>
                    <a:pt x="4337184" y="778116"/>
                  </a:cubicBezTo>
                  <a:cubicBezTo>
                    <a:pt x="4329491" y="787993"/>
                    <a:pt x="4321798" y="797870"/>
                    <a:pt x="4313007" y="811040"/>
                  </a:cubicBezTo>
                  <a:cubicBezTo>
                    <a:pt x="4303116" y="824210"/>
                    <a:pt x="4295423" y="824210"/>
                    <a:pt x="4287731" y="824210"/>
                  </a:cubicBezTo>
                  <a:cubicBezTo>
                    <a:pt x="4281137" y="824210"/>
                    <a:pt x="4274544" y="824210"/>
                    <a:pt x="4263554" y="839574"/>
                  </a:cubicBezTo>
                  <a:cubicBezTo>
                    <a:pt x="4247070" y="863719"/>
                    <a:pt x="4216299" y="851647"/>
                    <a:pt x="4185528" y="840672"/>
                  </a:cubicBezTo>
                  <a:cubicBezTo>
                    <a:pt x="4169044" y="835185"/>
                    <a:pt x="4151461" y="828600"/>
                    <a:pt x="4138274" y="828600"/>
                  </a:cubicBezTo>
                  <a:lnTo>
                    <a:pt x="4133878" y="828600"/>
                  </a:lnTo>
                  <a:cubicBezTo>
                    <a:pt x="4107503" y="828600"/>
                    <a:pt x="4089920" y="828600"/>
                    <a:pt x="4081128" y="818723"/>
                  </a:cubicBezTo>
                  <a:cubicBezTo>
                    <a:pt x="4076733" y="813235"/>
                    <a:pt x="4075633" y="805553"/>
                    <a:pt x="4077831" y="794578"/>
                  </a:cubicBezTo>
                  <a:cubicBezTo>
                    <a:pt x="4081128" y="779213"/>
                    <a:pt x="4091019" y="768238"/>
                    <a:pt x="4099810" y="759458"/>
                  </a:cubicBezTo>
                  <a:cubicBezTo>
                    <a:pt x="4110800" y="747386"/>
                    <a:pt x="4114097" y="742996"/>
                    <a:pt x="4109701" y="738607"/>
                  </a:cubicBezTo>
                  <a:cubicBezTo>
                    <a:pt x="4105305" y="732021"/>
                    <a:pt x="4100910" y="728729"/>
                    <a:pt x="4096514" y="725437"/>
                  </a:cubicBezTo>
                  <a:cubicBezTo>
                    <a:pt x="4088821" y="719949"/>
                    <a:pt x="4078931" y="713364"/>
                    <a:pt x="4087722" y="694707"/>
                  </a:cubicBezTo>
                  <a:cubicBezTo>
                    <a:pt x="4092118" y="683732"/>
                    <a:pt x="4094316" y="677147"/>
                    <a:pt x="4096514" y="671660"/>
                  </a:cubicBezTo>
                  <a:cubicBezTo>
                    <a:pt x="4098712" y="665075"/>
                    <a:pt x="4100910" y="658490"/>
                    <a:pt x="4107503" y="644223"/>
                  </a:cubicBezTo>
                  <a:cubicBezTo>
                    <a:pt x="4111899" y="634345"/>
                    <a:pt x="4111899" y="625566"/>
                    <a:pt x="4107503" y="618981"/>
                  </a:cubicBezTo>
                  <a:cubicBezTo>
                    <a:pt x="4104206" y="613493"/>
                    <a:pt x="4098712" y="609103"/>
                    <a:pt x="4092118" y="608006"/>
                  </a:cubicBezTo>
                  <a:cubicBezTo>
                    <a:pt x="4085524" y="606908"/>
                    <a:pt x="4076733" y="600323"/>
                    <a:pt x="4065743" y="591544"/>
                  </a:cubicBezTo>
                  <a:cubicBezTo>
                    <a:pt x="4050358" y="579471"/>
                    <a:pt x="4026181" y="560814"/>
                    <a:pt x="4014092" y="566302"/>
                  </a:cubicBezTo>
                  <a:cubicBezTo>
                    <a:pt x="3994311" y="576179"/>
                    <a:pt x="3984421" y="570691"/>
                    <a:pt x="3972332" y="565204"/>
                  </a:cubicBezTo>
                  <a:cubicBezTo>
                    <a:pt x="3970134" y="564106"/>
                    <a:pt x="3967936" y="563009"/>
                    <a:pt x="3964640" y="561911"/>
                  </a:cubicBezTo>
                  <a:cubicBezTo>
                    <a:pt x="3948155" y="555327"/>
                    <a:pt x="3937166" y="553132"/>
                    <a:pt x="3934968" y="558619"/>
                  </a:cubicBezTo>
                  <a:cubicBezTo>
                    <a:pt x="3933869" y="561911"/>
                    <a:pt x="3932770" y="565204"/>
                    <a:pt x="3932770" y="569594"/>
                  </a:cubicBezTo>
                  <a:cubicBezTo>
                    <a:pt x="3931671" y="577276"/>
                    <a:pt x="3929473" y="586056"/>
                    <a:pt x="3922880" y="588251"/>
                  </a:cubicBezTo>
                  <a:cubicBezTo>
                    <a:pt x="3919583" y="589348"/>
                    <a:pt x="3915187" y="589348"/>
                    <a:pt x="3910791" y="586056"/>
                  </a:cubicBezTo>
                  <a:cubicBezTo>
                    <a:pt x="3894307" y="575081"/>
                    <a:pt x="3893208" y="561911"/>
                    <a:pt x="3896505" y="536669"/>
                  </a:cubicBezTo>
                  <a:cubicBezTo>
                    <a:pt x="3898703" y="522402"/>
                    <a:pt x="3896505" y="515817"/>
                    <a:pt x="3895406" y="508135"/>
                  </a:cubicBezTo>
                  <a:cubicBezTo>
                    <a:pt x="3894307" y="502647"/>
                    <a:pt x="3893208" y="497160"/>
                    <a:pt x="3893208" y="489478"/>
                  </a:cubicBezTo>
                  <a:cubicBezTo>
                    <a:pt x="3893208" y="481795"/>
                    <a:pt x="3881120" y="465333"/>
                    <a:pt x="3865734" y="453261"/>
                  </a:cubicBezTo>
                  <a:cubicBezTo>
                    <a:pt x="3855843" y="445578"/>
                    <a:pt x="3845953" y="441188"/>
                    <a:pt x="3839359" y="442286"/>
                  </a:cubicBezTo>
                  <a:cubicBezTo>
                    <a:pt x="3825073" y="444481"/>
                    <a:pt x="3816282" y="436798"/>
                    <a:pt x="3809688" y="431311"/>
                  </a:cubicBezTo>
                  <a:cubicBezTo>
                    <a:pt x="3804193" y="426921"/>
                    <a:pt x="3800896" y="423629"/>
                    <a:pt x="3796501" y="424726"/>
                  </a:cubicBezTo>
                  <a:cubicBezTo>
                    <a:pt x="3792105" y="425823"/>
                    <a:pt x="3787709" y="429116"/>
                    <a:pt x="3783313" y="432408"/>
                  </a:cubicBezTo>
                  <a:cubicBezTo>
                    <a:pt x="3777818" y="436798"/>
                    <a:pt x="3767928" y="444481"/>
                    <a:pt x="3759136" y="434603"/>
                  </a:cubicBezTo>
                  <a:cubicBezTo>
                    <a:pt x="3756938" y="432408"/>
                    <a:pt x="3753641" y="430213"/>
                    <a:pt x="3750345" y="428019"/>
                  </a:cubicBezTo>
                  <a:cubicBezTo>
                    <a:pt x="3740454" y="421434"/>
                    <a:pt x="3726168" y="411556"/>
                    <a:pt x="3737157" y="391801"/>
                  </a:cubicBezTo>
                  <a:cubicBezTo>
                    <a:pt x="3743751" y="378632"/>
                    <a:pt x="3740454" y="365462"/>
                    <a:pt x="3733860" y="343512"/>
                  </a:cubicBezTo>
                  <a:cubicBezTo>
                    <a:pt x="3730564" y="333635"/>
                    <a:pt x="3727267" y="321563"/>
                    <a:pt x="3725069" y="308393"/>
                  </a:cubicBezTo>
                  <a:lnTo>
                    <a:pt x="3722871" y="298515"/>
                  </a:lnTo>
                  <a:cubicBezTo>
                    <a:pt x="3714079" y="259006"/>
                    <a:pt x="3709683" y="241446"/>
                    <a:pt x="3686606" y="240349"/>
                  </a:cubicBezTo>
                  <a:lnTo>
                    <a:pt x="3685506" y="240349"/>
                  </a:lnTo>
                  <a:cubicBezTo>
                    <a:pt x="3667923" y="240349"/>
                    <a:pt x="3649241" y="252421"/>
                    <a:pt x="3630559" y="263396"/>
                  </a:cubicBezTo>
                  <a:cubicBezTo>
                    <a:pt x="3619569" y="269981"/>
                    <a:pt x="3609679" y="276566"/>
                    <a:pt x="3599788" y="279858"/>
                  </a:cubicBezTo>
                  <a:cubicBezTo>
                    <a:pt x="3584404" y="286443"/>
                    <a:pt x="3571216" y="290833"/>
                    <a:pt x="3559127" y="286443"/>
                  </a:cubicBezTo>
                  <a:cubicBezTo>
                    <a:pt x="3549237" y="282053"/>
                    <a:pt x="3541544" y="272176"/>
                    <a:pt x="3533851" y="253519"/>
                  </a:cubicBezTo>
                  <a:cubicBezTo>
                    <a:pt x="3525060" y="231569"/>
                    <a:pt x="3518467" y="226082"/>
                    <a:pt x="3512972" y="220594"/>
                  </a:cubicBezTo>
                  <a:cubicBezTo>
                    <a:pt x="3508576" y="216204"/>
                    <a:pt x="3504180" y="211814"/>
                    <a:pt x="3499784" y="201937"/>
                  </a:cubicBezTo>
                  <a:lnTo>
                    <a:pt x="3498685" y="200839"/>
                  </a:lnTo>
                  <a:cubicBezTo>
                    <a:pt x="3490993" y="178890"/>
                    <a:pt x="3487695" y="172305"/>
                    <a:pt x="3484399" y="139380"/>
                  </a:cubicBezTo>
                  <a:cubicBezTo>
                    <a:pt x="3483300" y="131698"/>
                    <a:pt x="3483300" y="124015"/>
                    <a:pt x="3482201" y="117431"/>
                  </a:cubicBezTo>
                  <a:cubicBezTo>
                    <a:pt x="3480003" y="93286"/>
                    <a:pt x="3477805" y="71336"/>
                    <a:pt x="3470113" y="53777"/>
                  </a:cubicBezTo>
                  <a:cubicBezTo>
                    <a:pt x="3463519" y="40607"/>
                    <a:pt x="3459123" y="18657"/>
                    <a:pt x="3456925" y="0"/>
                  </a:cubicBezTo>
                  <a:cubicBezTo>
                    <a:pt x="3451430" y="0"/>
                    <a:pt x="3444837" y="1098"/>
                    <a:pt x="3438243" y="1098"/>
                  </a:cubicBezTo>
                  <a:cubicBezTo>
                    <a:pt x="3340437" y="6585"/>
                    <a:pt x="3232740" y="41704"/>
                    <a:pt x="3163505" y="54874"/>
                  </a:cubicBezTo>
                  <a:cubicBezTo>
                    <a:pt x="3103063" y="55972"/>
                    <a:pt x="3086579" y="49387"/>
                    <a:pt x="3049215" y="107553"/>
                  </a:cubicBezTo>
                  <a:close/>
                </a:path>
              </a:pathLst>
            </a:custGeom>
            <a:solidFill>
              <a:srgbClr val="ECE8E4"/>
            </a:solidFill>
            <a:ln w="54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DK" sz="2400"/>
            </a:p>
          </p:txBody>
        </p:sp>
        <p:sp>
          <p:nvSpPr>
            <p:cNvPr id="466" name="Freeform 465">
              <a:extLst>
                <a:ext uri="{FF2B5EF4-FFF2-40B4-BE49-F238E27FC236}">
                  <a16:creationId xmlns:a16="http://schemas.microsoft.com/office/drawing/2014/main" id="{51E69EF6-A39A-156B-E323-B3DA9D22B08B}"/>
                </a:ext>
              </a:extLst>
            </p:cNvPr>
            <p:cNvSpPr/>
            <p:nvPr/>
          </p:nvSpPr>
          <p:spPr>
            <a:xfrm>
              <a:off x="6145848" y="10521723"/>
              <a:ext cx="179840" cy="139249"/>
            </a:xfrm>
            <a:custGeom>
              <a:avLst/>
              <a:gdLst>
                <a:gd name="connsiteX0" fmla="*/ 42334 w 179840"/>
                <a:gd name="connsiteY0" fmla="*/ 129351 h 139249"/>
                <a:gd name="connsiteX1" fmla="*/ 100579 w 179840"/>
                <a:gd name="connsiteY1" fmla="*/ 132644 h 139249"/>
                <a:gd name="connsiteX2" fmla="*/ 142339 w 179840"/>
                <a:gd name="connsiteY2" fmla="*/ 126059 h 139249"/>
                <a:gd name="connsiteX3" fmla="*/ 164318 w 179840"/>
                <a:gd name="connsiteY3" fmla="*/ 78867 h 139249"/>
                <a:gd name="connsiteX4" fmla="*/ 179703 w 179840"/>
                <a:gd name="connsiteY4" fmla="*/ 47040 h 139249"/>
                <a:gd name="connsiteX5" fmla="*/ 168713 w 179840"/>
                <a:gd name="connsiteY5" fmla="*/ 34968 h 139249"/>
                <a:gd name="connsiteX6" fmla="*/ 139042 w 179840"/>
                <a:gd name="connsiteY6" fmla="*/ 32773 h 139249"/>
                <a:gd name="connsiteX7" fmla="*/ 103876 w 179840"/>
                <a:gd name="connsiteY7" fmla="*/ 29481 h 139249"/>
                <a:gd name="connsiteX8" fmla="*/ 85193 w 179840"/>
                <a:gd name="connsiteY8" fmla="*/ 15213 h 139249"/>
                <a:gd name="connsiteX9" fmla="*/ 57720 w 179840"/>
                <a:gd name="connsiteY9" fmla="*/ 946 h 139249"/>
                <a:gd name="connsiteX10" fmla="*/ 574 w 179840"/>
                <a:gd name="connsiteY10" fmla="*/ 13018 h 139249"/>
                <a:gd name="connsiteX11" fmla="*/ 4970 w 179840"/>
                <a:gd name="connsiteY11" fmla="*/ 53625 h 139249"/>
                <a:gd name="connsiteX12" fmla="*/ 9366 w 179840"/>
                <a:gd name="connsiteY12" fmla="*/ 65697 h 139249"/>
                <a:gd name="connsiteX13" fmla="*/ 42334 w 179840"/>
                <a:gd name="connsiteY13" fmla="*/ 129351 h 139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79840" h="139249">
                  <a:moveTo>
                    <a:pt x="42334" y="129351"/>
                  </a:moveTo>
                  <a:cubicBezTo>
                    <a:pt x="52225" y="144716"/>
                    <a:pt x="75302" y="139229"/>
                    <a:pt x="100579" y="132644"/>
                  </a:cubicBezTo>
                  <a:cubicBezTo>
                    <a:pt x="114865" y="129351"/>
                    <a:pt x="130250" y="126059"/>
                    <a:pt x="142339" y="126059"/>
                  </a:cubicBezTo>
                  <a:cubicBezTo>
                    <a:pt x="143437" y="117279"/>
                    <a:pt x="147834" y="97524"/>
                    <a:pt x="164318" y="78867"/>
                  </a:cubicBezTo>
                  <a:cubicBezTo>
                    <a:pt x="175307" y="66795"/>
                    <a:pt x="180802" y="55820"/>
                    <a:pt x="179703" y="47040"/>
                  </a:cubicBezTo>
                  <a:cubicBezTo>
                    <a:pt x="178604" y="42650"/>
                    <a:pt x="175307" y="38260"/>
                    <a:pt x="168713" y="34968"/>
                  </a:cubicBezTo>
                  <a:cubicBezTo>
                    <a:pt x="159922" y="30578"/>
                    <a:pt x="150032" y="31675"/>
                    <a:pt x="139042" y="32773"/>
                  </a:cubicBezTo>
                  <a:cubicBezTo>
                    <a:pt x="128053" y="33870"/>
                    <a:pt x="115964" y="34968"/>
                    <a:pt x="103876" y="29481"/>
                  </a:cubicBezTo>
                  <a:cubicBezTo>
                    <a:pt x="95084" y="25090"/>
                    <a:pt x="89589" y="20700"/>
                    <a:pt x="85193" y="15213"/>
                  </a:cubicBezTo>
                  <a:cubicBezTo>
                    <a:pt x="78600" y="8628"/>
                    <a:pt x="73105" y="3141"/>
                    <a:pt x="57720" y="946"/>
                  </a:cubicBezTo>
                  <a:cubicBezTo>
                    <a:pt x="34642" y="-3444"/>
                    <a:pt x="9366" y="8628"/>
                    <a:pt x="574" y="13018"/>
                  </a:cubicBezTo>
                  <a:cubicBezTo>
                    <a:pt x="-525" y="25090"/>
                    <a:pt x="-525" y="38260"/>
                    <a:pt x="4970" y="53625"/>
                  </a:cubicBezTo>
                  <a:lnTo>
                    <a:pt x="9366" y="65697"/>
                  </a:lnTo>
                  <a:cubicBezTo>
                    <a:pt x="20355" y="97524"/>
                    <a:pt x="22553" y="103011"/>
                    <a:pt x="42334" y="129351"/>
                  </a:cubicBezTo>
                  <a:close/>
                </a:path>
              </a:pathLst>
            </a:custGeom>
            <a:solidFill>
              <a:srgbClr val="ECE8E4"/>
            </a:solidFill>
            <a:ln w="54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DK" sz="2400"/>
            </a:p>
          </p:txBody>
        </p:sp>
        <p:sp>
          <p:nvSpPr>
            <p:cNvPr id="467" name="Freeform 466">
              <a:extLst>
                <a:ext uri="{FF2B5EF4-FFF2-40B4-BE49-F238E27FC236}">
                  <a16:creationId xmlns:a16="http://schemas.microsoft.com/office/drawing/2014/main" id="{191BBBA8-C6F5-3C9A-8BAD-3C0301BF39EB}"/>
                </a:ext>
              </a:extLst>
            </p:cNvPr>
            <p:cNvSpPr/>
            <p:nvPr/>
          </p:nvSpPr>
          <p:spPr>
            <a:xfrm>
              <a:off x="7269548" y="4719177"/>
              <a:ext cx="1598617" cy="1353363"/>
            </a:xfrm>
            <a:custGeom>
              <a:avLst/>
              <a:gdLst>
                <a:gd name="connsiteX0" fmla="*/ 31870 w 1598617"/>
                <a:gd name="connsiteY0" fmla="*/ 302905 h 1353363"/>
                <a:gd name="connsiteX1" fmla="*/ 34067 w 1598617"/>
                <a:gd name="connsiteY1" fmla="*/ 324855 h 1353363"/>
                <a:gd name="connsiteX2" fmla="*/ 47255 w 1598617"/>
                <a:gd name="connsiteY2" fmla="*/ 384119 h 1353363"/>
                <a:gd name="connsiteX3" fmla="*/ 47255 w 1598617"/>
                <a:gd name="connsiteY3" fmla="*/ 385217 h 1353363"/>
                <a:gd name="connsiteX4" fmla="*/ 57145 w 1598617"/>
                <a:gd name="connsiteY4" fmla="*/ 399484 h 1353363"/>
                <a:gd name="connsiteX5" fmla="*/ 80223 w 1598617"/>
                <a:gd name="connsiteY5" fmla="*/ 435701 h 1353363"/>
                <a:gd name="connsiteX6" fmla="*/ 100004 w 1598617"/>
                <a:gd name="connsiteY6" fmla="*/ 463138 h 1353363"/>
                <a:gd name="connsiteX7" fmla="*/ 131874 w 1598617"/>
                <a:gd name="connsiteY7" fmla="*/ 456553 h 1353363"/>
                <a:gd name="connsiteX8" fmla="*/ 160446 w 1598617"/>
                <a:gd name="connsiteY8" fmla="*/ 440091 h 1353363"/>
                <a:gd name="connsiteX9" fmla="*/ 220889 w 1598617"/>
                <a:gd name="connsiteY9" fmla="*/ 414849 h 1353363"/>
                <a:gd name="connsiteX10" fmla="*/ 223087 w 1598617"/>
                <a:gd name="connsiteY10" fmla="*/ 414849 h 1353363"/>
                <a:gd name="connsiteX11" fmla="*/ 269243 w 1598617"/>
                <a:gd name="connsiteY11" fmla="*/ 481795 h 1353363"/>
                <a:gd name="connsiteX12" fmla="*/ 271441 w 1598617"/>
                <a:gd name="connsiteY12" fmla="*/ 491672 h 1353363"/>
                <a:gd name="connsiteX13" fmla="*/ 280232 w 1598617"/>
                <a:gd name="connsiteY13" fmla="*/ 525694 h 1353363"/>
                <a:gd name="connsiteX14" fmla="*/ 282430 w 1598617"/>
                <a:gd name="connsiteY14" fmla="*/ 581666 h 1353363"/>
                <a:gd name="connsiteX15" fmla="*/ 292320 w 1598617"/>
                <a:gd name="connsiteY15" fmla="*/ 604713 h 1353363"/>
                <a:gd name="connsiteX16" fmla="*/ 303310 w 1598617"/>
                <a:gd name="connsiteY16" fmla="*/ 612396 h 1353363"/>
                <a:gd name="connsiteX17" fmla="*/ 313201 w 1598617"/>
                <a:gd name="connsiteY17" fmla="*/ 609103 h 1353363"/>
                <a:gd name="connsiteX18" fmla="*/ 331883 w 1598617"/>
                <a:gd name="connsiteY18" fmla="*/ 599226 h 1353363"/>
                <a:gd name="connsiteX19" fmla="*/ 353862 w 1598617"/>
                <a:gd name="connsiteY19" fmla="*/ 609103 h 1353363"/>
                <a:gd name="connsiteX20" fmla="*/ 374741 w 1598617"/>
                <a:gd name="connsiteY20" fmla="*/ 617883 h 1353363"/>
                <a:gd name="connsiteX21" fmla="*/ 409908 w 1598617"/>
                <a:gd name="connsiteY21" fmla="*/ 631053 h 1353363"/>
                <a:gd name="connsiteX22" fmla="*/ 440678 w 1598617"/>
                <a:gd name="connsiteY22" fmla="*/ 674952 h 1353363"/>
                <a:gd name="connsiteX23" fmla="*/ 442876 w 1598617"/>
                <a:gd name="connsiteY23" fmla="*/ 691415 h 1353363"/>
                <a:gd name="connsiteX24" fmla="*/ 443976 w 1598617"/>
                <a:gd name="connsiteY24" fmla="*/ 724339 h 1353363"/>
                <a:gd name="connsiteX25" fmla="*/ 453866 w 1598617"/>
                <a:gd name="connsiteY25" fmla="*/ 763849 h 1353363"/>
                <a:gd name="connsiteX26" fmla="*/ 457163 w 1598617"/>
                <a:gd name="connsiteY26" fmla="*/ 764946 h 1353363"/>
                <a:gd name="connsiteX27" fmla="*/ 460460 w 1598617"/>
                <a:gd name="connsiteY27" fmla="*/ 753971 h 1353363"/>
                <a:gd name="connsiteX28" fmla="*/ 463757 w 1598617"/>
                <a:gd name="connsiteY28" fmla="*/ 740801 h 1353363"/>
                <a:gd name="connsiteX29" fmla="*/ 507715 w 1598617"/>
                <a:gd name="connsiteY29" fmla="*/ 737509 h 1353363"/>
                <a:gd name="connsiteX30" fmla="*/ 515407 w 1598617"/>
                <a:gd name="connsiteY30" fmla="*/ 741899 h 1353363"/>
                <a:gd name="connsiteX31" fmla="*/ 547277 w 1598617"/>
                <a:gd name="connsiteY31" fmla="*/ 742996 h 1353363"/>
                <a:gd name="connsiteX32" fmla="*/ 608818 w 1598617"/>
                <a:gd name="connsiteY32" fmla="*/ 769336 h 1353363"/>
                <a:gd name="connsiteX33" fmla="*/ 630797 w 1598617"/>
                <a:gd name="connsiteY33" fmla="*/ 783603 h 1353363"/>
                <a:gd name="connsiteX34" fmla="*/ 653875 w 1598617"/>
                <a:gd name="connsiteY34" fmla="*/ 798968 h 1353363"/>
                <a:gd name="connsiteX35" fmla="*/ 653875 w 1598617"/>
                <a:gd name="connsiteY35" fmla="*/ 832990 h 1353363"/>
                <a:gd name="connsiteX36" fmla="*/ 643984 w 1598617"/>
                <a:gd name="connsiteY36" fmla="*/ 859329 h 1353363"/>
                <a:gd name="connsiteX37" fmla="*/ 635193 w 1598617"/>
                <a:gd name="connsiteY37" fmla="*/ 883474 h 1353363"/>
                <a:gd name="connsiteX38" fmla="*/ 639589 w 1598617"/>
                <a:gd name="connsiteY38" fmla="*/ 901034 h 1353363"/>
                <a:gd name="connsiteX39" fmla="*/ 656073 w 1598617"/>
                <a:gd name="connsiteY39" fmla="*/ 916399 h 1353363"/>
                <a:gd name="connsiteX40" fmla="*/ 645083 w 1598617"/>
                <a:gd name="connsiteY40" fmla="*/ 950420 h 1353363"/>
                <a:gd name="connsiteX41" fmla="*/ 625302 w 1598617"/>
                <a:gd name="connsiteY41" fmla="*/ 981150 h 1353363"/>
                <a:gd name="connsiteX42" fmla="*/ 626401 w 1598617"/>
                <a:gd name="connsiteY42" fmla="*/ 997613 h 1353363"/>
                <a:gd name="connsiteX43" fmla="*/ 670359 w 1598617"/>
                <a:gd name="connsiteY43" fmla="*/ 1004197 h 1353363"/>
                <a:gd name="connsiteX44" fmla="*/ 674755 w 1598617"/>
                <a:gd name="connsiteY44" fmla="*/ 1004197 h 1353363"/>
                <a:gd name="connsiteX45" fmla="*/ 725306 w 1598617"/>
                <a:gd name="connsiteY45" fmla="*/ 1017367 h 1353363"/>
                <a:gd name="connsiteX46" fmla="*/ 791243 w 1598617"/>
                <a:gd name="connsiteY46" fmla="*/ 1019562 h 1353363"/>
                <a:gd name="connsiteX47" fmla="*/ 824212 w 1598617"/>
                <a:gd name="connsiteY47" fmla="*/ 999807 h 1353363"/>
                <a:gd name="connsiteX48" fmla="*/ 840696 w 1598617"/>
                <a:gd name="connsiteY48" fmla="*/ 991027 h 1353363"/>
                <a:gd name="connsiteX49" fmla="*/ 864873 w 1598617"/>
                <a:gd name="connsiteY49" fmla="*/ 958103 h 1353363"/>
                <a:gd name="connsiteX50" fmla="*/ 882456 w 1598617"/>
                <a:gd name="connsiteY50" fmla="*/ 935056 h 1353363"/>
                <a:gd name="connsiteX51" fmla="*/ 883555 w 1598617"/>
                <a:gd name="connsiteY51" fmla="*/ 933958 h 1353363"/>
                <a:gd name="connsiteX52" fmla="*/ 950591 w 1598617"/>
                <a:gd name="connsiteY52" fmla="*/ 904327 h 1353363"/>
                <a:gd name="connsiteX53" fmla="*/ 960482 w 1598617"/>
                <a:gd name="connsiteY53" fmla="*/ 919691 h 1353363"/>
                <a:gd name="connsiteX54" fmla="*/ 929711 w 1598617"/>
                <a:gd name="connsiteY54" fmla="*/ 980053 h 1353363"/>
                <a:gd name="connsiteX55" fmla="*/ 919821 w 1598617"/>
                <a:gd name="connsiteY55" fmla="*/ 993222 h 1353363"/>
                <a:gd name="connsiteX56" fmla="*/ 928612 w 1598617"/>
                <a:gd name="connsiteY56" fmla="*/ 1048097 h 1353363"/>
                <a:gd name="connsiteX57" fmla="*/ 929711 w 1598617"/>
                <a:gd name="connsiteY57" fmla="*/ 1087606 h 1353363"/>
                <a:gd name="connsiteX58" fmla="*/ 920919 w 1598617"/>
                <a:gd name="connsiteY58" fmla="*/ 1123823 h 1353363"/>
                <a:gd name="connsiteX59" fmla="*/ 927513 w 1598617"/>
                <a:gd name="connsiteY59" fmla="*/ 1149065 h 1353363"/>
                <a:gd name="connsiteX60" fmla="*/ 962679 w 1598617"/>
                <a:gd name="connsiteY60" fmla="*/ 1149065 h 1353363"/>
                <a:gd name="connsiteX61" fmla="*/ 1036309 w 1598617"/>
                <a:gd name="connsiteY61" fmla="*/ 1197354 h 1353363"/>
                <a:gd name="connsiteX62" fmla="*/ 1060486 w 1598617"/>
                <a:gd name="connsiteY62" fmla="*/ 1212719 h 1353363"/>
                <a:gd name="connsiteX63" fmla="*/ 1094553 w 1598617"/>
                <a:gd name="connsiteY63" fmla="*/ 1226986 h 1353363"/>
                <a:gd name="connsiteX64" fmla="*/ 1112137 w 1598617"/>
                <a:gd name="connsiteY64" fmla="*/ 1250034 h 1353363"/>
                <a:gd name="connsiteX65" fmla="*/ 1146204 w 1598617"/>
                <a:gd name="connsiteY65" fmla="*/ 1265398 h 1353363"/>
                <a:gd name="connsiteX66" fmla="*/ 1180272 w 1598617"/>
                <a:gd name="connsiteY66" fmla="*/ 1319175 h 1353363"/>
                <a:gd name="connsiteX67" fmla="*/ 1191261 w 1598617"/>
                <a:gd name="connsiteY67" fmla="*/ 1352100 h 1353363"/>
                <a:gd name="connsiteX68" fmla="*/ 1236318 w 1598617"/>
                <a:gd name="connsiteY68" fmla="*/ 1338930 h 1353363"/>
                <a:gd name="connsiteX69" fmla="*/ 1285771 w 1598617"/>
                <a:gd name="connsiteY69" fmla="*/ 1319175 h 1353363"/>
                <a:gd name="connsiteX70" fmla="*/ 1324234 w 1598617"/>
                <a:gd name="connsiteY70" fmla="*/ 1325760 h 1353363"/>
                <a:gd name="connsiteX71" fmla="*/ 1340718 w 1598617"/>
                <a:gd name="connsiteY71" fmla="*/ 1286251 h 1353363"/>
                <a:gd name="connsiteX72" fmla="*/ 1345114 w 1598617"/>
                <a:gd name="connsiteY72" fmla="*/ 1264301 h 1353363"/>
                <a:gd name="connsiteX73" fmla="*/ 1345114 w 1598617"/>
                <a:gd name="connsiteY73" fmla="*/ 1252228 h 1353363"/>
                <a:gd name="connsiteX74" fmla="*/ 1345114 w 1598617"/>
                <a:gd name="connsiteY74" fmla="*/ 1240156 h 1353363"/>
                <a:gd name="connsiteX75" fmla="*/ 1341817 w 1598617"/>
                <a:gd name="connsiteY75" fmla="*/ 1217109 h 1353363"/>
                <a:gd name="connsiteX76" fmla="*/ 1333025 w 1598617"/>
                <a:gd name="connsiteY76" fmla="*/ 1209427 h 1353363"/>
                <a:gd name="connsiteX77" fmla="*/ 1320937 w 1598617"/>
                <a:gd name="connsiteY77" fmla="*/ 1196257 h 1353363"/>
                <a:gd name="connsiteX78" fmla="*/ 1313244 w 1598617"/>
                <a:gd name="connsiteY78" fmla="*/ 1185282 h 1353363"/>
                <a:gd name="connsiteX79" fmla="*/ 1286869 w 1598617"/>
                <a:gd name="connsiteY79" fmla="*/ 1123823 h 1353363"/>
                <a:gd name="connsiteX80" fmla="*/ 1298958 w 1598617"/>
                <a:gd name="connsiteY80" fmla="*/ 1110653 h 1353363"/>
                <a:gd name="connsiteX81" fmla="*/ 1328630 w 1598617"/>
                <a:gd name="connsiteY81" fmla="*/ 1068949 h 1353363"/>
                <a:gd name="connsiteX82" fmla="*/ 1328630 w 1598617"/>
                <a:gd name="connsiteY82" fmla="*/ 1066754 h 1353363"/>
                <a:gd name="connsiteX83" fmla="*/ 1339619 w 1598617"/>
                <a:gd name="connsiteY83" fmla="*/ 1041512 h 1353363"/>
                <a:gd name="connsiteX84" fmla="*/ 1350609 w 1598617"/>
                <a:gd name="connsiteY84" fmla="*/ 1025050 h 1353363"/>
                <a:gd name="connsiteX85" fmla="*/ 1356104 w 1598617"/>
                <a:gd name="connsiteY85" fmla="*/ 1005295 h 1353363"/>
                <a:gd name="connsiteX86" fmla="*/ 1362697 w 1598617"/>
                <a:gd name="connsiteY86" fmla="*/ 984443 h 1353363"/>
                <a:gd name="connsiteX87" fmla="*/ 1416546 w 1598617"/>
                <a:gd name="connsiteY87" fmla="*/ 908716 h 1353363"/>
                <a:gd name="connsiteX88" fmla="*/ 1444020 w 1598617"/>
                <a:gd name="connsiteY88" fmla="*/ 920789 h 1353363"/>
                <a:gd name="connsiteX89" fmla="*/ 1451712 w 1598617"/>
                <a:gd name="connsiteY89" fmla="*/ 927373 h 1353363"/>
                <a:gd name="connsiteX90" fmla="*/ 1480285 w 1598617"/>
                <a:gd name="connsiteY90" fmla="*/ 936153 h 1353363"/>
                <a:gd name="connsiteX91" fmla="*/ 1487977 w 1598617"/>
                <a:gd name="connsiteY91" fmla="*/ 917496 h 1353363"/>
                <a:gd name="connsiteX92" fmla="*/ 1529737 w 1598617"/>
                <a:gd name="connsiteY92" fmla="*/ 876889 h 1353363"/>
                <a:gd name="connsiteX93" fmla="*/ 1542925 w 1598617"/>
                <a:gd name="connsiteY93" fmla="*/ 861524 h 1353363"/>
                <a:gd name="connsiteX94" fmla="*/ 1556112 w 1598617"/>
                <a:gd name="connsiteY94" fmla="*/ 841770 h 1353363"/>
                <a:gd name="connsiteX95" fmla="*/ 1583586 w 1598617"/>
                <a:gd name="connsiteY95" fmla="*/ 835185 h 1353363"/>
                <a:gd name="connsiteX96" fmla="*/ 1595674 w 1598617"/>
                <a:gd name="connsiteY96" fmla="*/ 834087 h 1353363"/>
                <a:gd name="connsiteX97" fmla="*/ 1589080 w 1598617"/>
                <a:gd name="connsiteY97" fmla="*/ 806650 h 1353363"/>
                <a:gd name="connsiteX98" fmla="*/ 1580289 w 1598617"/>
                <a:gd name="connsiteY98" fmla="*/ 791286 h 1353363"/>
                <a:gd name="connsiteX99" fmla="*/ 1576992 w 1598617"/>
                <a:gd name="connsiteY99" fmla="*/ 758361 h 1353363"/>
                <a:gd name="connsiteX100" fmla="*/ 1578091 w 1598617"/>
                <a:gd name="connsiteY100" fmla="*/ 753971 h 1353363"/>
                <a:gd name="connsiteX101" fmla="*/ 1576992 w 1598617"/>
                <a:gd name="connsiteY101" fmla="*/ 733119 h 1353363"/>
                <a:gd name="connsiteX102" fmla="*/ 1578091 w 1598617"/>
                <a:gd name="connsiteY102" fmla="*/ 716657 h 1353363"/>
                <a:gd name="connsiteX103" fmla="*/ 1576992 w 1598617"/>
                <a:gd name="connsiteY103" fmla="*/ 712267 h 1353363"/>
                <a:gd name="connsiteX104" fmla="*/ 1560508 w 1598617"/>
                <a:gd name="connsiteY104" fmla="*/ 715559 h 1353363"/>
                <a:gd name="connsiteX105" fmla="*/ 1553914 w 1598617"/>
                <a:gd name="connsiteY105" fmla="*/ 717754 h 1353363"/>
                <a:gd name="connsiteX106" fmla="*/ 1524243 w 1598617"/>
                <a:gd name="connsiteY106" fmla="*/ 710072 h 1353363"/>
                <a:gd name="connsiteX107" fmla="*/ 1514352 w 1598617"/>
                <a:gd name="connsiteY107" fmla="*/ 681537 h 1353363"/>
                <a:gd name="connsiteX108" fmla="*/ 1531935 w 1598617"/>
                <a:gd name="connsiteY108" fmla="*/ 644223 h 1353363"/>
                <a:gd name="connsiteX109" fmla="*/ 1534133 w 1598617"/>
                <a:gd name="connsiteY109" fmla="*/ 642028 h 1353363"/>
                <a:gd name="connsiteX110" fmla="*/ 1538529 w 1598617"/>
                <a:gd name="connsiteY110" fmla="*/ 637638 h 1353363"/>
                <a:gd name="connsiteX111" fmla="*/ 1545122 w 1598617"/>
                <a:gd name="connsiteY111" fmla="*/ 618981 h 1353363"/>
                <a:gd name="connsiteX112" fmla="*/ 1542925 w 1598617"/>
                <a:gd name="connsiteY112" fmla="*/ 614591 h 1353363"/>
                <a:gd name="connsiteX113" fmla="*/ 1537430 w 1598617"/>
                <a:gd name="connsiteY113" fmla="*/ 616786 h 1353363"/>
                <a:gd name="connsiteX114" fmla="*/ 1522045 w 1598617"/>
                <a:gd name="connsiteY114" fmla="*/ 621176 h 1353363"/>
                <a:gd name="connsiteX115" fmla="*/ 1495670 w 1598617"/>
                <a:gd name="connsiteY115" fmla="*/ 582764 h 1353363"/>
                <a:gd name="connsiteX116" fmla="*/ 1473691 w 1598617"/>
                <a:gd name="connsiteY116" fmla="*/ 561912 h 1353363"/>
                <a:gd name="connsiteX117" fmla="*/ 1472592 w 1598617"/>
                <a:gd name="connsiteY117" fmla="*/ 561912 h 1353363"/>
                <a:gd name="connsiteX118" fmla="*/ 1439623 w 1598617"/>
                <a:gd name="connsiteY118" fmla="*/ 539962 h 1353363"/>
                <a:gd name="connsiteX119" fmla="*/ 1436327 w 1598617"/>
                <a:gd name="connsiteY119" fmla="*/ 524597 h 1353363"/>
                <a:gd name="connsiteX120" fmla="*/ 1422041 w 1598617"/>
                <a:gd name="connsiteY120" fmla="*/ 525694 h 1353363"/>
                <a:gd name="connsiteX121" fmla="*/ 1375885 w 1598617"/>
                <a:gd name="connsiteY121" fmla="*/ 504842 h 1353363"/>
                <a:gd name="connsiteX122" fmla="*/ 1352806 w 1598617"/>
                <a:gd name="connsiteY122" fmla="*/ 504842 h 1353363"/>
                <a:gd name="connsiteX123" fmla="*/ 1309948 w 1598617"/>
                <a:gd name="connsiteY123" fmla="*/ 514720 h 1353363"/>
                <a:gd name="connsiteX124" fmla="*/ 1285771 w 1598617"/>
                <a:gd name="connsiteY124" fmla="*/ 497160 h 1353363"/>
                <a:gd name="connsiteX125" fmla="*/ 1307750 w 1598617"/>
                <a:gd name="connsiteY125" fmla="*/ 425823 h 1353363"/>
                <a:gd name="connsiteX126" fmla="*/ 1336322 w 1598617"/>
                <a:gd name="connsiteY126" fmla="*/ 391802 h 1353363"/>
                <a:gd name="connsiteX127" fmla="*/ 1351708 w 1598617"/>
                <a:gd name="connsiteY127" fmla="*/ 364365 h 1353363"/>
                <a:gd name="connsiteX128" fmla="*/ 1352806 w 1598617"/>
                <a:gd name="connsiteY128" fmla="*/ 354487 h 1353363"/>
                <a:gd name="connsiteX129" fmla="*/ 1369290 w 1598617"/>
                <a:gd name="connsiteY129" fmla="*/ 305100 h 1353363"/>
                <a:gd name="connsiteX130" fmla="*/ 1365994 w 1598617"/>
                <a:gd name="connsiteY130" fmla="*/ 250226 h 1353363"/>
                <a:gd name="connsiteX131" fmla="*/ 1349509 w 1598617"/>
                <a:gd name="connsiteY131" fmla="*/ 242544 h 1353363"/>
                <a:gd name="connsiteX132" fmla="*/ 1316541 w 1598617"/>
                <a:gd name="connsiteY132" fmla="*/ 239251 h 1353363"/>
                <a:gd name="connsiteX133" fmla="*/ 1289067 w 1598617"/>
                <a:gd name="connsiteY133" fmla="*/ 195352 h 1353363"/>
                <a:gd name="connsiteX134" fmla="*/ 1285771 w 1598617"/>
                <a:gd name="connsiteY134" fmla="*/ 174500 h 1353363"/>
                <a:gd name="connsiteX135" fmla="*/ 1275880 w 1598617"/>
                <a:gd name="connsiteY135" fmla="*/ 164623 h 1353363"/>
                <a:gd name="connsiteX136" fmla="*/ 1231922 w 1598617"/>
                <a:gd name="connsiteY136" fmla="*/ 184377 h 1353363"/>
                <a:gd name="connsiteX137" fmla="*/ 1187964 w 1598617"/>
                <a:gd name="connsiteY137" fmla="*/ 194255 h 1353363"/>
                <a:gd name="connsiteX138" fmla="*/ 1145105 w 1598617"/>
                <a:gd name="connsiteY138" fmla="*/ 158038 h 1353363"/>
                <a:gd name="connsiteX139" fmla="*/ 1117631 w 1598617"/>
                <a:gd name="connsiteY139" fmla="*/ 131698 h 1353363"/>
                <a:gd name="connsiteX140" fmla="*/ 1091256 w 1598617"/>
                <a:gd name="connsiteY140" fmla="*/ 102066 h 1353363"/>
                <a:gd name="connsiteX141" fmla="*/ 1090158 w 1598617"/>
                <a:gd name="connsiteY141" fmla="*/ 75726 h 1353363"/>
                <a:gd name="connsiteX142" fmla="*/ 1080267 w 1598617"/>
                <a:gd name="connsiteY142" fmla="*/ 25242 h 1353363"/>
                <a:gd name="connsiteX143" fmla="*/ 1060486 w 1598617"/>
                <a:gd name="connsiteY143" fmla="*/ 46094 h 1353363"/>
                <a:gd name="connsiteX144" fmla="*/ 1041804 w 1598617"/>
                <a:gd name="connsiteY144" fmla="*/ 73532 h 1353363"/>
                <a:gd name="connsiteX145" fmla="*/ 997846 w 1598617"/>
                <a:gd name="connsiteY145" fmla="*/ 83409 h 1353363"/>
                <a:gd name="connsiteX146" fmla="*/ 979163 w 1598617"/>
                <a:gd name="connsiteY146" fmla="*/ 63654 h 1353363"/>
                <a:gd name="connsiteX147" fmla="*/ 984658 w 1598617"/>
                <a:gd name="connsiteY147" fmla="*/ 36217 h 1353363"/>
                <a:gd name="connsiteX148" fmla="*/ 986856 w 1598617"/>
                <a:gd name="connsiteY148" fmla="*/ 7683 h 1353363"/>
                <a:gd name="connsiteX149" fmla="*/ 974768 w 1598617"/>
                <a:gd name="connsiteY149" fmla="*/ 0 h 1353363"/>
                <a:gd name="connsiteX150" fmla="*/ 937404 w 1598617"/>
                <a:gd name="connsiteY150" fmla="*/ 36217 h 1353363"/>
                <a:gd name="connsiteX151" fmla="*/ 902237 w 1598617"/>
                <a:gd name="connsiteY151" fmla="*/ 59264 h 1353363"/>
                <a:gd name="connsiteX152" fmla="*/ 864873 w 1598617"/>
                <a:gd name="connsiteY152" fmla="*/ 23047 h 1353363"/>
                <a:gd name="connsiteX153" fmla="*/ 853884 w 1598617"/>
                <a:gd name="connsiteY153" fmla="*/ 8780 h 1353363"/>
                <a:gd name="connsiteX154" fmla="*/ 812124 w 1598617"/>
                <a:gd name="connsiteY154" fmla="*/ 27437 h 1353363"/>
                <a:gd name="connsiteX155" fmla="*/ 803332 w 1598617"/>
                <a:gd name="connsiteY155" fmla="*/ 60362 h 1353363"/>
                <a:gd name="connsiteX156" fmla="*/ 787947 w 1598617"/>
                <a:gd name="connsiteY156" fmla="*/ 92189 h 1353363"/>
                <a:gd name="connsiteX157" fmla="*/ 760473 w 1598617"/>
                <a:gd name="connsiteY157" fmla="*/ 86701 h 1353363"/>
                <a:gd name="connsiteX158" fmla="*/ 724208 w 1598617"/>
                <a:gd name="connsiteY158" fmla="*/ 85604 h 1353363"/>
                <a:gd name="connsiteX159" fmla="*/ 683547 w 1598617"/>
                <a:gd name="connsiteY159" fmla="*/ 120723 h 1353363"/>
                <a:gd name="connsiteX160" fmla="*/ 671458 w 1598617"/>
                <a:gd name="connsiteY160" fmla="*/ 142673 h 1353363"/>
                <a:gd name="connsiteX161" fmla="*/ 552771 w 1598617"/>
                <a:gd name="connsiteY161" fmla="*/ 171207 h 1353363"/>
                <a:gd name="connsiteX162" fmla="*/ 525298 w 1598617"/>
                <a:gd name="connsiteY162" fmla="*/ 145965 h 1353363"/>
                <a:gd name="connsiteX163" fmla="*/ 496725 w 1598617"/>
                <a:gd name="connsiteY163" fmla="*/ 127308 h 1353363"/>
                <a:gd name="connsiteX164" fmla="*/ 451668 w 1598617"/>
                <a:gd name="connsiteY164" fmla="*/ 128406 h 1353363"/>
                <a:gd name="connsiteX165" fmla="*/ 385731 w 1598617"/>
                <a:gd name="connsiteY165" fmla="*/ 127308 h 1353363"/>
                <a:gd name="connsiteX166" fmla="*/ 338476 w 1598617"/>
                <a:gd name="connsiteY166" fmla="*/ 46094 h 1353363"/>
                <a:gd name="connsiteX167" fmla="*/ 126379 w 1598617"/>
                <a:gd name="connsiteY167" fmla="*/ 133893 h 1353363"/>
                <a:gd name="connsiteX168" fmla="*/ 0 w 1598617"/>
                <a:gd name="connsiteY168" fmla="*/ 182182 h 1353363"/>
                <a:gd name="connsiteX169" fmla="*/ 12088 w 1598617"/>
                <a:gd name="connsiteY169" fmla="*/ 232667 h 1353363"/>
                <a:gd name="connsiteX170" fmla="*/ 31870 w 1598617"/>
                <a:gd name="connsiteY170" fmla="*/ 302905 h 1353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</a:cxnLst>
              <a:rect l="l" t="t" r="r" b="b"/>
              <a:pathLst>
                <a:path w="1598617" h="1353363">
                  <a:moveTo>
                    <a:pt x="31870" y="302905"/>
                  </a:moveTo>
                  <a:cubicBezTo>
                    <a:pt x="32968" y="309490"/>
                    <a:pt x="32968" y="317173"/>
                    <a:pt x="34067" y="324855"/>
                  </a:cubicBezTo>
                  <a:cubicBezTo>
                    <a:pt x="37365" y="356682"/>
                    <a:pt x="39562" y="363267"/>
                    <a:pt x="47255" y="384119"/>
                  </a:cubicBezTo>
                  <a:lnTo>
                    <a:pt x="47255" y="385217"/>
                  </a:lnTo>
                  <a:cubicBezTo>
                    <a:pt x="50551" y="392899"/>
                    <a:pt x="53849" y="396192"/>
                    <a:pt x="57145" y="399484"/>
                  </a:cubicBezTo>
                  <a:cubicBezTo>
                    <a:pt x="63739" y="404971"/>
                    <a:pt x="70333" y="412654"/>
                    <a:pt x="80223" y="435701"/>
                  </a:cubicBezTo>
                  <a:cubicBezTo>
                    <a:pt x="86817" y="451066"/>
                    <a:pt x="92312" y="459845"/>
                    <a:pt x="100004" y="463138"/>
                  </a:cubicBezTo>
                  <a:cubicBezTo>
                    <a:pt x="107697" y="466430"/>
                    <a:pt x="116488" y="463138"/>
                    <a:pt x="131874" y="456553"/>
                  </a:cubicBezTo>
                  <a:cubicBezTo>
                    <a:pt x="140665" y="453261"/>
                    <a:pt x="150556" y="446676"/>
                    <a:pt x="160446" y="440091"/>
                  </a:cubicBezTo>
                  <a:cubicBezTo>
                    <a:pt x="180228" y="428019"/>
                    <a:pt x="200009" y="414849"/>
                    <a:pt x="220889" y="414849"/>
                  </a:cubicBezTo>
                  <a:cubicBezTo>
                    <a:pt x="221988" y="414849"/>
                    <a:pt x="221988" y="414849"/>
                    <a:pt x="223087" y="414849"/>
                  </a:cubicBezTo>
                  <a:cubicBezTo>
                    <a:pt x="254956" y="415946"/>
                    <a:pt x="260451" y="443383"/>
                    <a:pt x="269243" y="481795"/>
                  </a:cubicBezTo>
                  <a:lnTo>
                    <a:pt x="271441" y="491672"/>
                  </a:lnTo>
                  <a:cubicBezTo>
                    <a:pt x="273639" y="504842"/>
                    <a:pt x="276935" y="515817"/>
                    <a:pt x="280232" y="525694"/>
                  </a:cubicBezTo>
                  <a:cubicBezTo>
                    <a:pt x="286825" y="547644"/>
                    <a:pt x="292320" y="565204"/>
                    <a:pt x="282430" y="581666"/>
                  </a:cubicBezTo>
                  <a:cubicBezTo>
                    <a:pt x="275836" y="592641"/>
                    <a:pt x="281331" y="597031"/>
                    <a:pt x="292320" y="604713"/>
                  </a:cubicBezTo>
                  <a:cubicBezTo>
                    <a:pt x="295618" y="606908"/>
                    <a:pt x="300013" y="610201"/>
                    <a:pt x="303310" y="612396"/>
                  </a:cubicBezTo>
                  <a:cubicBezTo>
                    <a:pt x="305508" y="614591"/>
                    <a:pt x="306607" y="614591"/>
                    <a:pt x="313201" y="609103"/>
                  </a:cubicBezTo>
                  <a:cubicBezTo>
                    <a:pt x="317597" y="604713"/>
                    <a:pt x="324190" y="600324"/>
                    <a:pt x="331883" y="599226"/>
                  </a:cubicBezTo>
                  <a:cubicBezTo>
                    <a:pt x="341773" y="599226"/>
                    <a:pt x="348367" y="603616"/>
                    <a:pt x="353862" y="609103"/>
                  </a:cubicBezTo>
                  <a:cubicBezTo>
                    <a:pt x="360455" y="614591"/>
                    <a:pt x="365950" y="618981"/>
                    <a:pt x="374741" y="617883"/>
                  </a:cubicBezTo>
                  <a:cubicBezTo>
                    <a:pt x="386830" y="615688"/>
                    <a:pt x="400018" y="624468"/>
                    <a:pt x="409908" y="631053"/>
                  </a:cubicBezTo>
                  <a:cubicBezTo>
                    <a:pt x="424194" y="643125"/>
                    <a:pt x="440678" y="662880"/>
                    <a:pt x="440678" y="674952"/>
                  </a:cubicBezTo>
                  <a:cubicBezTo>
                    <a:pt x="440678" y="681537"/>
                    <a:pt x="441778" y="687025"/>
                    <a:pt x="442876" y="691415"/>
                  </a:cubicBezTo>
                  <a:cubicBezTo>
                    <a:pt x="445074" y="699097"/>
                    <a:pt x="446173" y="707877"/>
                    <a:pt x="443976" y="724339"/>
                  </a:cubicBezTo>
                  <a:cubicBezTo>
                    <a:pt x="440678" y="748484"/>
                    <a:pt x="441778" y="756166"/>
                    <a:pt x="453866" y="763849"/>
                  </a:cubicBezTo>
                  <a:cubicBezTo>
                    <a:pt x="456064" y="764946"/>
                    <a:pt x="457163" y="764946"/>
                    <a:pt x="457163" y="764946"/>
                  </a:cubicBezTo>
                  <a:cubicBezTo>
                    <a:pt x="458262" y="763849"/>
                    <a:pt x="459361" y="757264"/>
                    <a:pt x="460460" y="753971"/>
                  </a:cubicBezTo>
                  <a:cubicBezTo>
                    <a:pt x="461559" y="749581"/>
                    <a:pt x="462657" y="745191"/>
                    <a:pt x="463757" y="740801"/>
                  </a:cubicBezTo>
                  <a:cubicBezTo>
                    <a:pt x="470350" y="724339"/>
                    <a:pt x="492329" y="732022"/>
                    <a:pt x="507715" y="737509"/>
                  </a:cubicBezTo>
                  <a:cubicBezTo>
                    <a:pt x="511011" y="738606"/>
                    <a:pt x="513209" y="739704"/>
                    <a:pt x="515407" y="741899"/>
                  </a:cubicBezTo>
                  <a:cubicBezTo>
                    <a:pt x="526397" y="747386"/>
                    <a:pt x="531892" y="750679"/>
                    <a:pt x="547277" y="742996"/>
                  </a:cubicBezTo>
                  <a:cubicBezTo>
                    <a:pt x="564860" y="735314"/>
                    <a:pt x="587938" y="753971"/>
                    <a:pt x="608818" y="769336"/>
                  </a:cubicBezTo>
                  <a:cubicBezTo>
                    <a:pt x="617610" y="775921"/>
                    <a:pt x="626401" y="782506"/>
                    <a:pt x="630797" y="783603"/>
                  </a:cubicBezTo>
                  <a:cubicBezTo>
                    <a:pt x="640687" y="784701"/>
                    <a:pt x="648380" y="791286"/>
                    <a:pt x="653875" y="798968"/>
                  </a:cubicBezTo>
                  <a:cubicBezTo>
                    <a:pt x="657171" y="805553"/>
                    <a:pt x="660468" y="816528"/>
                    <a:pt x="653875" y="832990"/>
                  </a:cubicBezTo>
                  <a:cubicBezTo>
                    <a:pt x="647281" y="846160"/>
                    <a:pt x="646182" y="852745"/>
                    <a:pt x="643984" y="859329"/>
                  </a:cubicBezTo>
                  <a:cubicBezTo>
                    <a:pt x="641787" y="865914"/>
                    <a:pt x="640687" y="872499"/>
                    <a:pt x="635193" y="883474"/>
                  </a:cubicBezTo>
                  <a:cubicBezTo>
                    <a:pt x="630797" y="894449"/>
                    <a:pt x="631896" y="895547"/>
                    <a:pt x="639589" y="901034"/>
                  </a:cubicBezTo>
                  <a:cubicBezTo>
                    <a:pt x="645083" y="904327"/>
                    <a:pt x="650578" y="908716"/>
                    <a:pt x="656073" y="916399"/>
                  </a:cubicBezTo>
                  <a:cubicBezTo>
                    <a:pt x="665963" y="929569"/>
                    <a:pt x="654973" y="940543"/>
                    <a:pt x="645083" y="950420"/>
                  </a:cubicBezTo>
                  <a:cubicBezTo>
                    <a:pt x="637391" y="959201"/>
                    <a:pt x="628599" y="967980"/>
                    <a:pt x="625302" y="981150"/>
                  </a:cubicBezTo>
                  <a:cubicBezTo>
                    <a:pt x="624203" y="988832"/>
                    <a:pt x="624203" y="994320"/>
                    <a:pt x="626401" y="997613"/>
                  </a:cubicBezTo>
                  <a:cubicBezTo>
                    <a:pt x="631896" y="1004197"/>
                    <a:pt x="648380" y="1004197"/>
                    <a:pt x="670359" y="1004197"/>
                  </a:cubicBezTo>
                  <a:lnTo>
                    <a:pt x="674755" y="1004197"/>
                  </a:lnTo>
                  <a:cubicBezTo>
                    <a:pt x="690140" y="1004197"/>
                    <a:pt x="708822" y="1010782"/>
                    <a:pt x="725306" y="1017367"/>
                  </a:cubicBezTo>
                  <a:cubicBezTo>
                    <a:pt x="752780" y="1027244"/>
                    <a:pt x="779155" y="1037122"/>
                    <a:pt x="791243" y="1019562"/>
                  </a:cubicBezTo>
                  <a:cubicBezTo>
                    <a:pt x="803332" y="1000905"/>
                    <a:pt x="813222" y="999807"/>
                    <a:pt x="824212" y="999807"/>
                  </a:cubicBezTo>
                  <a:cubicBezTo>
                    <a:pt x="830805" y="999807"/>
                    <a:pt x="834103" y="999807"/>
                    <a:pt x="840696" y="991027"/>
                  </a:cubicBezTo>
                  <a:cubicBezTo>
                    <a:pt x="849488" y="977857"/>
                    <a:pt x="858279" y="966883"/>
                    <a:pt x="864873" y="958103"/>
                  </a:cubicBezTo>
                  <a:cubicBezTo>
                    <a:pt x="871467" y="950420"/>
                    <a:pt x="876961" y="942739"/>
                    <a:pt x="882456" y="935056"/>
                  </a:cubicBezTo>
                  <a:lnTo>
                    <a:pt x="883555" y="933958"/>
                  </a:lnTo>
                  <a:cubicBezTo>
                    <a:pt x="896742" y="916399"/>
                    <a:pt x="922019" y="884572"/>
                    <a:pt x="950591" y="904327"/>
                  </a:cubicBezTo>
                  <a:cubicBezTo>
                    <a:pt x="956086" y="908716"/>
                    <a:pt x="959383" y="913106"/>
                    <a:pt x="960482" y="919691"/>
                  </a:cubicBezTo>
                  <a:cubicBezTo>
                    <a:pt x="962679" y="938348"/>
                    <a:pt x="943998" y="962493"/>
                    <a:pt x="929711" y="980053"/>
                  </a:cubicBezTo>
                  <a:cubicBezTo>
                    <a:pt x="925315" y="985540"/>
                    <a:pt x="922019" y="989930"/>
                    <a:pt x="919821" y="993222"/>
                  </a:cubicBezTo>
                  <a:cubicBezTo>
                    <a:pt x="907732" y="1008588"/>
                    <a:pt x="916524" y="1031634"/>
                    <a:pt x="928612" y="1048097"/>
                  </a:cubicBezTo>
                  <a:cubicBezTo>
                    <a:pt x="938503" y="1062364"/>
                    <a:pt x="935205" y="1073339"/>
                    <a:pt x="929711" y="1087606"/>
                  </a:cubicBezTo>
                  <a:cubicBezTo>
                    <a:pt x="926414" y="1096386"/>
                    <a:pt x="923117" y="1108458"/>
                    <a:pt x="920919" y="1123823"/>
                  </a:cubicBezTo>
                  <a:cubicBezTo>
                    <a:pt x="919821" y="1135895"/>
                    <a:pt x="922019" y="1144675"/>
                    <a:pt x="927513" y="1149065"/>
                  </a:cubicBezTo>
                  <a:cubicBezTo>
                    <a:pt x="936305" y="1155650"/>
                    <a:pt x="951690" y="1153455"/>
                    <a:pt x="962679" y="1149065"/>
                  </a:cubicBezTo>
                  <a:cubicBezTo>
                    <a:pt x="984658" y="1142480"/>
                    <a:pt x="1006637" y="1156748"/>
                    <a:pt x="1036309" y="1197354"/>
                  </a:cubicBezTo>
                  <a:cubicBezTo>
                    <a:pt x="1048398" y="1214914"/>
                    <a:pt x="1052793" y="1213816"/>
                    <a:pt x="1060486" y="1212719"/>
                  </a:cubicBezTo>
                  <a:cubicBezTo>
                    <a:pt x="1070377" y="1210524"/>
                    <a:pt x="1080267" y="1210524"/>
                    <a:pt x="1094553" y="1226986"/>
                  </a:cubicBezTo>
                  <a:cubicBezTo>
                    <a:pt x="1103345" y="1236864"/>
                    <a:pt x="1108840" y="1244546"/>
                    <a:pt x="1112137" y="1250034"/>
                  </a:cubicBezTo>
                  <a:cubicBezTo>
                    <a:pt x="1119830" y="1262106"/>
                    <a:pt x="1120928" y="1264301"/>
                    <a:pt x="1146204" y="1265398"/>
                  </a:cubicBezTo>
                  <a:cubicBezTo>
                    <a:pt x="1174777" y="1267593"/>
                    <a:pt x="1178074" y="1296128"/>
                    <a:pt x="1180272" y="1319175"/>
                  </a:cubicBezTo>
                  <a:cubicBezTo>
                    <a:pt x="1182469" y="1334540"/>
                    <a:pt x="1183568" y="1348807"/>
                    <a:pt x="1191261" y="1352100"/>
                  </a:cubicBezTo>
                  <a:cubicBezTo>
                    <a:pt x="1203349" y="1356489"/>
                    <a:pt x="1218735" y="1348807"/>
                    <a:pt x="1236318" y="1338930"/>
                  </a:cubicBezTo>
                  <a:cubicBezTo>
                    <a:pt x="1250604" y="1331247"/>
                    <a:pt x="1267088" y="1322468"/>
                    <a:pt x="1285771" y="1319175"/>
                  </a:cubicBezTo>
                  <a:cubicBezTo>
                    <a:pt x="1301156" y="1316980"/>
                    <a:pt x="1314343" y="1320272"/>
                    <a:pt x="1324234" y="1325760"/>
                  </a:cubicBezTo>
                  <a:cubicBezTo>
                    <a:pt x="1328630" y="1316980"/>
                    <a:pt x="1336322" y="1297226"/>
                    <a:pt x="1340718" y="1286251"/>
                  </a:cubicBezTo>
                  <a:cubicBezTo>
                    <a:pt x="1346213" y="1275276"/>
                    <a:pt x="1345114" y="1273081"/>
                    <a:pt x="1345114" y="1264301"/>
                  </a:cubicBezTo>
                  <a:cubicBezTo>
                    <a:pt x="1345114" y="1261009"/>
                    <a:pt x="1345114" y="1257716"/>
                    <a:pt x="1345114" y="1252228"/>
                  </a:cubicBezTo>
                  <a:cubicBezTo>
                    <a:pt x="1345114" y="1247839"/>
                    <a:pt x="1345114" y="1243449"/>
                    <a:pt x="1345114" y="1240156"/>
                  </a:cubicBezTo>
                  <a:cubicBezTo>
                    <a:pt x="1345114" y="1228084"/>
                    <a:pt x="1345114" y="1222597"/>
                    <a:pt x="1341817" y="1217109"/>
                  </a:cubicBezTo>
                  <a:cubicBezTo>
                    <a:pt x="1338520" y="1213816"/>
                    <a:pt x="1336322" y="1211622"/>
                    <a:pt x="1333025" y="1209427"/>
                  </a:cubicBezTo>
                  <a:cubicBezTo>
                    <a:pt x="1328630" y="1206135"/>
                    <a:pt x="1324234" y="1202842"/>
                    <a:pt x="1320937" y="1196257"/>
                  </a:cubicBezTo>
                  <a:cubicBezTo>
                    <a:pt x="1319838" y="1194062"/>
                    <a:pt x="1316541" y="1190770"/>
                    <a:pt x="1313244" y="1185282"/>
                  </a:cubicBezTo>
                  <a:cubicBezTo>
                    <a:pt x="1301156" y="1167723"/>
                    <a:pt x="1281375" y="1141383"/>
                    <a:pt x="1286869" y="1123823"/>
                  </a:cubicBezTo>
                  <a:cubicBezTo>
                    <a:pt x="1289067" y="1117238"/>
                    <a:pt x="1292364" y="1112848"/>
                    <a:pt x="1298958" y="1110653"/>
                  </a:cubicBezTo>
                  <a:cubicBezTo>
                    <a:pt x="1326432" y="1097483"/>
                    <a:pt x="1326432" y="1091996"/>
                    <a:pt x="1328630" y="1068949"/>
                  </a:cubicBezTo>
                  <a:lnTo>
                    <a:pt x="1328630" y="1066754"/>
                  </a:lnTo>
                  <a:cubicBezTo>
                    <a:pt x="1329729" y="1052487"/>
                    <a:pt x="1333025" y="1046999"/>
                    <a:pt x="1339619" y="1041512"/>
                  </a:cubicBezTo>
                  <a:cubicBezTo>
                    <a:pt x="1342916" y="1038219"/>
                    <a:pt x="1347311" y="1034927"/>
                    <a:pt x="1350609" y="1025050"/>
                  </a:cubicBezTo>
                  <a:cubicBezTo>
                    <a:pt x="1355004" y="1014075"/>
                    <a:pt x="1356104" y="1009685"/>
                    <a:pt x="1356104" y="1005295"/>
                  </a:cubicBezTo>
                  <a:cubicBezTo>
                    <a:pt x="1357202" y="1000905"/>
                    <a:pt x="1357202" y="996515"/>
                    <a:pt x="1362697" y="984443"/>
                  </a:cubicBezTo>
                  <a:cubicBezTo>
                    <a:pt x="1370390" y="963590"/>
                    <a:pt x="1394567" y="914204"/>
                    <a:pt x="1416546" y="908716"/>
                  </a:cubicBezTo>
                  <a:cubicBezTo>
                    <a:pt x="1429733" y="904327"/>
                    <a:pt x="1438525" y="914204"/>
                    <a:pt x="1444020" y="920789"/>
                  </a:cubicBezTo>
                  <a:cubicBezTo>
                    <a:pt x="1446217" y="924081"/>
                    <a:pt x="1449514" y="927373"/>
                    <a:pt x="1451712" y="927373"/>
                  </a:cubicBezTo>
                  <a:cubicBezTo>
                    <a:pt x="1459404" y="929569"/>
                    <a:pt x="1473691" y="933958"/>
                    <a:pt x="1480285" y="936153"/>
                  </a:cubicBezTo>
                  <a:cubicBezTo>
                    <a:pt x="1483581" y="930666"/>
                    <a:pt x="1485779" y="925178"/>
                    <a:pt x="1487977" y="917496"/>
                  </a:cubicBezTo>
                  <a:cubicBezTo>
                    <a:pt x="1494571" y="887864"/>
                    <a:pt x="1516550" y="876889"/>
                    <a:pt x="1529737" y="876889"/>
                  </a:cubicBezTo>
                  <a:cubicBezTo>
                    <a:pt x="1534133" y="876889"/>
                    <a:pt x="1538529" y="869207"/>
                    <a:pt x="1542925" y="861524"/>
                  </a:cubicBezTo>
                  <a:cubicBezTo>
                    <a:pt x="1546222" y="854940"/>
                    <a:pt x="1550617" y="848355"/>
                    <a:pt x="1556112" y="841770"/>
                  </a:cubicBezTo>
                  <a:cubicBezTo>
                    <a:pt x="1564904" y="830795"/>
                    <a:pt x="1575893" y="832990"/>
                    <a:pt x="1583586" y="835185"/>
                  </a:cubicBezTo>
                  <a:cubicBezTo>
                    <a:pt x="1590180" y="836282"/>
                    <a:pt x="1593476" y="837380"/>
                    <a:pt x="1595674" y="834087"/>
                  </a:cubicBezTo>
                  <a:cubicBezTo>
                    <a:pt x="1601169" y="828600"/>
                    <a:pt x="1598971" y="824210"/>
                    <a:pt x="1589080" y="806650"/>
                  </a:cubicBezTo>
                  <a:cubicBezTo>
                    <a:pt x="1586883" y="802260"/>
                    <a:pt x="1583586" y="796773"/>
                    <a:pt x="1580289" y="791286"/>
                  </a:cubicBezTo>
                  <a:cubicBezTo>
                    <a:pt x="1570399" y="773726"/>
                    <a:pt x="1573695" y="764946"/>
                    <a:pt x="1576992" y="758361"/>
                  </a:cubicBezTo>
                  <a:cubicBezTo>
                    <a:pt x="1579190" y="755068"/>
                    <a:pt x="1579190" y="755068"/>
                    <a:pt x="1578091" y="753971"/>
                  </a:cubicBezTo>
                  <a:cubicBezTo>
                    <a:pt x="1573695" y="746289"/>
                    <a:pt x="1574794" y="739704"/>
                    <a:pt x="1576992" y="733119"/>
                  </a:cubicBezTo>
                  <a:cubicBezTo>
                    <a:pt x="1578091" y="728729"/>
                    <a:pt x="1579190" y="723242"/>
                    <a:pt x="1578091" y="716657"/>
                  </a:cubicBezTo>
                  <a:cubicBezTo>
                    <a:pt x="1578091" y="714462"/>
                    <a:pt x="1576992" y="713364"/>
                    <a:pt x="1576992" y="712267"/>
                  </a:cubicBezTo>
                  <a:cubicBezTo>
                    <a:pt x="1574794" y="711169"/>
                    <a:pt x="1566003" y="713364"/>
                    <a:pt x="1560508" y="715559"/>
                  </a:cubicBezTo>
                  <a:cubicBezTo>
                    <a:pt x="1558310" y="716657"/>
                    <a:pt x="1556112" y="716657"/>
                    <a:pt x="1553914" y="717754"/>
                  </a:cubicBezTo>
                  <a:cubicBezTo>
                    <a:pt x="1542925" y="719949"/>
                    <a:pt x="1531935" y="717754"/>
                    <a:pt x="1524243" y="710072"/>
                  </a:cubicBezTo>
                  <a:cubicBezTo>
                    <a:pt x="1516550" y="703487"/>
                    <a:pt x="1513253" y="693610"/>
                    <a:pt x="1514352" y="681537"/>
                  </a:cubicBezTo>
                  <a:cubicBezTo>
                    <a:pt x="1516550" y="659588"/>
                    <a:pt x="1524243" y="651905"/>
                    <a:pt x="1531935" y="644223"/>
                  </a:cubicBezTo>
                  <a:lnTo>
                    <a:pt x="1534133" y="642028"/>
                  </a:lnTo>
                  <a:cubicBezTo>
                    <a:pt x="1535232" y="640930"/>
                    <a:pt x="1537430" y="638735"/>
                    <a:pt x="1538529" y="637638"/>
                  </a:cubicBezTo>
                  <a:cubicBezTo>
                    <a:pt x="1545122" y="632151"/>
                    <a:pt x="1547320" y="629955"/>
                    <a:pt x="1545122" y="618981"/>
                  </a:cubicBezTo>
                  <a:cubicBezTo>
                    <a:pt x="1544024" y="615688"/>
                    <a:pt x="1542925" y="614591"/>
                    <a:pt x="1542925" y="614591"/>
                  </a:cubicBezTo>
                  <a:cubicBezTo>
                    <a:pt x="1541826" y="614591"/>
                    <a:pt x="1539628" y="615688"/>
                    <a:pt x="1537430" y="616786"/>
                  </a:cubicBezTo>
                  <a:cubicBezTo>
                    <a:pt x="1533034" y="618981"/>
                    <a:pt x="1528638" y="621176"/>
                    <a:pt x="1522045" y="621176"/>
                  </a:cubicBezTo>
                  <a:cubicBezTo>
                    <a:pt x="1501164" y="623370"/>
                    <a:pt x="1497868" y="598128"/>
                    <a:pt x="1495670" y="582764"/>
                  </a:cubicBezTo>
                  <a:cubicBezTo>
                    <a:pt x="1494571" y="566302"/>
                    <a:pt x="1492373" y="565204"/>
                    <a:pt x="1473691" y="561912"/>
                  </a:cubicBezTo>
                  <a:lnTo>
                    <a:pt x="1472592" y="561912"/>
                  </a:lnTo>
                  <a:cubicBezTo>
                    <a:pt x="1453910" y="559717"/>
                    <a:pt x="1446217" y="558619"/>
                    <a:pt x="1439623" y="539962"/>
                  </a:cubicBezTo>
                  <a:cubicBezTo>
                    <a:pt x="1437425" y="534475"/>
                    <a:pt x="1436327" y="528987"/>
                    <a:pt x="1436327" y="524597"/>
                  </a:cubicBezTo>
                  <a:cubicBezTo>
                    <a:pt x="1433030" y="524597"/>
                    <a:pt x="1427535" y="525694"/>
                    <a:pt x="1422041" y="525694"/>
                  </a:cubicBezTo>
                  <a:cubicBezTo>
                    <a:pt x="1406655" y="525694"/>
                    <a:pt x="1385775" y="522402"/>
                    <a:pt x="1375885" y="504842"/>
                  </a:cubicBezTo>
                  <a:cubicBezTo>
                    <a:pt x="1370390" y="496063"/>
                    <a:pt x="1367093" y="497160"/>
                    <a:pt x="1352806" y="504842"/>
                  </a:cubicBezTo>
                  <a:cubicBezTo>
                    <a:pt x="1341817" y="511427"/>
                    <a:pt x="1327531" y="518012"/>
                    <a:pt x="1309948" y="514720"/>
                  </a:cubicBezTo>
                  <a:cubicBezTo>
                    <a:pt x="1296760" y="511427"/>
                    <a:pt x="1289067" y="505940"/>
                    <a:pt x="1285771" y="497160"/>
                  </a:cubicBezTo>
                  <a:cubicBezTo>
                    <a:pt x="1279177" y="481795"/>
                    <a:pt x="1286869" y="459845"/>
                    <a:pt x="1307750" y="425823"/>
                  </a:cubicBezTo>
                  <a:cubicBezTo>
                    <a:pt x="1319838" y="408264"/>
                    <a:pt x="1328630" y="398386"/>
                    <a:pt x="1336322" y="391802"/>
                  </a:cubicBezTo>
                  <a:cubicBezTo>
                    <a:pt x="1346213" y="381924"/>
                    <a:pt x="1350609" y="377534"/>
                    <a:pt x="1351708" y="364365"/>
                  </a:cubicBezTo>
                  <a:lnTo>
                    <a:pt x="1352806" y="354487"/>
                  </a:lnTo>
                  <a:cubicBezTo>
                    <a:pt x="1355004" y="334732"/>
                    <a:pt x="1356104" y="328147"/>
                    <a:pt x="1369290" y="305100"/>
                  </a:cubicBezTo>
                  <a:cubicBezTo>
                    <a:pt x="1382478" y="282053"/>
                    <a:pt x="1378083" y="268883"/>
                    <a:pt x="1365994" y="250226"/>
                  </a:cubicBezTo>
                  <a:cubicBezTo>
                    <a:pt x="1360499" y="241446"/>
                    <a:pt x="1357202" y="241446"/>
                    <a:pt x="1349509" y="242544"/>
                  </a:cubicBezTo>
                  <a:cubicBezTo>
                    <a:pt x="1341817" y="243641"/>
                    <a:pt x="1331927" y="244739"/>
                    <a:pt x="1316541" y="239251"/>
                  </a:cubicBezTo>
                  <a:cubicBezTo>
                    <a:pt x="1291265" y="230472"/>
                    <a:pt x="1290167" y="212912"/>
                    <a:pt x="1289067" y="195352"/>
                  </a:cubicBezTo>
                  <a:cubicBezTo>
                    <a:pt x="1289067" y="188767"/>
                    <a:pt x="1287969" y="181085"/>
                    <a:pt x="1285771" y="174500"/>
                  </a:cubicBezTo>
                  <a:cubicBezTo>
                    <a:pt x="1283573" y="169012"/>
                    <a:pt x="1280276" y="165720"/>
                    <a:pt x="1275880" y="164623"/>
                  </a:cubicBezTo>
                  <a:cubicBezTo>
                    <a:pt x="1263792" y="161330"/>
                    <a:pt x="1244011" y="172305"/>
                    <a:pt x="1231922" y="184377"/>
                  </a:cubicBezTo>
                  <a:cubicBezTo>
                    <a:pt x="1222032" y="194255"/>
                    <a:pt x="1205547" y="198645"/>
                    <a:pt x="1187964" y="194255"/>
                  </a:cubicBezTo>
                  <a:cubicBezTo>
                    <a:pt x="1168183" y="189864"/>
                    <a:pt x="1151699" y="176695"/>
                    <a:pt x="1145105" y="158038"/>
                  </a:cubicBezTo>
                  <a:cubicBezTo>
                    <a:pt x="1139610" y="142673"/>
                    <a:pt x="1129720" y="137185"/>
                    <a:pt x="1117631" y="131698"/>
                  </a:cubicBezTo>
                  <a:cubicBezTo>
                    <a:pt x="1105543" y="126211"/>
                    <a:pt x="1093454" y="120723"/>
                    <a:pt x="1091256" y="102066"/>
                  </a:cubicBezTo>
                  <a:cubicBezTo>
                    <a:pt x="1090158" y="93286"/>
                    <a:pt x="1090158" y="84506"/>
                    <a:pt x="1090158" y="75726"/>
                  </a:cubicBezTo>
                  <a:cubicBezTo>
                    <a:pt x="1090158" y="53777"/>
                    <a:pt x="1090158" y="29632"/>
                    <a:pt x="1080267" y="25242"/>
                  </a:cubicBezTo>
                  <a:cubicBezTo>
                    <a:pt x="1074772" y="21950"/>
                    <a:pt x="1069277" y="28535"/>
                    <a:pt x="1060486" y="46094"/>
                  </a:cubicBezTo>
                  <a:cubicBezTo>
                    <a:pt x="1054991" y="55972"/>
                    <a:pt x="1049497" y="65849"/>
                    <a:pt x="1041804" y="73532"/>
                  </a:cubicBezTo>
                  <a:cubicBezTo>
                    <a:pt x="1028616" y="84506"/>
                    <a:pt x="1011033" y="87799"/>
                    <a:pt x="997846" y="83409"/>
                  </a:cubicBezTo>
                  <a:cubicBezTo>
                    <a:pt x="987956" y="80116"/>
                    <a:pt x="981361" y="73532"/>
                    <a:pt x="979163" y="63654"/>
                  </a:cubicBezTo>
                  <a:cubicBezTo>
                    <a:pt x="976966" y="52679"/>
                    <a:pt x="981361" y="43899"/>
                    <a:pt x="984658" y="36217"/>
                  </a:cubicBezTo>
                  <a:cubicBezTo>
                    <a:pt x="989054" y="26340"/>
                    <a:pt x="993450" y="17560"/>
                    <a:pt x="986856" y="7683"/>
                  </a:cubicBezTo>
                  <a:cubicBezTo>
                    <a:pt x="983560" y="2195"/>
                    <a:pt x="979163" y="0"/>
                    <a:pt x="974768" y="0"/>
                  </a:cubicBezTo>
                  <a:cubicBezTo>
                    <a:pt x="963779" y="0"/>
                    <a:pt x="950591" y="14267"/>
                    <a:pt x="937404" y="36217"/>
                  </a:cubicBezTo>
                  <a:cubicBezTo>
                    <a:pt x="925315" y="58166"/>
                    <a:pt x="909930" y="59264"/>
                    <a:pt x="902237" y="59264"/>
                  </a:cubicBezTo>
                  <a:cubicBezTo>
                    <a:pt x="885753" y="58166"/>
                    <a:pt x="870368" y="42802"/>
                    <a:pt x="864873" y="23047"/>
                  </a:cubicBezTo>
                  <a:cubicBezTo>
                    <a:pt x="862675" y="15365"/>
                    <a:pt x="859378" y="9877"/>
                    <a:pt x="853884" y="8780"/>
                  </a:cubicBezTo>
                  <a:cubicBezTo>
                    <a:pt x="843993" y="5487"/>
                    <a:pt x="826410" y="16462"/>
                    <a:pt x="812124" y="27437"/>
                  </a:cubicBezTo>
                  <a:cubicBezTo>
                    <a:pt x="801134" y="35120"/>
                    <a:pt x="802233" y="47192"/>
                    <a:pt x="803332" y="60362"/>
                  </a:cubicBezTo>
                  <a:cubicBezTo>
                    <a:pt x="804431" y="73532"/>
                    <a:pt x="805530" y="88896"/>
                    <a:pt x="787947" y="92189"/>
                  </a:cubicBezTo>
                  <a:cubicBezTo>
                    <a:pt x="774759" y="94384"/>
                    <a:pt x="767066" y="89994"/>
                    <a:pt x="760473" y="86701"/>
                  </a:cubicBezTo>
                  <a:cubicBezTo>
                    <a:pt x="751682" y="82311"/>
                    <a:pt x="743989" y="77921"/>
                    <a:pt x="724208" y="85604"/>
                  </a:cubicBezTo>
                  <a:cubicBezTo>
                    <a:pt x="696734" y="96578"/>
                    <a:pt x="694536" y="102066"/>
                    <a:pt x="683547" y="120723"/>
                  </a:cubicBezTo>
                  <a:cubicBezTo>
                    <a:pt x="680250" y="126211"/>
                    <a:pt x="676952" y="133893"/>
                    <a:pt x="671458" y="142673"/>
                  </a:cubicBezTo>
                  <a:cubicBezTo>
                    <a:pt x="646182" y="179987"/>
                    <a:pt x="591235" y="193157"/>
                    <a:pt x="552771" y="171207"/>
                  </a:cubicBezTo>
                  <a:cubicBezTo>
                    <a:pt x="536287" y="161330"/>
                    <a:pt x="529694" y="152550"/>
                    <a:pt x="525298" y="145965"/>
                  </a:cubicBezTo>
                  <a:cubicBezTo>
                    <a:pt x="519803" y="138283"/>
                    <a:pt x="515407" y="132796"/>
                    <a:pt x="496725" y="127308"/>
                  </a:cubicBezTo>
                  <a:cubicBezTo>
                    <a:pt x="481340" y="122918"/>
                    <a:pt x="467053" y="126211"/>
                    <a:pt x="451668" y="128406"/>
                  </a:cubicBezTo>
                  <a:cubicBezTo>
                    <a:pt x="432986" y="131698"/>
                    <a:pt x="411007" y="136088"/>
                    <a:pt x="385731" y="127308"/>
                  </a:cubicBezTo>
                  <a:cubicBezTo>
                    <a:pt x="357158" y="117431"/>
                    <a:pt x="343971" y="76824"/>
                    <a:pt x="338476" y="46094"/>
                  </a:cubicBezTo>
                  <a:cubicBezTo>
                    <a:pt x="298914" y="57069"/>
                    <a:pt x="208800" y="102066"/>
                    <a:pt x="126379" y="133893"/>
                  </a:cubicBezTo>
                  <a:cubicBezTo>
                    <a:pt x="48354" y="164623"/>
                    <a:pt x="63739" y="175597"/>
                    <a:pt x="0" y="182182"/>
                  </a:cubicBezTo>
                  <a:cubicBezTo>
                    <a:pt x="3297" y="199742"/>
                    <a:pt x="6593" y="220594"/>
                    <a:pt x="12088" y="232667"/>
                  </a:cubicBezTo>
                  <a:cubicBezTo>
                    <a:pt x="28572" y="256811"/>
                    <a:pt x="29672" y="279858"/>
                    <a:pt x="31870" y="302905"/>
                  </a:cubicBezTo>
                  <a:close/>
                </a:path>
              </a:pathLst>
            </a:custGeom>
            <a:solidFill>
              <a:srgbClr val="ECE8E4"/>
            </a:solidFill>
            <a:ln w="54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DK" sz="2400"/>
            </a:p>
          </p:txBody>
        </p:sp>
        <p:sp>
          <p:nvSpPr>
            <p:cNvPr id="468" name="Freeform 467">
              <a:extLst>
                <a:ext uri="{FF2B5EF4-FFF2-40B4-BE49-F238E27FC236}">
                  <a16:creationId xmlns:a16="http://schemas.microsoft.com/office/drawing/2014/main" id="{F85230F1-9978-FC1F-3F78-95AE685E3E32}"/>
                </a:ext>
              </a:extLst>
            </p:cNvPr>
            <p:cNvSpPr/>
            <p:nvPr/>
          </p:nvSpPr>
          <p:spPr>
            <a:xfrm>
              <a:off x="7624509" y="3470061"/>
              <a:ext cx="1652993" cy="1766932"/>
            </a:xfrm>
            <a:custGeom>
              <a:avLst/>
              <a:gdLst>
                <a:gd name="connsiteX0" fmla="*/ 338476 w 1652993"/>
                <a:gd name="connsiteY0" fmla="*/ 1321550 h 1766932"/>
                <a:gd name="connsiteX1" fmla="*/ 292321 w 1652993"/>
                <a:gd name="connsiteY1" fmla="*/ 1312770 h 1766932"/>
                <a:gd name="connsiteX2" fmla="*/ 231879 w 1652993"/>
                <a:gd name="connsiteY2" fmla="*/ 1330330 h 1766932"/>
                <a:gd name="connsiteX3" fmla="*/ 163744 w 1652993"/>
                <a:gd name="connsiteY3" fmla="*/ 1322648 h 1766932"/>
                <a:gd name="connsiteX4" fmla="*/ 74728 w 1652993"/>
                <a:gd name="connsiteY4" fmla="*/ 1287528 h 1766932"/>
                <a:gd name="connsiteX5" fmla="*/ 0 w 1652993"/>
                <a:gd name="connsiteY5" fmla="*/ 1294113 h 1766932"/>
                <a:gd name="connsiteX6" fmla="*/ 40661 w 1652993"/>
                <a:gd name="connsiteY6" fmla="*/ 1367644 h 1766932"/>
                <a:gd name="connsiteX7" fmla="*/ 101103 w 1652993"/>
                <a:gd name="connsiteY7" fmla="*/ 1368742 h 1766932"/>
                <a:gd name="connsiteX8" fmla="*/ 150556 w 1652993"/>
                <a:gd name="connsiteY8" fmla="*/ 1367644 h 1766932"/>
                <a:gd name="connsiteX9" fmla="*/ 184623 w 1652993"/>
                <a:gd name="connsiteY9" fmla="*/ 1389594 h 1766932"/>
                <a:gd name="connsiteX10" fmla="*/ 208800 w 1652993"/>
                <a:gd name="connsiteY10" fmla="*/ 1411544 h 1766932"/>
                <a:gd name="connsiteX11" fmla="*/ 313201 w 1652993"/>
                <a:gd name="connsiteY11" fmla="*/ 1387399 h 1766932"/>
                <a:gd name="connsiteX12" fmla="*/ 325289 w 1652993"/>
                <a:gd name="connsiteY12" fmla="*/ 1366547 h 1766932"/>
                <a:gd name="connsiteX13" fmla="*/ 370346 w 1652993"/>
                <a:gd name="connsiteY13" fmla="*/ 1327038 h 1766932"/>
                <a:gd name="connsiteX14" fmla="*/ 415403 w 1652993"/>
                <a:gd name="connsiteY14" fmla="*/ 1328135 h 1766932"/>
                <a:gd name="connsiteX15" fmla="*/ 436283 w 1652993"/>
                <a:gd name="connsiteY15" fmla="*/ 1332525 h 1766932"/>
                <a:gd name="connsiteX16" fmla="*/ 442876 w 1652993"/>
                <a:gd name="connsiteY16" fmla="*/ 1311673 h 1766932"/>
                <a:gd name="connsiteX17" fmla="*/ 456064 w 1652993"/>
                <a:gd name="connsiteY17" fmla="*/ 1268871 h 1766932"/>
                <a:gd name="connsiteX18" fmla="*/ 507715 w 1652993"/>
                <a:gd name="connsiteY18" fmla="*/ 1249116 h 1766932"/>
                <a:gd name="connsiteX19" fmla="*/ 525298 w 1652993"/>
                <a:gd name="connsiteY19" fmla="*/ 1269968 h 1766932"/>
                <a:gd name="connsiteX20" fmla="*/ 553871 w 1652993"/>
                <a:gd name="connsiteY20" fmla="*/ 1298503 h 1766932"/>
                <a:gd name="connsiteX21" fmla="*/ 579146 w 1652993"/>
                <a:gd name="connsiteY21" fmla="*/ 1280943 h 1766932"/>
                <a:gd name="connsiteX22" fmla="*/ 625302 w 1652993"/>
                <a:gd name="connsiteY22" fmla="*/ 1239239 h 1766932"/>
                <a:gd name="connsiteX23" fmla="*/ 647281 w 1652993"/>
                <a:gd name="connsiteY23" fmla="*/ 1251311 h 1766932"/>
                <a:gd name="connsiteX24" fmla="*/ 646182 w 1652993"/>
                <a:gd name="connsiteY24" fmla="*/ 1290820 h 1766932"/>
                <a:gd name="connsiteX25" fmla="*/ 640687 w 1652993"/>
                <a:gd name="connsiteY25" fmla="*/ 1311673 h 1766932"/>
                <a:gd name="connsiteX26" fmla="*/ 651677 w 1652993"/>
                <a:gd name="connsiteY26" fmla="*/ 1323745 h 1766932"/>
                <a:gd name="connsiteX27" fmla="*/ 685745 w 1652993"/>
                <a:gd name="connsiteY27" fmla="*/ 1316063 h 1766932"/>
                <a:gd name="connsiteX28" fmla="*/ 702229 w 1652993"/>
                <a:gd name="connsiteY28" fmla="*/ 1291918 h 1766932"/>
                <a:gd name="connsiteX29" fmla="*/ 736296 w 1652993"/>
                <a:gd name="connsiteY29" fmla="*/ 1266676 h 1766932"/>
                <a:gd name="connsiteX30" fmla="*/ 751682 w 1652993"/>
                <a:gd name="connsiteY30" fmla="*/ 1325940 h 1766932"/>
                <a:gd name="connsiteX31" fmla="*/ 752780 w 1652993"/>
                <a:gd name="connsiteY31" fmla="*/ 1351182 h 1766932"/>
                <a:gd name="connsiteX32" fmla="*/ 772561 w 1652993"/>
                <a:gd name="connsiteY32" fmla="*/ 1372034 h 1766932"/>
                <a:gd name="connsiteX33" fmla="*/ 804431 w 1652993"/>
                <a:gd name="connsiteY33" fmla="*/ 1403861 h 1766932"/>
                <a:gd name="connsiteX34" fmla="*/ 839597 w 1652993"/>
                <a:gd name="connsiteY34" fmla="*/ 1433493 h 1766932"/>
                <a:gd name="connsiteX35" fmla="*/ 873665 w 1652993"/>
                <a:gd name="connsiteY35" fmla="*/ 1425811 h 1766932"/>
                <a:gd name="connsiteX36" fmla="*/ 927513 w 1652993"/>
                <a:gd name="connsiteY36" fmla="*/ 1403861 h 1766932"/>
                <a:gd name="connsiteX37" fmla="*/ 945096 w 1652993"/>
                <a:gd name="connsiteY37" fmla="*/ 1421421 h 1766932"/>
                <a:gd name="connsiteX38" fmla="*/ 948393 w 1652993"/>
                <a:gd name="connsiteY38" fmla="*/ 1444468 h 1766932"/>
                <a:gd name="connsiteX39" fmla="*/ 969273 w 1652993"/>
                <a:gd name="connsiteY39" fmla="*/ 1478490 h 1766932"/>
                <a:gd name="connsiteX40" fmla="*/ 997846 w 1652993"/>
                <a:gd name="connsiteY40" fmla="*/ 1481783 h 1766932"/>
                <a:gd name="connsiteX41" fmla="*/ 1024221 w 1652993"/>
                <a:gd name="connsiteY41" fmla="*/ 1493855 h 1766932"/>
                <a:gd name="connsiteX42" fmla="*/ 1027517 w 1652993"/>
                <a:gd name="connsiteY42" fmla="*/ 1559704 h 1766932"/>
                <a:gd name="connsiteX43" fmla="*/ 1013231 w 1652993"/>
                <a:gd name="connsiteY43" fmla="*/ 1604701 h 1766932"/>
                <a:gd name="connsiteX44" fmla="*/ 1012133 w 1652993"/>
                <a:gd name="connsiteY44" fmla="*/ 1614578 h 1766932"/>
                <a:gd name="connsiteX45" fmla="*/ 994549 w 1652993"/>
                <a:gd name="connsiteY45" fmla="*/ 1648600 h 1766932"/>
                <a:gd name="connsiteX46" fmla="*/ 967075 w 1652993"/>
                <a:gd name="connsiteY46" fmla="*/ 1681524 h 1766932"/>
                <a:gd name="connsiteX47" fmla="*/ 946196 w 1652993"/>
                <a:gd name="connsiteY47" fmla="*/ 1742984 h 1766932"/>
                <a:gd name="connsiteX48" fmla="*/ 963779 w 1652993"/>
                <a:gd name="connsiteY48" fmla="*/ 1755056 h 1766932"/>
                <a:gd name="connsiteX49" fmla="*/ 998945 w 1652993"/>
                <a:gd name="connsiteY49" fmla="*/ 1746276 h 1766932"/>
                <a:gd name="connsiteX50" fmla="*/ 1036309 w 1652993"/>
                <a:gd name="connsiteY50" fmla="*/ 1750666 h 1766932"/>
                <a:gd name="connsiteX51" fmla="*/ 1087960 w 1652993"/>
                <a:gd name="connsiteY51" fmla="*/ 1766031 h 1766932"/>
                <a:gd name="connsiteX52" fmla="*/ 1098949 w 1652993"/>
                <a:gd name="connsiteY52" fmla="*/ 1734204 h 1766932"/>
                <a:gd name="connsiteX53" fmla="*/ 1118730 w 1652993"/>
                <a:gd name="connsiteY53" fmla="*/ 1717742 h 1766932"/>
                <a:gd name="connsiteX54" fmla="*/ 1141809 w 1652993"/>
                <a:gd name="connsiteY54" fmla="*/ 1692499 h 1766932"/>
                <a:gd name="connsiteX55" fmla="*/ 1134116 w 1652993"/>
                <a:gd name="connsiteY55" fmla="*/ 1687012 h 1766932"/>
                <a:gd name="connsiteX56" fmla="*/ 1108840 w 1652993"/>
                <a:gd name="connsiteY56" fmla="*/ 1671647 h 1766932"/>
                <a:gd name="connsiteX57" fmla="*/ 1106642 w 1652993"/>
                <a:gd name="connsiteY57" fmla="*/ 1643113 h 1766932"/>
                <a:gd name="connsiteX58" fmla="*/ 1106642 w 1652993"/>
                <a:gd name="connsiteY58" fmla="*/ 1631040 h 1766932"/>
                <a:gd name="connsiteX59" fmla="*/ 1090158 w 1652993"/>
                <a:gd name="connsiteY59" fmla="*/ 1634333 h 1766932"/>
                <a:gd name="connsiteX60" fmla="*/ 1059387 w 1652993"/>
                <a:gd name="connsiteY60" fmla="*/ 1644210 h 1766932"/>
                <a:gd name="connsiteX61" fmla="*/ 1042903 w 1652993"/>
                <a:gd name="connsiteY61" fmla="*/ 1634333 h 1766932"/>
                <a:gd name="connsiteX62" fmla="*/ 1041804 w 1652993"/>
                <a:gd name="connsiteY62" fmla="*/ 1587141 h 1766932"/>
                <a:gd name="connsiteX63" fmla="*/ 1053893 w 1652993"/>
                <a:gd name="connsiteY63" fmla="*/ 1572874 h 1766932"/>
                <a:gd name="connsiteX64" fmla="*/ 1078070 w 1652993"/>
                <a:gd name="connsiteY64" fmla="*/ 1576166 h 1766932"/>
                <a:gd name="connsiteX65" fmla="*/ 1103345 w 1652993"/>
                <a:gd name="connsiteY65" fmla="*/ 1560801 h 1766932"/>
                <a:gd name="connsiteX66" fmla="*/ 1165986 w 1652993"/>
                <a:gd name="connsiteY66" fmla="*/ 1522389 h 1766932"/>
                <a:gd name="connsiteX67" fmla="*/ 1182470 w 1652993"/>
                <a:gd name="connsiteY67" fmla="*/ 1514707 h 1766932"/>
                <a:gd name="connsiteX68" fmla="*/ 1178074 w 1652993"/>
                <a:gd name="connsiteY68" fmla="*/ 1501537 h 1766932"/>
                <a:gd name="connsiteX69" fmla="*/ 1164886 w 1652993"/>
                <a:gd name="connsiteY69" fmla="*/ 1500440 h 1766932"/>
                <a:gd name="connsiteX70" fmla="*/ 1139610 w 1652993"/>
                <a:gd name="connsiteY70" fmla="*/ 1497147 h 1766932"/>
                <a:gd name="connsiteX71" fmla="*/ 1131918 w 1652993"/>
                <a:gd name="connsiteY71" fmla="*/ 1483977 h 1766932"/>
                <a:gd name="connsiteX72" fmla="*/ 1149501 w 1652993"/>
                <a:gd name="connsiteY72" fmla="*/ 1448858 h 1766932"/>
                <a:gd name="connsiteX73" fmla="*/ 1151699 w 1652993"/>
                <a:gd name="connsiteY73" fmla="*/ 1445566 h 1766932"/>
                <a:gd name="connsiteX74" fmla="*/ 1158293 w 1652993"/>
                <a:gd name="connsiteY74" fmla="*/ 1431298 h 1766932"/>
                <a:gd name="connsiteX75" fmla="*/ 1172579 w 1652993"/>
                <a:gd name="connsiteY75" fmla="*/ 1407154 h 1766932"/>
                <a:gd name="connsiteX76" fmla="*/ 1201151 w 1652993"/>
                <a:gd name="connsiteY76" fmla="*/ 1361060 h 1766932"/>
                <a:gd name="connsiteX77" fmla="*/ 1182470 w 1652993"/>
                <a:gd name="connsiteY77" fmla="*/ 1268871 h 1766932"/>
                <a:gd name="connsiteX78" fmla="*/ 1169282 w 1652993"/>
                <a:gd name="connsiteY78" fmla="*/ 1242531 h 1766932"/>
                <a:gd name="connsiteX79" fmla="*/ 1158293 w 1652993"/>
                <a:gd name="connsiteY79" fmla="*/ 1213997 h 1766932"/>
                <a:gd name="connsiteX80" fmla="*/ 1144007 w 1652993"/>
                <a:gd name="connsiteY80" fmla="*/ 1181072 h 1766932"/>
                <a:gd name="connsiteX81" fmla="*/ 1142907 w 1652993"/>
                <a:gd name="connsiteY81" fmla="*/ 1156928 h 1766932"/>
                <a:gd name="connsiteX82" fmla="*/ 1131918 w 1652993"/>
                <a:gd name="connsiteY82" fmla="*/ 1139368 h 1766932"/>
                <a:gd name="connsiteX83" fmla="*/ 1106642 w 1652993"/>
                <a:gd name="connsiteY83" fmla="*/ 1115223 h 1766932"/>
                <a:gd name="connsiteX84" fmla="*/ 1122028 w 1652993"/>
                <a:gd name="connsiteY84" fmla="*/ 1061446 h 1766932"/>
                <a:gd name="connsiteX85" fmla="*/ 1129720 w 1652993"/>
                <a:gd name="connsiteY85" fmla="*/ 1057057 h 1766932"/>
                <a:gd name="connsiteX86" fmla="*/ 1144007 w 1652993"/>
                <a:gd name="connsiteY86" fmla="*/ 1047179 h 1766932"/>
                <a:gd name="connsiteX87" fmla="*/ 1191261 w 1652993"/>
                <a:gd name="connsiteY87" fmla="*/ 1020840 h 1766932"/>
                <a:gd name="connsiteX88" fmla="*/ 1238516 w 1652993"/>
                <a:gd name="connsiteY88" fmla="*/ 1034009 h 1766932"/>
                <a:gd name="connsiteX89" fmla="*/ 1253901 w 1652993"/>
                <a:gd name="connsiteY89" fmla="*/ 1043887 h 1766932"/>
                <a:gd name="connsiteX90" fmla="*/ 1283573 w 1652993"/>
                <a:gd name="connsiteY90" fmla="*/ 1055959 h 1766932"/>
                <a:gd name="connsiteX91" fmla="*/ 1292365 w 1652993"/>
                <a:gd name="connsiteY91" fmla="*/ 1064739 h 1766932"/>
                <a:gd name="connsiteX92" fmla="*/ 1309948 w 1652993"/>
                <a:gd name="connsiteY92" fmla="*/ 1060349 h 1766932"/>
                <a:gd name="connsiteX93" fmla="*/ 1347312 w 1652993"/>
                <a:gd name="connsiteY93" fmla="*/ 1047179 h 1766932"/>
                <a:gd name="connsiteX94" fmla="*/ 1396765 w 1652993"/>
                <a:gd name="connsiteY94" fmla="*/ 1027424 h 1766932"/>
                <a:gd name="connsiteX95" fmla="*/ 1417644 w 1652993"/>
                <a:gd name="connsiteY95" fmla="*/ 1015352 h 1766932"/>
                <a:gd name="connsiteX96" fmla="*/ 1440723 w 1652993"/>
                <a:gd name="connsiteY96" fmla="*/ 1012060 h 1766932"/>
                <a:gd name="connsiteX97" fmla="*/ 1459404 w 1652993"/>
                <a:gd name="connsiteY97" fmla="*/ 1006572 h 1766932"/>
                <a:gd name="connsiteX98" fmla="*/ 1469295 w 1652993"/>
                <a:gd name="connsiteY98" fmla="*/ 974745 h 1766932"/>
                <a:gd name="connsiteX99" fmla="*/ 1458306 w 1652993"/>
                <a:gd name="connsiteY99" fmla="*/ 961575 h 1766932"/>
                <a:gd name="connsiteX100" fmla="*/ 1446218 w 1652993"/>
                <a:gd name="connsiteY100" fmla="*/ 957185 h 1766932"/>
                <a:gd name="connsiteX101" fmla="*/ 1415446 w 1652993"/>
                <a:gd name="connsiteY101" fmla="*/ 938528 h 1766932"/>
                <a:gd name="connsiteX102" fmla="*/ 1415446 w 1652993"/>
                <a:gd name="connsiteY102" fmla="*/ 919871 h 1766932"/>
                <a:gd name="connsiteX103" fmla="*/ 1448415 w 1652993"/>
                <a:gd name="connsiteY103" fmla="*/ 893532 h 1766932"/>
                <a:gd name="connsiteX104" fmla="*/ 1473691 w 1652993"/>
                <a:gd name="connsiteY104" fmla="*/ 877069 h 1766932"/>
                <a:gd name="connsiteX105" fmla="*/ 1545123 w 1652993"/>
                <a:gd name="connsiteY105" fmla="*/ 835365 h 1766932"/>
                <a:gd name="connsiteX106" fmla="*/ 1555013 w 1652993"/>
                <a:gd name="connsiteY106" fmla="*/ 832072 h 1766932"/>
                <a:gd name="connsiteX107" fmla="*/ 1552815 w 1652993"/>
                <a:gd name="connsiteY107" fmla="*/ 821098 h 1766932"/>
                <a:gd name="connsiteX108" fmla="*/ 1548420 w 1652993"/>
                <a:gd name="connsiteY108" fmla="*/ 793660 h 1766932"/>
                <a:gd name="connsiteX109" fmla="*/ 1567102 w 1652993"/>
                <a:gd name="connsiteY109" fmla="*/ 767321 h 1766932"/>
                <a:gd name="connsiteX110" fmla="*/ 1578091 w 1652993"/>
                <a:gd name="connsiteY110" fmla="*/ 761834 h 1766932"/>
                <a:gd name="connsiteX111" fmla="*/ 1576992 w 1652993"/>
                <a:gd name="connsiteY111" fmla="*/ 744274 h 1766932"/>
                <a:gd name="connsiteX112" fmla="*/ 1576992 w 1652993"/>
                <a:gd name="connsiteY112" fmla="*/ 702570 h 1766932"/>
                <a:gd name="connsiteX113" fmla="*/ 1574794 w 1652993"/>
                <a:gd name="connsiteY113" fmla="*/ 680620 h 1766932"/>
                <a:gd name="connsiteX114" fmla="*/ 1539628 w 1652993"/>
                <a:gd name="connsiteY114" fmla="*/ 670742 h 1766932"/>
                <a:gd name="connsiteX115" fmla="*/ 1530836 w 1652993"/>
                <a:gd name="connsiteY115" fmla="*/ 670742 h 1766932"/>
                <a:gd name="connsiteX116" fmla="*/ 1455009 w 1652993"/>
                <a:gd name="connsiteY116" fmla="*/ 649890 h 1766932"/>
                <a:gd name="connsiteX117" fmla="*/ 1448415 w 1652993"/>
                <a:gd name="connsiteY117" fmla="*/ 601601 h 1766932"/>
                <a:gd name="connsiteX118" fmla="*/ 1452811 w 1652993"/>
                <a:gd name="connsiteY118" fmla="*/ 590626 h 1766932"/>
                <a:gd name="connsiteX119" fmla="*/ 1449514 w 1652993"/>
                <a:gd name="connsiteY119" fmla="*/ 577456 h 1766932"/>
                <a:gd name="connsiteX120" fmla="*/ 1444020 w 1652993"/>
                <a:gd name="connsiteY120" fmla="*/ 530264 h 1766932"/>
                <a:gd name="connsiteX121" fmla="*/ 1461602 w 1652993"/>
                <a:gd name="connsiteY121" fmla="*/ 508315 h 1766932"/>
                <a:gd name="connsiteX122" fmla="*/ 1536331 w 1652993"/>
                <a:gd name="connsiteY122" fmla="*/ 522582 h 1766932"/>
                <a:gd name="connsiteX123" fmla="*/ 1561607 w 1652993"/>
                <a:gd name="connsiteY123" fmla="*/ 524777 h 1766932"/>
                <a:gd name="connsiteX124" fmla="*/ 1585784 w 1652993"/>
                <a:gd name="connsiteY124" fmla="*/ 503925 h 1766932"/>
                <a:gd name="connsiteX125" fmla="*/ 1590180 w 1652993"/>
                <a:gd name="connsiteY125" fmla="*/ 472098 h 1766932"/>
                <a:gd name="connsiteX126" fmla="*/ 1592378 w 1652993"/>
                <a:gd name="connsiteY126" fmla="*/ 412834 h 1766932"/>
                <a:gd name="connsiteX127" fmla="*/ 1624247 w 1652993"/>
                <a:gd name="connsiteY127" fmla="*/ 342595 h 1766932"/>
                <a:gd name="connsiteX128" fmla="*/ 1648424 w 1652993"/>
                <a:gd name="connsiteY128" fmla="*/ 285526 h 1766932"/>
                <a:gd name="connsiteX129" fmla="*/ 1649523 w 1652993"/>
                <a:gd name="connsiteY129" fmla="*/ 237236 h 1766932"/>
                <a:gd name="connsiteX130" fmla="*/ 1651721 w 1652993"/>
                <a:gd name="connsiteY130" fmla="*/ 191142 h 1766932"/>
                <a:gd name="connsiteX131" fmla="*/ 1644028 w 1652993"/>
                <a:gd name="connsiteY131" fmla="*/ 128585 h 1766932"/>
                <a:gd name="connsiteX132" fmla="*/ 1644028 w 1652993"/>
                <a:gd name="connsiteY132" fmla="*/ 128585 h 1766932"/>
                <a:gd name="connsiteX133" fmla="*/ 1602268 w 1652993"/>
                <a:gd name="connsiteY133" fmla="*/ 118708 h 1766932"/>
                <a:gd name="connsiteX134" fmla="*/ 1552815 w 1652993"/>
                <a:gd name="connsiteY134" fmla="*/ 93466 h 1766932"/>
                <a:gd name="connsiteX135" fmla="*/ 1512155 w 1652993"/>
                <a:gd name="connsiteY135" fmla="*/ 23227 h 1766932"/>
                <a:gd name="connsiteX136" fmla="*/ 1402260 w 1652993"/>
                <a:gd name="connsiteY136" fmla="*/ 180 h 1766932"/>
                <a:gd name="connsiteX137" fmla="*/ 1309948 w 1652993"/>
                <a:gd name="connsiteY137" fmla="*/ 13350 h 1766932"/>
                <a:gd name="connsiteX138" fmla="*/ 1146204 w 1652993"/>
                <a:gd name="connsiteY138" fmla="*/ 21032 h 1766932"/>
                <a:gd name="connsiteX139" fmla="*/ 1038507 w 1652993"/>
                <a:gd name="connsiteY139" fmla="*/ 47372 h 1766932"/>
                <a:gd name="connsiteX140" fmla="*/ 922019 w 1652993"/>
                <a:gd name="connsiteY140" fmla="*/ 128585 h 1766932"/>
                <a:gd name="connsiteX141" fmla="*/ 900040 w 1652993"/>
                <a:gd name="connsiteY141" fmla="*/ 202117 h 1766932"/>
                <a:gd name="connsiteX142" fmla="*/ 822014 w 1652993"/>
                <a:gd name="connsiteY142" fmla="*/ 254796 h 1766932"/>
                <a:gd name="connsiteX143" fmla="*/ 880259 w 1652993"/>
                <a:gd name="connsiteY143" fmla="*/ 232846 h 1766932"/>
                <a:gd name="connsiteX144" fmla="*/ 909930 w 1652993"/>
                <a:gd name="connsiteY144" fmla="*/ 242724 h 1766932"/>
                <a:gd name="connsiteX145" fmla="*/ 909930 w 1652993"/>
                <a:gd name="connsiteY145" fmla="*/ 312963 h 1766932"/>
                <a:gd name="connsiteX146" fmla="*/ 900040 w 1652993"/>
                <a:gd name="connsiteY146" fmla="*/ 364544 h 1766932"/>
                <a:gd name="connsiteX147" fmla="*/ 959383 w 1652993"/>
                <a:gd name="connsiteY147" fmla="*/ 394177 h 1766932"/>
                <a:gd name="connsiteX148" fmla="*/ 1014330 w 1652993"/>
                <a:gd name="connsiteY148" fmla="*/ 389787 h 1766932"/>
                <a:gd name="connsiteX149" fmla="*/ 991252 w 1652993"/>
                <a:gd name="connsiteY149" fmla="*/ 447953 h 1766932"/>
                <a:gd name="connsiteX150" fmla="*/ 1001143 w 1652993"/>
                <a:gd name="connsiteY150" fmla="*/ 503925 h 1766932"/>
                <a:gd name="connsiteX151" fmla="*/ 1003340 w 1652993"/>
                <a:gd name="connsiteY151" fmla="*/ 543434 h 1766932"/>
                <a:gd name="connsiteX152" fmla="*/ 945096 w 1652993"/>
                <a:gd name="connsiteY152" fmla="*/ 568676 h 1766932"/>
                <a:gd name="connsiteX153" fmla="*/ 891248 w 1652993"/>
                <a:gd name="connsiteY153" fmla="*/ 604893 h 1766932"/>
                <a:gd name="connsiteX154" fmla="*/ 839597 w 1652993"/>
                <a:gd name="connsiteY154" fmla="*/ 644403 h 1766932"/>
                <a:gd name="connsiteX155" fmla="*/ 791243 w 1652993"/>
                <a:gd name="connsiteY155" fmla="*/ 682815 h 1766932"/>
                <a:gd name="connsiteX156" fmla="*/ 827509 w 1652993"/>
                <a:gd name="connsiteY156" fmla="*/ 706959 h 1766932"/>
                <a:gd name="connsiteX157" fmla="*/ 881357 w 1652993"/>
                <a:gd name="connsiteY157" fmla="*/ 725616 h 1766932"/>
                <a:gd name="connsiteX158" fmla="*/ 923117 w 1652993"/>
                <a:gd name="connsiteY158" fmla="*/ 739884 h 1766932"/>
                <a:gd name="connsiteX159" fmla="*/ 951690 w 1652993"/>
                <a:gd name="connsiteY159" fmla="*/ 687204 h 1766932"/>
                <a:gd name="connsiteX160" fmla="*/ 1004440 w 1652993"/>
                <a:gd name="connsiteY160" fmla="*/ 667450 h 1766932"/>
                <a:gd name="connsiteX161" fmla="*/ 1056091 w 1652993"/>
                <a:gd name="connsiteY161" fmla="*/ 614771 h 1766932"/>
                <a:gd name="connsiteX162" fmla="*/ 1023122 w 1652993"/>
                <a:gd name="connsiteY162" fmla="*/ 548922 h 1766932"/>
                <a:gd name="connsiteX163" fmla="*/ 1059387 w 1652993"/>
                <a:gd name="connsiteY163" fmla="*/ 539044 h 1766932"/>
                <a:gd name="connsiteX164" fmla="*/ 1073674 w 1652993"/>
                <a:gd name="connsiteY164" fmla="*/ 565384 h 1766932"/>
                <a:gd name="connsiteX165" fmla="*/ 1085762 w 1652993"/>
                <a:gd name="connsiteY165" fmla="*/ 604893 h 1766932"/>
                <a:gd name="connsiteX166" fmla="*/ 1067080 w 1652993"/>
                <a:gd name="connsiteY166" fmla="*/ 654280 h 1766932"/>
                <a:gd name="connsiteX167" fmla="*/ 1035210 w 1652993"/>
                <a:gd name="connsiteY167" fmla="*/ 686107 h 1766932"/>
                <a:gd name="connsiteX168" fmla="*/ 991252 w 1652993"/>
                <a:gd name="connsiteY168" fmla="*/ 700374 h 1766932"/>
                <a:gd name="connsiteX169" fmla="*/ 962680 w 1652993"/>
                <a:gd name="connsiteY169" fmla="*/ 745371 h 1766932"/>
                <a:gd name="connsiteX170" fmla="*/ 927513 w 1652993"/>
                <a:gd name="connsiteY170" fmla="*/ 769516 h 1766932"/>
                <a:gd name="connsiteX171" fmla="*/ 846191 w 1652993"/>
                <a:gd name="connsiteY171" fmla="*/ 754151 h 1766932"/>
                <a:gd name="connsiteX172" fmla="*/ 797838 w 1652993"/>
                <a:gd name="connsiteY172" fmla="*/ 727811 h 1766932"/>
                <a:gd name="connsiteX173" fmla="*/ 764869 w 1652993"/>
                <a:gd name="connsiteY173" fmla="*/ 695985 h 1766932"/>
                <a:gd name="connsiteX174" fmla="*/ 770364 w 1652993"/>
                <a:gd name="connsiteY174" fmla="*/ 653183 h 1766932"/>
                <a:gd name="connsiteX175" fmla="*/ 780254 w 1652993"/>
                <a:gd name="connsiteY175" fmla="*/ 603796 h 1766932"/>
                <a:gd name="connsiteX176" fmla="*/ 780254 w 1652993"/>
                <a:gd name="connsiteY176" fmla="*/ 559897 h 1766932"/>
                <a:gd name="connsiteX177" fmla="*/ 765968 w 1652993"/>
                <a:gd name="connsiteY177" fmla="*/ 517095 h 1766932"/>
                <a:gd name="connsiteX178" fmla="*/ 802233 w 1652993"/>
                <a:gd name="connsiteY178" fmla="*/ 513802 h 1766932"/>
                <a:gd name="connsiteX179" fmla="*/ 857180 w 1652993"/>
                <a:gd name="connsiteY179" fmla="*/ 487463 h 1766932"/>
                <a:gd name="connsiteX180" fmla="*/ 906633 w 1652993"/>
                <a:gd name="connsiteY180" fmla="*/ 449051 h 1766932"/>
                <a:gd name="connsiteX181" fmla="*/ 847290 w 1652993"/>
                <a:gd name="connsiteY181" fmla="*/ 419419 h 1766932"/>
                <a:gd name="connsiteX182" fmla="*/ 803332 w 1652993"/>
                <a:gd name="connsiteY182" fmla="*/ 429296 h 1766932"/>
                <a:gd name="connsiteX183" fmla="*/ 795639 w 1652993"/>
                <a:gd name="connsiteY183" fmla="*/ 381007 h 1766932"/>
                <a:gd name="connsiteX184" fmla="*/ 783551 w 1652993"/>
                <a:gd name="connsiteY184" fmla="*/ 341497 h 1766932"/>
                <a:gd name="connsiteX185" fmla="*/ 795639 w 1652993"/>
                <a:gd name="connsiteY185" fmla="*/ 296501 h 1766932"/>
                <a:gd name="connsiteX186" fmla="*/ 805530 w 1652993"/>
                <a:gd name="connsiteY186" fmla="*/ 258089 h 1766932"/>
                <a:gd name="connsiteX187" fmla="*/ 765968 w 1652993"/>
                <a:gd name="connsiteY187" fmla="*/ 293208 h 1766932"/>
                <a:gd name="connsiteX188" fmla="*/ 708822 w 1652993"/>
                <a:gd name="connsiteY188" fmla="*/ 310768 h 1766932"/>
                <a:gd name="connsiteX189" fmla="*/ 669260 w 1652993"/>
                <a:gd name="connsiteY189" fmla="*/ 281136 h 1766932"/>
                <a:gd name="connsiteX190" fmla="*/ 679150 w 1652993"/>
                <a:gd name="connsiteY190" fmla="*/ 248211 h 1766932"/>
                <a:gd name="connsiteX191" fmla="*/ 702229 w 1652993"/>
                <a:gd name="connsiteY191" fmla="*/ 193337 h 1766932"/>
                <a:gd name="connsiteX192" fmla="*/ 713218 w 1652993"/>
                <a:gd name="connsiteY192" fmla="*/ 126391 h 1766932"/>
                <a:gd name="connsiteX193" fmla="*/ 662666 w 1652993"/>
                <a:gd name="connsiteY193" fmla="*/ 171387 h 1766932"/>
                <a:gd name="connsiteX194" fmla="*/ 627500 w 1652993"/>
                <a:gd name="connsiteY194" fmla="*/ 227359 h 1766932"/>
                <a:gd name="connsiteX195" fmla="*/ 649479 w 1652993"/>
                <a:gd name="connsiteY195" fmla="*/ 264673 h 1766932"/>
                <a:gd name="connsiteX196" fmla="*/ 630797 w 1652993"/>
                <a:gd name="connsiteY196" fmla="*/ 320645 h 1766932"/>
                <a:gd name="connsiteX197" fmla="*/ 626401 w 1652993"/>
                <a:gd name="connsiteY197" fmla="*/ 381007 h 1766932"/>
                <a:gd name="connsiteX198" fmla="*/ 594532 w 1652993"/>
                <a:gd name="connsiteY198" fmla="*/ 452343 h 1766932"/>
                <a:gd name="connsiteX199" fmla="*/ 576948 w 1652993"/>
                <a:gd name="connsiteY199" fmla="*/ 524777 h 1766932"/>
                <a:gd name="connsiteX200" fmla="*/ 468153 w 1652993"/>
                <a:gd name="connsiteY200" fmla="*/ 749761 h 1766932"/>
                <a:gd name="connsiteX201" fmla="*/ 382434 w 1652993"/>
                <a:gd name="connsiteY201" fmla="*/ 872679 h 1766932"/>
                <a:gd name="connsiteX202" fmla="*/ 331883 w 1652993"/>
                <a:gd name="connsiteY202" fmla="*/ 899019 h 1766932"/>
                <a:gd name="connsiteX203" fmla="*/ 307706 w 1652993"/>
                <a:gd name="connsiteY203" fmla="*/ 945113 h 1766932"/>
                <a:gd name="connsiteX204" fmla="*/ 316497 w 1652993"/>
                <a:gd name="connsiteY204" fmla="*/ 994500 h 1766932"/>
                <a:gd name="connsiteX205" fmla="*/ 357158 w 1652993"/>
                <a:gd name="connsiteY205" fmla="*/ 1031815 h 1766932"/>
                <a:gd name="connsiteX206" fmla="*/ 420897 w 1652993"/>
                <a:gd name="connsiteY206" fmla="*/ 1083396 h 1766932"/>
                <a:gd name="connsiteX207" fmla="*/ 487934 w 1652993"/>
                <a:gd name="connsiteY207" fmla="*/ 1088883 h 1766932"/>
                <a:gd name="connsiteX208" fmla="*/ 480241 w 1652993"/>
                <a:gd name="connsiteY208" fmla="*/ 1116321 h 1766932"/>
                <a:gd name="connsiteX209" fmla="*/ 430788 w 1652993"/>
                <a:gd name="connsiteY209" fmla="*/ 1136075 h 1766932"/>
                <a:gd name="connsiteX210" fmla="*/ 400018 w 1652993"/>
                <a:gd name="connsiteY210" fmla="*/ 1094371 h 1766932"/>
                <a:gd name="connsiteX211" fmla="*/ 356060 w 1652993"/>
                <a:gd name="connsiteY211" fmla="*/ 1050472 h 1766932"/>
                <a:gd name="connsiteX212" fmla="*/ 301112 w 1652993"/>
                <a:gd name="connsiteY212" fmla="*/ 1014255 h 1766932"/>
                <a:gd name="connsiteX213" fmla="*/ 258253 w 1652993"/>
                <a:gd name="connsiteY213" fmla="*/ 995597 h 1766932"/>
                <a:gd name="connsiteX214" fmla="*/ 239571 w 1652993"/>
                <a:gd name="connsiteY214" fmla="*/ 1036204 h 1766932"/>
                <a:gd name="connsiteX215" fmla="*/ 302211 w 1652993"/>
                <a:gd name="connsiteY215" fmla="*/ 1077909 h 1766932"/>
                <a:gd name="connsiteX216" fmla="*/ 342872 w 1652993"/>
                <a:gd name="connsiteY216" fmla="*/ 1116321 h 1766932"/>
                <a:gd name="connsiteX217" fmla="*/ 357158 w 1652993"/>
                <a:gd name="connsiteY217" fmla="*/ 1148148 h 1766932"/>
                <a:gd name="connsiteX218" fmla="*/ 293420 w 1652993"/>
                <a:gd name="connsiteY218" fmla="*/ 1117418 h 1766932"/>
                <a:gd name="connsiteX219" fmla="*/ 235175 w 1652993"/>
                <a:gd name="connsiteY219" fmla="*/ 1063641 h 1766932"/>
                <a:gd name="connsiteX220" fmla="*/ 167040 w 1652993"/>
                <a:gd name="connsiteY220" fmla="*/ 1062544 h 1766932"/>
                <a:gd name="connsiteX221" fmla="*/ 165942 w 1652993"/>
                <a:gd name="connsiteY221" fmla="*/ 1118516 h 1766932"/>
                <a:gd name="connsiteX222" fmla="*/ 238472 w 1652993"/>
                <a:gd name="connsiteY222" fmla="*/ 1136075 h 1766932"/>
                <a:gd name="connsiteX223" fmla="*/ 283529 w 1652993"/>
                <a:gd name="connsiteY223" fmla="*/ 1160220 h 1766932"/>
                <a:gd name="connsiteX224" fmla="*/ 309904 w 1652993"/>
                <a:gd name="connsiteY224" fmla="*/ 1171195 h 1766932"/>
                <a:gd name="connsiteX225" fmla="*/ 308805 w 1652993"/>
                <a:gd name="connsiteY225" fmla="*/ 1215094 h 1766932"/>
                <a:gd name="connsiteX226" fmla="*/ 358258 w 1652993"/>
                <a:gd name="connsiteY226" fmla="*/ 1220581 h 1766932"/>
                <a:gd name="connsiteX227" fmla="*/ 396721 w 1652993"/>
                <a:gd name="connsiteY227" fmla="*/ 1252408 h 1766932"/>
                <a:gd name="connsiteX228" fmla="*/ 338476 w 1652993"/>
                <a:gd name="connsiteY228" fmla="*/ 1277651 h 1766932"/>
                <a:gd name="connsiteX229" fmla="*/ 297816 w 1652993"/>
                <a:gd name="connsiteY229" fmla="*/ 1234849 h 1766932"/>
                <a:gd name="connsiteX230" fmla="*/ 251660 w 1652993"/>
                <a:gd name="connsiteY230" fmla="*/ 1190950 h 1766932"/>
                <a:gd name="connsiteX231" fmla="*/ 201108 w 1652993"/>
                <a:gd name="connsiteY231" fmla="*/ 1152538 h 1766932"/>
                <a:gd name="connsiteX232" fmla="*/ 97807 w 1652993"/>
                <a:gd name="connsiteY232" fmla="*/ 1161317 h 1766932"/>
                <a:gd name="connsiteX233" fmla="*/ 48354 w 1652993"/>
                <a:gd name="connsiteY233" fmla="*/ 1213997 h 1766932"/>
                <a:gd name="connsiteX234" fmla="*/ 126379 w 1652993"/>
                <a:gd name="connsiteY234" fmla="*/ 1250214 h 1766932"/>
                <a:gd name="connsiteX235" fmla="*/ 175832 w 1652993"/>
                <a:gd name="connsiteY235" fmla="*/ 1285333 h 1766932"/>
                <a:gd name="connsiteX236" fmla="*/ 221988 w 1652993"/>
                <a:gd name="connsiteY236" fmla="*/ 1298503 h 1766932"/>
                <a:gd name="connsiteX237" fmla="*/ 278034 w 1652993"/>
                <a:gd name="connsiteY237" fmla="*/ 1266676 h 1766932"/>
                <a:gd name="connsiteX238" fmla="*/ 314300 w 1652993"/>
                <a:gd name="connsiteY238" fmla="*/ 1296308 h 1766932"/>
                <a:gd name="connsiteX239" fmla="*/ 338476 w 1652993"/>
                <a:gd name="connsiteY239" fmla="*/ 1321550 h 176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</a:cxnLst>
              <a:rect l="l" t="t" r="r" b="b"/>
              <a:pathLst>
                <a:path w="1652993" h="1766932">
                  <a:moveTo>
                    <a:pt x="338476" y="1321550"/>
                  </a:moveTo>
                  <a:cubicBezTo>
                    <a:pt x="326388" y="1323745"/>
                    <a:pt x="323091" y="1322648"/>
                    <a:pt x="292321" y="1312770"/>
                  </a:cubicBezTo>
                  <a:cubicBezTo>
                    <a:pt x="260451" y="1302893"/>
                    <a:pt x="259352" y="1325940"/>
                    <a:pt x="231879" y="1330330"/>
                  </a:cubicBezTo>
                  <a:cubicBezTo>
                    <a:pt x="205504" y="1334720"/>
                    <a:pt x="202207" y="1345695"/>
                    <a:pt x="163744" y="1322648"/>
                  </a:cubicBezTo>
                  <a:cubicBezTo>
                    <a:pt x="126379" y="1300698"/>
                    <a:pt x="113192" y="1297405"/>
                    <a:pt x="74728" y="1287528"/>
                  </a:cubicBezTo>
                  <a:cubicBezTo>
                    <a:pt x="38463" y="1277651"/>
                    <a:pt x="30770" y="1287528"/>
                    <a:pt x="0" y="1294113"/>
                  </a:cubicBezTo>
                  <a:cubicBezTo>
                    <a:pt x="4396" y="1322648"/>
                    <a:pt x="15386" y="1359962"/>
                    <a:pt x="40661" y="1367644"/>
                  </a:cubicBezTo>
                  <a:cubicBezTo>
                    <a:pt x="63739" y="1375327"/>
                    <a:pt x="82421" y="1372034"/>
                    <a:pt x="101103" y="1368742"/>
                  </a:cubicBezTo>
                  <a:cubicBezTo>
                    <a:pt x="116489" y="1365449"/>
                    <a:pt x="132973" y="1363254"/>
                    <a:pt x="150556" y="1367644"/>
                  </a:cubicBezTo>
                  <a:cubicBezTo>
                    <a:pt x="172535" y="1373132"/>
                    <a:pt x="179129" y="1381912"/>
                    <a:pt x="184623" y="1389594"/>
                  </a:cubicBezTo>
                  <a:cubicBezTo>
                    <a:pt x="189019" y="1396179"/>
                    <a:pt x="194514" y="1403861"/>
                    <a:pt x="208800" y="1411544"/>
                  </a:cubicBezTo>
                  <a:cubicBezTo>
                    <a:pt x="242868" y="1431298"/>
                    <a:pt x="291222" y="1419226"/>
                    <a:pt x="313201" y="1387399"/>
                  </a:cubicBezTo>
                  <a:cubicBezTo>
                    <a:pt x="318695" y="1378619"/>
                    <a:pt x="321992" y="1372034"/>
                    <a:pt x="325289" y="1366547"/>
                  </a:cubicBezTo>
                  <a:cubicBezTo>
                    <a:pt x="336279" y="1346792"/>
                    <a:pt x="339576" y="1340207"/>
                    <a:pt x="370346" y="1327038"/>
                  </a:cubicBezTo>
                  <a:cubicBezTo>
                    <a:pt x="394523" y="1317160"/>
                    <a:pt x="405513" y="1322648"/>
                    <a:pt x="415403" y="1328135"/>
                  </a:cubicBezTo>
                  <a:cubicBezTo>
                    <a:pt x="421997" y="1331427"/>
                    <a:pt x="426392" y="1334720"/>
                    <a:pt x="436283" y="1332525"/>
                  </a:cubicBezTo>
                  <a:cubicBezTo>
                    <a:pt x="443976" y="1331427"/>
                    <a:pt x="445074" y="1327038"/>
                    <a:pt x="442876" y="1311673"/>
                  </a:cubicBezTo>
                  <a:cubicBezTo>
                    <a:pt x="441778" y="1298503"/>
                    <a:pt x="439580" y="1279846"/>
                    <a:pt x="456064" y="1268871"/>
                  </a:cubicBezTo>
                  <a:cubicBezTo>
                    <a:pt x="473648" y="1255701"/>
                    <a:pt x="492329" y="1244726"/>
                    <a:pt x="507715" y="1249116"/>
                  </a:cubicBezTo>
                  <a:cubicBezTo>
                    <a:pt x="515407" y="1251311"/>
                    <a:pt x="522001" y="1258993"/>
                    <a:pt x="525298" y="1269968"/>
                  </a:cubicBezTo>
                  <a:cubicBezTo>
                    <a:pt x="530792" y="1285333"/>
                    <a:pt x="541782" y="1297405"/>
                    <a:pt x="553871" y="1298503"/>
                  </a:cubicBezTo>
                  <a:cubicBezTo>
                    <a:pt x="563761" y="1299600"/>
                    <a:pt x="572553" y="1293015"/>
                    <a:pt x="579146" y="1280943"/>
                  </a:cubicBezTo>
                  <a:cubicBezTo>
                    <a:pt x="594532" y="1254604"/>
                    <a:pt x="609917" y="1240336"/>
                    <a:pt x="625302" y="1239239"/>
                  </a:cubicBezTo>
                  <a:cubicBezTo>
                    <a:pt x="630797" y="1238141"/>
                    <a:pt x="639589" y="1241434"/>
                    <a:pt x="647281" y="1251311"/>
                  </a:cubicBezTo>
                  <a:cubicBezTo>
                    <a:pt x="657171" y="1266676"/>
                    <a:pt x="650578" y="1279846"/>
                    <a:pt x="646182" y="1290820"/>
                  </a:cubicBezTo>
                  <a:cubicBezTo>
                    <a:pt x="642885" y="1298503"/>
                    <a:pt x="639589" y="1305088"/>
                    <a:pt x="640687" y="1311673"/>
                  </a:cubicBezTo>
                  <a:cubicBezTo>
                    <a:pt x="642885" y="1318257"/>
                    <a:pt x="647281" y="1321550"/>
                    <a:pt x="651677" y="1323745"/>
                  </a:cubicBezTo>
                  <a:cubicBezTo>
                    <a:pt x="661568" y="1327038"/>
                    <a:pt x="675854" y="1324842"/>
                    <a:pt x="685745" y="1316063"/>
                  </a:cubicBezTo>
                  <a:cubicBezTo>
                    <a:pt x="691239" y="1310575"/>
                    <a:pt x="696734" y="1300698"/>
                    <a:pt x="702229" y="1291918"/>
                  </a:cubicBezTo>
                  <a:cubicBezTo>
                    <a:pt x="711020" y="1276553"/>
                    <a:pt x="719812" y="1257896"/>
                    <a:pt x="736296" y="1266676"/>
                  </a:cubicBezTo>
                  <a:cubicBezTo>
                    <a:pt x="751682" y="1274358"/>
                    <a:pt x="751682" y="1299600"/>
                    <a:pt x="751682" y="1325940"/>
                  </a:cubicBezTo>
                  <a:cubicBezTo>
                    <a:pt x="751682" y="1334720"/>
                    <a:pt x="751682" y="1343500"/>
                    <a:pt x="752780" y="1351182"/>
                  </a:cubicBezTo>
                  <a:cubicBezTo>
                    <a:pt x="753880" y="1363254"/>
                    <a:pt x="761572" y="1366547"/>
                    <a:pt x="772561" y="1372034"/>
                  </a:cubicBezTo>
                  <a:cubicBezTo>
                    <a:pt x="783551" y="1377522"/>
                    <a:pt x="797838" y="1384106"/>
                    <a:pt x="804431" y="1403861"/>
                  </a:cubicBezTo>
                  <a:cubicBezTo>
                    <a:pt x="809926" y="1418128"/>
                    <a:pt x="823113" y="1429103"/>
                    <a:pt x="839597" y="1433493"/>
                  </a:cubicBezTo>
                  <a:cubicBezTo>
                    <a:pt x="852785" y="1436786"/>
                    <a:pt x="865972" y="1433493"/>
                    <a:pt x="873665" y="1425811"/>
                  </a:cubicBezTo>
                  <a:cubicBezTo>
                    <a:pt x="886852" y="1412641"/>
                    <a:pt x="909930" y="1399471"/>
                    <a:pt x="927513" y="1403861"/>
                  </a:cubicBezTo>
                  <a:cubicBezTo>
                    <a:pt x="933008" y="1404959"/>
                    <a:pt x="940701" y="1409349"/>
                    <a:pt x="945096" y="1421421"/>
                  </a:cubicBezTo>
                  <a:cubicBezTo>
                    <a:pt x="947294" y="1429103"/>
                    <a:pt x="948393" y="1436786"/>
                    <a:pt x="948393" y="1444468"/>
                  </a:cubicBezTo>
                  <a:cubicBezTo>
                    <a:pt x="949492" y="1460930"/>
                    <a:pt x="950591" y="1473003"/>
                    <a:pt x="969273" y="1478490"/>
                  </a:cubicBezTo>
                  <a:cubicBezTo>
                    <a:pt x="982461" y="1482880"/>
                    <a:pt x="991252" y="1481783"/>
                    <a:pt x="997846" y="1481783"/>
                  </a:cubicBezTo>
                  <a:cubicBezTo>
                    <a:pt x="1007737" y="1480685"/>
                    <a:pt x="1015429" y="1480685"/>
                    <a:pt x="1024221" y="1493855"/>
                  </a:cubicBezTo>
                  <a:cubicBezTo>
                    <a:pt x="1038507" y="1515804"/>
                    <a:pt x="1042903" y="1533364"/>
                    <a:pt x="1027517" y="1559704"/>
                  </a:cubicBezTo>
                  <a:cubicBezTo>
                    <a:pt x="1015429" y="1580556"/>
                    <a:pt x="1015429" y="1586044"/>
                    <a:pt x="1013231" y="1604701"/>
                  </a:cubicBezTo>
                  <a:lnTo>
                    <a:pt x="1012133" y="1614578"/>
                  </a:lnTo>
                  <a:cubicBezTo>
                    <a:pt x="1011033" y="1631040"/>
                    <a:pt x="1004440" y="1638723"/>
                    <a:pt x="994549" y="1648600"/>
                  </a:cubicBezTo>
                  <a:cubicBezTo>
                    <a:pt x="987956" y="1656283"/>
                    <a:pt x="979164" y="1665062"/>
                    <a:pt x="967075" y="1681524"/>
                  </a:cubicBezTo>
                  <a:cubicBezTo>
                    <a:pt x="948393" y="1711157"/>
                    <a:pt x="940701" y="1732009"/>
                    <a:pt x="946196" y="1742984"/>
                  </a:cubicBezTo>
                  <a:cubicBezTo>
                    <a:pt x="948393" y="1748471"/>
                    <a:pt x="953888" y="1752861"/>
                    <a:pt x="963779" y="1755056"/>
                  </a:cubicBezTo>
                  <a:cubicBezTo>
                    <a:pt x="978065" y="1758348"/>
                    <a:pt x="989054" y="1751763"/>
                    <a:pt x="998945" y="1746276"/>
                  </a:cubicBezTo>
                  <a:cubicBezTo>
                    <a:pt x="1011033" y="1739691"/>
                    <a:pt x="1025319" y="1732009"/>
                    <a:pt x="1036309" y="1750666"/>
                  </a:cubicBezTo>
                  <a:cubicBezTo>
                    <a:pt x="1048398" y="1770421"/>
                    <a:pt x="1076970" y="1767128"/>
                    <a:pt x="1087960" y="1766031"/>
                  </a:cubicBezTo>
                  <a:cubicBezTo>
                    <a:pt x="1089059" y="1753958"/>
                    <a:pt x="1092356" y="1742984"/>
                    <a:pt x="1098949" y="1734204"/>
                  </a:cubicBezTo>
                  <a:cubicBezTo>
                    <a:pt x="1103345" y="1728716"/>
                    <a:pt x="1111038" y="1723229"/>
                    <a:pt x="1118730" y="1717742"/>
                  </a:cubicBezTo>
                  <a:cubicBezTo>
                    <a:pt x="1129720" y="1710059"/>
                    <a:pt x="1141809" y="1700182"/>
                    <a:pt x="1141809" y="1692499"/>
                  </a:cubicBezTo>
                  <a:cubicBezTo>
                    <a:pt x="1141809" y="1689207"/>
                    <a:pt x="1141809" y="1688109"/>
                    <a:pt x="1134116" y="1687012"/>
                  </a:cubicBezTo>
                  <a:cubicBezTo>
                    <a:pt x="1126423" y="1685914"/>
                    <a:pt x="1116533" y="1683720"/>
                    <a:pt x="1108840" y="1671647"/>
                  </a:cubicBezTo>
                  <a:cubicBezTo>
                    <a:pt x="1101147" y="1660672"/>
                    <a:pt x="1104444" y="1650795"/>
                    <a:pt x="1106642" y="1643113"/>
                  </a:cubicBezTo>
                  <a:cubicBezTo>
                    <a:pt x="1108840" y="1636528"/>
                    <a:pt x="1108840" y="1633235"/>
                    <a:pt x="1106642" y="1631040"/>
                  </a:cubicBezTo>
                  <a:cubicBezTo>
                    <a:pt x="1103345" y="1627748"/>
                    <a:pt x="1100049" y="1628845"/>
                    <a:pt x="1090158" y="1634333"/>
                  </a:cubicBezTo>
                  <a:cubicBezTo>
                    <a:pt x="1082465" y="1638723"/>
                    <a:pt x="1071475" y="1644210"/>
                    <a:pt x="1059387" y="1644210"/>
                  </a:cubicBezTo>
                  <a:cubicBezTo>
                    <a:pt x="1051695" y="1643113"/>
                    <a:pt x="1046200" y="1639820"/>
                    <a:pt x="1042903" y="1634333"/>
                  </a:cubicBezTo>
                  <a:cubicBezTo>
                    <a:pt x="1034112" y="1621163"/>
                    <a:pt x="1037408" y="1598116"/>
                    <a:pt x="1041804" y="1587141"/>
                  </a:cubicBezTo>
                  <a:cubicBezTo>
                    <a:pt x="1045101" y="1578361"/>
                    <a:pt x="1050596" y="1573971"/>
                    <a:pt x="1053893" y="1572874"/>
                  </a:cubicBezTo>
                  <a:cubicBezTo>
                    <a:pt x="1060486" y="1569581"/>
                    <a:pt x="1069277" y="1571776"/>
                    <a:pt x="1078070" y="1576166"/>
                  </a:cubicBezTo>
                  <a:cubicBezTo>
                    <a:pt x="1084663" y="1578361"/>
                    <a:pt x="1091256" y="1579459"/>
                    <a:pt x="1103345" y="1560801"/>
                  </a:cubicBezTo>
                  <a:cubicBezTo>
                    <a:pt x="1117631" y="1543242"/>
                    <a:pt x="1144007" y="1523487"/>
                    <a:pt x="1165986" y="1522389"/>
                  </a:cubicBezTo>
                  <a:cubicBezTo>
                    <a:pt x="1173678" y="1522389"/>
                    <a:pt x="1180272" y="1519097"/>
                    <a:pt x="1182470" y="1514707"/>
                  </a:cubicBezTo>
                  <a:cubicBezTo>
                    <a:pt x="1183568" y="1511415"/>
                    <a:pt x="1182470" y="1505927"/>
                    <a:pt x="1178074" y="1501537"/>
                  </a:cubicBezTo>
                  <a:cubicBezTo>
                    <a:pt x="1173678" y="1497147"/>
                    <a:pt x="1171480" y="1498245"/>
                    <a:pt x="1164886" y="1500440"/>
                  </a:cubicBezTo>
                  <a:cubicBezTo>
                    <a:pt x="1158293" y="1502635"/>
                    <a:pt x="1149501" y="1504830"/>
                    <a:pt x="1139610" y="1497147"/>
                  </a:cubicBezTo>
                  <a:cubicBezTo>
                    <a:pt x="1135214" y="1493855"/>
                    <a:pt x="1131918" y="1489465"/>
                    <a:pt x="1131918" y="1483977"/>
                  </a:cubicBezTo>
                  <a:cubicBezTo>
                    <a:pt x="1130819" y="1471905"/>
                    <a:pt x="1141809" y="1458736"/>
                    <a:pt x="1149501" y="1448858"/>
                  </a:cubicBezTo>
                  <a:lnTo>
                    <a:pt x="1151699" y="1445566"/>
                  </a:lnTo>
                  <a:cubicBezTo>
                    <a:pt x="1154996" y="1441176"/>
                    <a:pt x="1156095" y="1436786"/>
                    <a:pt x="1158293" y="1431298"/>
                  </a:cubicBezTo>
                  <a:cubicBezTo>
                    <a:pt x="1160491" y="1423616"/>
                    <a:pt x="1163787" y="1415934"/>
                    <a:pt x="1172579" y="1407154"/>
                  </a:cubicBezTo>
                  <a:cubicBezTo>
                    <a:pt x="1187965" y="1396179"/>
                    <a:pt x="1195657" y="1387399"/>
                    <a:pt x="1201151" y="1361060"/>
                  </a:cubicBezTo>
                  <a:cubicBezTo>
                    <a:pt x="1207745" y="1332525"/>
                    <a:pt x="1198954" y="1286430"/>
                    <a:pt x="1182470" y="1268871"/>
                  </a:cubicBezTo>
                  <a:cubicBezTo>
                    <a:pt x="1171480" y="1257896"/>
                    <a:pt x="1170381" y="1250214"/>
                    <a:pt x="1169282" y="1242531"/>
                  </a:cubicBezTo>
                  <a:cubicBezTo>
                    <a:pt x="1168183" y="1234849"/>
                    <a:pt x="1167084" y="1227166"/>
                    <a:pt x="1158293" y="1213997"/>
                  </a:cubicBezTo>
                  <a:cubicBezTo>
                    <a:pt x="1144007" y="1195339"/>
                    <a:pt x="1144007" y="1190950"/>
                    <a:pt x="1144007" y="1181072"/>
                  </a:cubicBezTo>
                  <a:cubicBezTo>
                    <a:pt x="1144007" y="1176682"/>
                    <a:pt x="1145105" y="1170097"/>
                    <a:pt x="1142907" y="1156928"/>
                  </a:cubicBezTo>
                  <a:cubicBezTo>
                    <a:pt x="1139610" y="1141563"/>
                    <a:pt x="1137412" y="1141563"/>
                    <a:pt x="1131918" y="1139368"/>
                  </a:cubicBezTo>
                  <a:cubicBezTo>
                    <a:pt x="1125324" y="1137173"/>
                    <a:pt x="1116533" y="1134978"/>
                    <a:pt x="1106642" y="1115223"/>
                  </a:cubicBezTo>
                  <a:cubicBezTo>
                    <a:pt x="1090158" y="1079006"/>
                    <a:pt x="1106642" y="1070226"/>
                    <a:pt x="1122028" y="1061446"/>
                  </a:cubicBezTo>
                  <a:cubicBezTo>
                    <a:pt x="1124225" y="1060349"/>
                    <a:pt x="1127522" y="1058154"/>
                    <a:pt x="1129720" y="1057057"/>
                  </a:cubicBezTo>
                  <a:cubicBezTo>
                    <a:pt x="1135214" y="1053764"/>
                    <a:pt x="1139610" y="1050472"/>
                    <a:pt x="1144007" y="1047179"/>
                  </a:cubicBezTo>
                  <a:cubicBezTo>
                    <a:pt x="1154996" y="1039497"/>
                    <a:pt x="1167084" y="1030717"/>
                    <a:pt x="1191261" y="1020840"/>
                  </a:cubicBezTo>
                  <a:cubicBezTo>
                    <a:pt x="1215438" y="1012060"/>
                    <a:pt x="1228625" y="1024132"/>
                    <a:pt x="1238516" y="1034009"/>
                  </a:cubicBezTo>
                  <a:cubicBezTo>
                    <a:pt x="1245109" y="1040594"/>
                    <a:pt x="1249505" y="1043887"/>
                    <a:pt x="1253901" y="1043887"/>
                  </a:cubicBezTo>
                  <a:cubicBezTo>
                    <a:pt x="1270386" y="1040594"/>
                    <a:pt x="1276979" y="1048277"/>
                    <a:pt x="1283573" y="1055959"/>
                  </a:cubicBezTo>
                  <a:cubicBezTo>
                    <a:pt x="1285771" y="1059252"/>
                    <a:pt x="1289067" y="1062544"/>
                    <a:pt x="1292365" y="1064739"/>
                  </a:cubicBezTo>
                  <a:cubicBezTo>
                    <a:pt x="1295661" y="1068031"/>
                    <a:pt x="1300057" y="1065836"/>
                    <a:pt x="1309948" y="1060349"/>
                  </a:cubicBezTo>
                  <a:cubicBezTo>
                    <a:pt x="1319838" y="1054861"/>
                    <a:pt x="1330828" y="1048277"/>
                    <a:pt x="1347312" y="1047179"/>
                  </a:cubicBezTo>
                  <a:cubicBezTo>
                    <a:pt x="1367093" y="1046082"/>
                    <a:pt x="1383577" y="1036204"/>
                    <a:pt x="1396765" y="1027424"/>
                  </a:cubicBezTo>
                  <a:cubicBezTo>
                    <a:pt x="1404457" y="1023034"/>
                    <a:pt x="1411051" y="1018645"/>
                    <a:pt x="1417644" y="1015352"/>
                  </a:cubicBezTo>
                  <a:cubicBezTo>
                    <a:pt x="1427535" y="1012060"/>
                    <a:pt x="1435228" y="1012060"/>
                    <a:pt x="1440723" y="1012060"/>
                  </a:cubicBezTo>
                  <a:cubicBezTo>
                    <a:pt x="1448415" y="1012060"/>
                    <a:pt x="1452811" y="1012060"/>
                    <a:pt x="1459404" y="1006572"/>
                  </a:cubicBezTo>
                  <a:cubicBezTo>
                    <a:pt x="1467097" y="999987"/>
                    <a:pt x="1471493" y="985720"/>
                    <a:pt x="1469295" y="974745"/>
                  </a:cubicBezTo>
                  <a:cubicBezTo>
                    <a:pt x="1468197" y="968160"/>
                    <a:pt x="1463800" y="963770"/>
                    <a:pt x="1458306" y="961575"/>
                  </a:cubicBezTo>
                  <a:cubicBezTo>
                    <a:pt x="1453910" y="960478"/>
                    <a:pt x="1449514" y="958283"/>
                    <a:pt x="1446218" y="957185"/>
                  </a:cubicBezTo>
                  <a:cubicBezTo>
                    <a:pt x="1433030" y="952796"/>
                    <a:pt x="1420941" y="949503"/>
                    <a:pt x="1415446" y="938528"/>
                  </a:cubicBezTo>
                  <a:cubicBezTo>
                    <a:pt x="1413249" y="933041"/>
                    <a:pt x="1413249" y="926456"/>
                    <a:pt x="1415446" y="919871"/>
                  </a:cubicBezTo>
                  <a:cubicBezTo>
                    <a:pt x="1420941" y="905604"/>
                    <a:pt x="1435228" y="899019"/>
                    <a:pt x="1448415" y="893532"/>
                  </a:cubicBezTo>
                  <a:cubicBezTo>
                    <a:pt x="1458306" y="889142"/>
                    <a:pt x="1468197" y="884751"/>
                    <a:pt x="1473691" y="877069"/>
                  </a:cubicBezTo>
                  <a:cubicBezTo>
                    <a:pt x="1490176" y="855120"/>
                    <a:pt x="1519847" y="837560"/>
                    <a:pt x="1545123" y="835365"/>
                  </a:cubicBezTo>
                  <a:cubicBezTo>
                    <a:pt x="1552815" y="834268"/>
                    <a:pt x="1553914" y="833170"/>
                    <a:pt x="1555013" y="832072"/>
                  </a:cubicBezTo>
                  <a:cubicBezTo>
                    <a:pt x="1556112" y="830975"/>
                    <a:pt x="1555013" y="825487"/>
                    <a:pt x="1552815" y="821098"/>
                  </a:cubicBezTo>
                  <a:cubicBezTo>
                    <a:pt x="1550618" y="814513"/>
                    <a:pt x="1548420" y="805733"/>
                    <a:pt x="1548420" y="793660"/>
                  </a:cubicBezTo>
                  <a:cubicBezTo>
                    <a:pt x="1548420" y="772808"/>
                    <a:pt x="1557211" y="769516"/>
                    <a:pt x="1567102" y="767321"/>
                  </a:cubicBezTo>
                  <a:cubicBezTo>
                    <a:pt x="1572597" y="766223"/>
                    <a:pt x="1574794" y="765126"/>
                    <a:pt x="1578091" y="761834"/>
                  </a:cubicBezTo>
                  <a:cubicBezTo>
                    <a:pt x="1580289" y="758541"/>
                    <a:pt x="1579190" y="753053"/>
                    <a:pt x="1576992" y="744274"/>
                  </a:cubicBezTo>
                  <a:cubicBezTo>
                    <a:pt x="1574794" y="734396"/>
                    <a:pt x="1571497" y="720129"/>
                    <a:pt x="1576992" y="702570"/>
                  </a:cubicBezTo>
                  <a:cubicBezTo>
                    <a:pt x="1579190" y="693789"/>
                    <a:pt x="1579190" y="686107"/>
                    <a:pt x="1574794" y="680620"/>
                  </a:cubicBezTo>
                  <a:cubicBezTo>
                    <a:pt x="1569299" y="674035"/>
                    <a:pt x="1557211" y="669645"/>
                    <a:pt x="1539628" y="670742"/>
                  </a:cubicBezTo>
                  <a:lnTo>
                    <a:pt x="1530836" y="670742"/>
                  </a:lnTo>
                  <a:cubicBezTo>
                    <a:pt x="1504462" y="671840"/>
                    <a:pt x="1478087" y="674035"/>
                    <a:pt x="1455009" y="649890"/>
                  </a:cubicBezTo>
                  <a:cubicBezTo>
                    <a:pt x="1435228" y="627940"/>
                    <a:pt x="1441821" y="613673"/>
                    <a:pt x="1448415" y="601601"/>
                  </a:cubicBezTo>
                  <a:cubicBezTo>
                    <a:pt x="1449514" y="598309"/>
                    <a:pt x="1451712" y="595016"/>
                    <a:pt x="1452811" y="590626"/>
                  </a:cubicBezTo>
                  <a:cubicBezTo>
                    <a:pt x="1453910" y="586236"/>
                    <a:pt x="1452811" y="582944"/>
                    <a:pt x="1449514" y="577456"/>
                  </a:cubicBezTo>
                  <a:cubicBezTo>
                    <a:pt x="1445118" y="568676"/>
                    <a:pt x="1437425" y="555506"/>
                    <a:pt x="1444020" y="530264"/>
                  </a:cubicBezTo>
                  <a:cubicBezTo>
                    <a:pt x="1446218" y="519290"/>
                    <a:pt x="1452811" y="512705"/>
                    <a:pt x="1461602" y="508315"/>
                  </a:cubicBezTo>
                  <a:cubicBezTo>
                    <a:pt x="1485779" y="498438"/>
                    <a:pt x="1524243" y="514900"/>
                    <a:pt x="1536331" y="522582"/>
                  </a:cubicBezTo>
                  <a:cubicBezTo>
                    <a:pt x="1541826" y="524777"/>
                    <a:pt x="1550618" y="526972"/>
                    <a:pt x="1561607" y="524777"/>
                  </a:cubicBezTo>
                  <a:cubicBezTo>
                    <a:pt x="1571497" y="521485"/>
                    <a:pt x="1580289" y="514900"/>
                    <a:pt x="1585784" y="503925"/>
                  </a:cubicBezTo>
                  <a:cubicBezTo>
                    <a:pt x="1593476" y="491853"/>
                    <a:pt x="1592378" y="484170"/>
                    <a:pt x="1590180" y="472098"/>
                  </a:cubicBezTo>
                  <a:cubicBezTo>
                    <a:pt x="1587982" y="458928"/>
                    <a:pt x="1585784" y="441368"/>
                    <a:pt x="1592378" y="412834"/>
                  </a:cubicBezTo>
                  <a:cubicBezTo>
                    <a:pt x="1598971" y="384299"/>
                    <a:pt x="1612159" y="362350"/>
                    <a:pt x="1624247" y="342595"/>
                  </a:cubicBezTo>
                  <a:cubicBezTo>
                    <a:pt x="1635236" y="323938"/>
                    <a:pt x="1646226" y="306378"/>
                    <a:pt x="1648424" y="285526"/>
                  </a:cubicBezTo>
                  <a:cubicBezTo>
                    <a:pt x="1651721" y="265771"/>
                    <a:pt x="1650622" y="250406"/>
                    <a:pt x="1649523" y="237236"/>
                  </a:cubicBezTo>
                  <a:cubicBezTo>
                    <a:pt x="1648424" y="222969"/>
                    <a:pt x="1647325" y="208702"/>
                    <a:pt x="1651721" y="191142"/>
                  </a:cubicBezTo>
                  <a:cubicBezTo>
                    <a:pt x="1655018" y="175777"/>
                    <a:pt x="1651721" y="154925"/>
                    <a:pt x="1644028" y="128585"/>
                  </a:cubicBezTo>
                  <a:lnTo>
                    <a:pt x="1644028" y="128585"/>
                  </a:lnTo>
                  <a:cubicBezTo>
                    <a:pt x="1618752" y="139560"/>
                    <a:pt x="1619851" y="139560"/>
                    <a:pt x="1602268" y="118708"/>
                  </a:cubicBezTo>
                  <a:cubicBezTo>
                    <a:pt x="1583586" y="98954"/>
                    <a:pt x="1583586" y="109928"/>
                    <a:pt x="1552815" y="93466"/>
                  </a:cubicBezTo>
                  <a:cubicBezTo>
                    <a:pt x="1522045" y="75906"/>
                    <a:pt x="1526441" y="36397"/>
                    <a:pt x="1512155" y="23227"/>
                  </a:cubicBezTo>
                  <a:cubicBezTo>
                    <a:pt x="1498967" y="11155"/>
                    <a:pt x="1461602" y="1277"/>
                    <a:pt x="1402260" y="180"/>
                  </a:cubicBezTo>
                  <a:cubicBezTo>
                    <a:pt x="1342916" y="-2015"/>
                    <a:pt x="1361598" y="16642"/>
                    <a:pt x="1309948" y="13350"/>
                  </a:cubicBezTo>
                  <a:cubicBezTo>
                    <a:pt x="1259396" y="11155"/>
                    <a:pt x="1205547" y="13350"/>
                    <a:pt x="1146204" y="21032"/>
                  </a:cubicBezTo>
                  <a:cubicBezTo>
                    <a:pt x="1085762" y="26520"/>
                    <a:pt x="1082465" y="32007"/>
                    <a:pt x="1038507" y="47372"/>
                  </a:cubicBezTo>
                  <a:cubicBezTo>
                    <a:pt x="994549" y="62736"/>
                    <a:pt x="938503" y="91271"/>
                    <a:pt x="922019" y="128585"/>
                  </a:cubicBezTo>
                  <a:cubicBezTo>
                    <a:pt x="906633" y="164803"/>
                    <a:pt x="930810" y="192240"/>
                    <a:pt x="900040" y="202117"/>
                  </a:cubicBezTo>
                  <a:cubicBezTo>
                    <a:pt x="869269" y="213092"/>
                    <a:pt x="793441" y="251504"/>
                    <a:pt x="822014" y="254796"/>
                  </a:cubicBezTo>
                  <a:cubicBezTo>
                    <a:pt x="850587" y="256991"/>
                    <a:pt x="859378" y="241626"/>
                    <a:pt x="880259" y="232846"/>
                  </a:cubicBezTo>
                  <a:cubicBezTo>
                    <a:pt x="900040" y="225164"/>
                    <a:pt x="909930" y="207604"/>
                    <a:pt x="909930" y="242724"/>
                  </a:cubicBezTo>
                  <a:cubicBezTo>
                    <a:pt x="909930" y="277843"/>
                    <a:pt x="926414" y="285526"/>
                    <a:pt x="909930" y="312963"/>
                  </a:cubicBezTo>
                  <a:cubicBezTo>
                    <a:pt x="892347" y="339302"/>
                    <a:pt x="872566" y="352472"/>
                    <a:pt x="900040" y="364544"/>
                  </a:cubicBezTo>
                  <a:cubicBezTo>
                    <a:pt x="926414" y="377714"/>
                    <a:pt x="936305" y="375519"/>
                    <a:pt x="959383" y="394177"/>
                  </a:cubicBezTo>
                  <a:cubicBezTo>
                    <a:pt x="983560" y="412834"/>
                    <a:pt x="996747" y="368934"/>
                    <a:pt x="1014330" y="389787"/>
                  </a:cubicBezTo>
                  <a:cubicBezTo>
                    <a:pt x="1033012" y="411736"/>
                    <a:pt x="991252" y="413931"/>
                    <a:pt x="991252" y="447953"/>
                  </a:cubicBezTo>
                  <a:cubicBezTo>
                    <a:pt x="991252" y="483073"/>
                    <a:pt x="978065" y="485268"/>
                    <a:pt x="1001143" y="503925"/>
                  </a:cubicBezTo>
                  <a:cubicBezTo>
                    <a:pt x="1023122" y="521485"/>
                    <a:pt x="1018726" y="543434"/>
                    <a:pt x="1003340" y="543434"/>
                  </a:cubicBezTo>
                  <a:cubicBezTo>
                    <a:pt x="987956" y="543434"/>
                    <a:pt x="970372" y="547824"/>
                    <a:pt x="945096" y="568676"/>
                  </a:cubicBezTo>
                  <a:cubicBezTo>
                    <a:pt x="919821" y="588431"/>
                    <a:pt x="905534" y="576359"/>
                    <a:pt x="891248" y="604893"/>
                  </a:cubicBezTo>
                  <a:cubicBezTo>
                    <a:pt x="876961" y="633428"/>
                    <a:pt x="869269" y="624648"/>
                    <a:pt x="839597" y="644403"/>
                  </a:cubicBezTo>
                  <a:cubicBezTo>
                    <a:pt x="808827" y="663060"/>
                    <a:pt x="785749" y="661962"/>
                    <a:pt x="791243" y="682815"/>
                  </a:cubicBezTo>
                  <a:cubicBezTo>
                    <a:pt x="796738" y="703667"/>
                    <a:pt x="802233" y="688302"/>
                    <a:pt x="827509" y="706959"/>
                  </a:cubicBezTo>
                  <a:cubicBezTo>
                    <a:pt x="852785" y="723422"/>
                    <a:pt x="869269" y="708057"/>
                    <a:pt x="881357" y="725616"/>
                  </a:cubicBezTo>
                  <a:cubicBezTo>
                    <a:pt x="894545" y="742079"/>
                    <a:pt x="906633" y="766223"/>
                    <a:pt x="923117" y="739884"/>
                  </a:cubicBezTo>
                  <a:cubicBezTo>
                    <a:pt x="938503" y="712447"/>
                    <a:pt x="928612" y="695985"/>
                    <a:pt x="951690" y="687204"/>
                  </a:cubicBezTo>
                  <a:cubicBezTo>
                    <a:pt x="973669" y="678425"/>
                    <a:pt x="979164" y="682815"/>
                    <a:pt x="1004440" y="667450"/>
                  </a:cubicBezTo>
                  <a:cubicBezTo>
                    <a:pt x="1030814" y="652085"/>
                    <a:pt x="1061585" y="648793"/>
                    <a:pt x="1056091" y="614771"/>
                  </a:cubicBezTo>
                  <a:cubicBezTo>
                    <a:pt x="1050596" y="581846"/>
                    <a:pt x="1012133" y="555506"/>
                    <a:pt x="1023122" y="548922"/>
                  </a:cubicBezTo>
                  <a:cubicBezTo>
                    <a:pt x="1034112" y="541239"/>
                    <a:pt x="1046200" y="534654"/>
                    <a:pt x="1059387" y="539044"/>
                  </a:cubicBezTo>
                  <a:cubicBezTo>
                    <a:pt x="1073674" y="543434"/>
                    <a:pt x="1071475" y="540142"/>
                    <a:pt x="1073674" y="565384"/>
                  </a:cubicBezTo>
                  <a:cubicBezTo>
                    <a:pt x="1076970" y="590626"/>
                    <a:pt x="1091256" y="578554"/>
                    <a:pt x="1085762" y="604893"/>
                  </a:cubicBezTo>
                  <a:cubicBezTo>
                    <a:pt x="1078070" y="632330"/>
                    <a:pt x="1078070" y="637818"/>
                    <a:pt x="1067080" y="654280"/>
                  </a:cubicBezTo>
                  <a:cubicBezTo>
                    <a:pt x="1053893" y="669645"/>
                    <a:pt x="1054991" y="681717"/>
                    <a:pt x="1035210" y="686107"/>
                  </a:cubicBezTo>
                  <a:cubicBezTo>
                    <a:pt x="1015429" y="690497"/>
                    <a:pt x="1000044" y="687204"/>
                    <a:pt x="991252" y="700374"/>
                  </a:cubicBezTo>
                  <a:cubicBezTo>
                    <a:pt x="981361" y="712447"/>
                    <a:pt x="979164" y="723422"/>
                    <a:pt x="962680" y="745371"/>
                  </a:cubicBezTo>
                  <a:cubicBezTo>
                    <a:pt x="947294" y="767321"/>
                    <a:pt x="953888" y="767321"/>
                    <a:pt x="927513" y="769516"/>
                  </a:cubicBezTo>
                  <a:cubicBezTo>
                    <a:pt x="902238" y="770613"/>
                    <a:pt x="863774" y="779393"/>
                    <a:pt x="846191" y="754151"/>
                  </a:cubicBezTo>
                  <a:cubicBezTo>
                    <a:pt x="827509" y="727811"/>
                    <a:pt x="819817" y="737689"/>
                    <a:pt x="797838" y="727811"/>
                  </a:cubicBezTo>
                  <a:cubicBezTo>
                    <a:pt x="774759" y="717934"/>
                    <a:pt x="759374" y="714642"/>
                    <a:pt x="764869" y="695985"/>
                  </a:cubicBezTo>
                  <a:cubicBezTo>
                    <a:pt x="769264" y="677327"/>
                    <a:pt x="780254" y="668547"/>
                    <a:pt x="770364" y="653183"/>
                  </a:cubicBezTo>
                  <a:cubicBezTo>
                    <a:pt x="760473" y="637818"/>
                    <a:pt x="769264" y="623551"/>
                    <a:pt x="780254" y="603796"/>
                  </a:cubicBezTo>
                  <a:cubicBezTo>
                    <a:pt x="792343" y="585139"/>
                    <a:pt x="792343" y="586236"/>
                    <a:pt x="780254" y="559897"/>
                  </a:cubicBezTo>
                  <a:cubicBezTo>
                    <a:pt x="769264" y="532460"/>
                    <a:pt x="768166" y="542337"/>
                    <a:pt x="765968" y="517095"/>
                  </a:cubicBezTo>
                  <a:cubicBezTo>
                    <a:pt x="764869" y="491853"/>
                    <a:pt x="779155" y="490755"/>
                    <a:pt x="802233" y="513802"/>
                  </a:cubicBezTo>
                  <a:cubicBezTo>
                    <a:pt x="824212" y="537947"/>
                    <a:pt x="834103" y="501730"/>
                    <a:pt x="857180" y="487463"/>
                  </a:cubicBezTo>
                  <a:cubicBezTo>
                    <a:pt x="879159" y="473195"/>
                    <a:pt x="923117" y="483073"/>
                    <a:pt x="906633" y="449051"/>
                  </a:cubicBezTo>
                  <a:cubicBezTo>
                    <a:pt x="889050" y="416126"/>
                    <a:pt x="868170" y="405151"/>
                    <a:pt x="847290" y="419419"/>
                  </a:cubicBezTo>
                  <a:cubicBezTo>
                    <a:pt x="824212" y="433686"/>
                    <a:pt x="806629" y="452343"/>
                    <a:pt x="803332" y="429296"/>
                  </a:cubicBezTo>
                  <a:cubicBezTo>
                    <a:pt x="798936" y="405151"/>
                    <a:pt x="800035" y="407346"/>
                    <a:pt x="795639" y="381007"/>
                  </a:cubicBezTo>
                  <a:cubicBezTo>
                    <a:pt x="793441" y="355765"/>
                    <a:pt x="780254" y="362350"/>
                    <a:pt x="783551" y="341497"/>
                  </a:cubicBezTo>
                  <a:cubicBezTo>
                    <a:pt x="785749" y="321743"/>
                    <a:pt x="789045" y="304183"/>
                    <a:pt x="795639" y="296501"/>
                  </a:cubicBezTo>
                  <a:cubicBezTo>
                    <a:pt x="803332" y="287721"/>
                    <a:pt x="819817" y="247114"/>
                    <a:pt x="805530" y="258089"/>
                  </a:cubicBezTo>
                  <a:cubicBezTo>
                    <a:pt x="791243" y="269064"/>
                    <a:pt x="797838" y="275648"/>
                    <a:pt x="765968" y="293208"/>
                  </a:cubicBezTo>
                  <a:cubicBezTo>
                    <a:pt x="735197" y="310768"/>
                    <a:pt x="736296" y="318450"/>
                    <a:pt x="708822" y="310768"/>
                  </a:cubicBezTo>
                  <a:cubicBezTo>
                    <a:pt x="682448" y="301988"/>
                    <a:pt x="676953" y="295403"/>
                    <a:pt x="669260" y="281136"/>
                  </a:cubicBezTo>
                  <a:cubicBezTo>
                    <a:pt x="663766" y="266868"/>
                    <a:pt x="668161" y="263576"/>
                    <a:pt x="679150" y="248211"/>
                  </a:cubicBezTo>
                  <a:cubicBezTo>
                    <a:pt x="691239" y="232846"/>
                    <a:pt x="681349" y="228457"/>
                    <a:pt x="702229" y="193337"/>
                  </a:cubicBezTo>
                  <a:cubicBezTo>
                    <a:pt x="723108" y="158218"/>
                    <a:pt x="742890" y="116513"/>
                    <a:pt x="713218" y="126391"/>
                  </a:cubicBezTo>
                  <a:cubicBezTo>
                    <a:pt x="683547" y="136268"/>
                    <a:pt x="683547" y="141755"/>
                    <a:pt x="662666" y="171387"/>
                  </a:cubicBezTo>
                  <a:cubicBezTo>
                    <a:pt x="642885" y="202117"/>
                    <a:pt x="618708" y="203215"/>
                    <a:pt x="627500" y="227359"/>
                  </a:cubicBezTo>
                  <a:cubicBezTo>
                    <a:pt x="637391" y="251504"/>
                    <a:pt x="653875" y="239431"/>
                    <a:pt x="649479" y="264673"/>
                  </a:cubicBezTo>
                  <a:cubicBezTo>
                    <a:pt x="645083" y="291013"/>
                    <a:pt x="632995" y="281136"/>
                    <a:pt x="630797" y="320645"/>
                  </a:cubicBezTo>
                  <a:cubicBezTo>
                    <a:pt x="629698" y="360155"/>
                    <a:pt x="639589" y="349180"/>
                    <a:pt x="626401" y="381007"/>
                  </a:cubicBezTo>
                  <a:cubicBezTo>
                    <a:pt x="614313" y="413931"/>
                    <a:pt x="601125" y="422711"/>
                    <a:pt x="594532" y="452343"/>
                  </a:cubicBezTo>
                  <a:cubicBezTo>
                    <a:pt x="585740" y="481975"/>
                    <a:pt x="584641" y="471000"/>
                    <a:pt x="576948" y="524777"/>
                  </a:cubicBezTo>
                  <a:cubicBezTo>
                    <a:pt x="569256" y="578554"/>
                    <a:pt x="518704" y="666352"/>
                    <a:pt x="468153" y="749761"/>
                  </a:cubicBezTo>
                  <a:cubicBezTo>
                    <a:pt x="416502" y="830975"/>
                    <a:pt x="412106" y="863899"/>
                    <a:pt x="382434" y="872679"/>
                  </a:cubicBezTo>
                  <a:cubicBezTo>
                    <a:pt x="352763" y="880362"/>
                    <a:pt x="352763" y="893532"/>
                    <a:pt x="331883" y="899019"/>
                  </a:cubicBezTo>
                  <a:cubicBezTo>
                    <a:pt x="312102" y="906701"/>
                    <a:pt x="320893" y="917676"/>
                    <a:pt x="307706" y="945113"/>
                  </a:cubicBezTo>
                  <a:cubicBezTo>
                    <a:pt x="295618" y="971453"/>
                    <a:pt x="300013" y="980233"/>
                    <a:pt x="316497" y="994500"/>
                  </a:cubicBezTo>
                  <a:cubicBezTo>
                    <a:pt x="331883" y="1008767"/>
                    <a:pt x="336279" y="1009865"/>
                    <a:pt x="357158" y="1031815"/>
                  </a:cubicBezTo>
                  <a:cubicBezTo>
                    <a:pt x="376939" y="1054861"/>
                    <a:pt x="389028" y="1070226"/>
                    <a:pt x="420897" y="1083396"/>
                  </a:cubicBezTo>
                  <a:cubicBezTo>
                    <a:pt x="452767" y="1095468"/>
                    <a:pt x="452767" y="1087786"/>
                    <a:pt x="487934" y="1088883"/>
                  </a:cubicBezTo>
                  <a:cubicBezTo>
                    <a:pt x="523100" y="1089981"/>
                    <a:pt x="504418" y="1118516"/>
                    <a:pt x="480241" y="1116321"/>
                  </a:cubicBezTo>
                  <a:cubicBezTo>
                    <a:pt x="456064" y="1113028"/>
                    <a:pt x="452767" y="1152538"/>
                    <a:pt x="430788" y="1136075"/>
                  </a:cubicBezTo>
                  <a:cubicBezTo>
                    <a:pt x="411007" y="1119613"/>
                    <a:pt x="418700" y="1107541"/>
                    <a:pt x="400018" y="1094371"/>
                  </a:cubicBezTo>
                  <a:cubicBezTo>
                    <a:pt x="381336" y="1082299"/>
                    <a:pt x="372544" y="1064739"/>
                    <a:pt x="356060" y="1050472"/>
                  </a:cubicBezTo>
                  <a:cubicBezTo>
                    <a:pt x="338476" y="1036204"/>
                    <a:pt x="320893" y="1019742"/>
                    <a:pt x="301112" y="1014255"/>
                  </a:cubicBezTo>
                  <a:cubicBezTo>
                    <a:pt x="279133" y="1009865"/>
                    <a:pt x="278034" y="991207"/>
                    <a:pt x="258253" y="995597"/>
                  </a:cubicBezTo>
                  <a:cubicBezTo>
                    <a:pt x="238472" y="998890"/>
                    <a:pt x="218691" y="1024132"/>
                    <a:pt x="239571" y="1036204"/>
                  </a:cubicBezTo>
                  <a:cubicBezTo>
                    <a:pt x="259352" y="1049374"/>
                    <a:pt x="289024" y="1050472"/>
                    <a:pt x="302211" y="1077909"/>
                  </a:cubicBezTo>
                  <a:cubicBezTo>
                    <a:pt x="314300" y="1104248"/>
                    <a:pt x="314300" y="1108638"/>
                    <a:pt x="342872" y="1116321"/>
                  </a:cubicBezTo>
                  <a:cubicBezTo>
                    <a:pt x="371445" y="1121808"/>
                    <a:pt x="378039" y="1153635"/>
                    <a:pt x="357158" y="1148148"/>
                  </a:cubicBezTo>
                  <a:cubicBezTo>
                    <a:pt x="337378" y="1143758"/>
                    <a:pt x="314300" y="1136075"/>
                    <a:pt x="293420" y="1117418"/>
                  </a:cubicBezTo>
                  <a:cubicBezTo>
                    <a:pt x="273639" y="1098761"/>
                    <a:pt x="263748" y="1071324"/>
                    <a:pt x="235175" y="1063641"/>
                  </a:cubicBezTo>
                  <a:cubicBezTo>
                    <a:pt x="206602" y="1054861"/>
                    <a:pt x="184623" y="1043887"/>
                    <a:pt x="167040" y="1062544"/>
                  </a:cubicBezTo>
                  <a:cubicBezTo>
                    <a:pt x="150556" y="1080104"/>
                    <a:pt x="137369" y="1107541"/>
                    <a:pt x="165942" y="1118516"/>
                  </a:cubicBezTo>
                  <a:cubicBezTo>
                    <a:pt x="194514" y="1129490"/>
                    <a:pt x="215394" y="1108638"/>
                    <a:pt x="238472" y="1136075"/>
                  </a:cubicBezTo>
                  <a:cubicBezTo>
                    <a:pt x="261550" y="1162415"/>
                    <a:pt x="264847" y="1162415"/>
                    <a:pt x="283529" y="1160220"/>
                  </a:cubicBezTo>
                  <a:cubicBezTo>
                    <a:pt x="302211" y="1156928"/>
                    <a:pt x="318695" y="1150343"/>
                    <a:pt x="309904" y="1171195"/>
                  </a:cubicBezTo>
                  <a:cubicBezTo>
                    <a:pt x="302211" y="1190950"/>
                    <a:pt x="283529" y="1209607"/>
                    <a:pt x="308805" y="1215094"/>
                  </a:cubicBezTo>
                  <a:cubicBezTo>
                    <a:pt x="334081" y="1220581"/>
                    <a:pt x="338476" y="1211802"/>
                    <a:pt x="358258" y="1220581"/>
                  </a:cubicBezTo>
                  <a:cubicBezTo>
                    <a:pt x="376939" y="1230459"/>
                    <a:pt x="420897" y="1231556"/>
                    <a:pt x="396721" y="1252408"/>
                  </a:cubicBezTo>
                  <a:cubicBezTo>
                    <a:pt x="372544" y="1272163"/>
                    <a:pt x="359357" y="1283138"/>
                    <a:pt x="338476" y="1277651"/>
                  </a:cubicBezTo>
                  <a:cubicBezTo>
                    <a:pt x="315399" y="1269968"/>
                    <a:pt x="313201" y="1249116"/>
                    <a:pt x="297816" y="1234849"/>
                  </a:cubicBezTo>
                  <a:cubicBezTo>
                    <a:pt x="281331" y="1220581"/>
                    <a:pt x="283529" y="1204119"/>
                    <a:pt x="251660" y="1190950"/>
                  </a:cubicBezTo>
                  <a:cubicBezTo>
                    <a:pt x="220889" y="1177780"/>
                    <a:pt x="231879" y="1164610"/>
                    <a:pt x="201108" y="1152538"/>
                  </a:cubicBezTo>
                  <a:cubicBezTo>
                    <a:pt x="171436" y="1141563"/>
                    <a:pt x="129676" y="1152538"/>
                    <a:pt x="97807" y="1161317"/>
                  </a:cubicBezTo>
                  <a:cubicBezTo>
                    <a:pt x="65937" y="1169000"/>
                    <a:pt x="20880" y="1176682"/>
                    <a:pt x="48354" y="1213997"/>
                  </a:cubicBezTo>
                  <a:cubicBezTo>
                    <a:pt x="74728" y="1250214"/>
                    <a:pt x="103301" y="1240336"/>
                    <a:pt x="126379" y="1250214"/>
                  </a:cubicBezTo>
                  <a:cubicBezTo>
                    <a:pt x="148358" y="1260091"/>
                    <a:pt x="151655" y="1268871"/>
                    <a:pt x="175832" y="1285333"/>
                  </a:cubicBezTo>
                  <a:cubicBezTo>
                    <a:pt x="200009" y="1300698"/>
                    <a:pt x="203306" y="1318257"/>
                    <a:pt x="221988" y="1298503"/>
                  </a:cubicBezTo>
                  <a:cubicBezTo>
                    <a:pt x="240670" y="1276553"/>
                    <a:pt x="261550" y="1252408"/>
                    <a:pt x="278034" y="1266676"/>
                  </a:cubicBezTo>
                  <a:cubicBezTo>
                    <a:pt x="293420" y="1280943"/>
                    <a:pt x="296716" y="1291918"/>
                    <a:pt x="314300" y="1296308"/>
                  </a:cubicBezTo>
                  <a:cubicBezTo>
                    <a:pt x="326388" y="1303990"/>
                    <a:pt x="351664" y="1317160"/>
                    <a:pt x="338476" y="1321550"/>
                  </a:cubicBezTo>
                  <a:close/>
                </a:path>
              </a:pathLst>
            </a:custGeom>
            <a:solidFill>
              <a:srgbClr val="ECE8E4"/>
            </a:solidFill>
            <a:ln w="54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DK" sz="2400"/>
            </a:p>
          </p:txBody>
        </p:sp>
        <p:sp>
          <p:nvSpPr>
            <p:cNvPr id="469" name="Freeform 468">
              <a:extLst>
                <a:ext uri="{FF2B5EF4-FFF2-40B4-BE49-F238E27FC236}">
                  <a16:creationId xmlns:a16="http://schemas.microsoft.com/office/drawing/2014/main" id="{1694F90D-7A5B-8018-9290-501C3C69A547}"/>
                </a:ext>
              </a:extLst>
            </p:cNvPr>
            <p:cNvSpPr/>
            <p:nvPr/>
          </p:nvSpPr>
          <p:spPr>
            <a:xfrm>
              <a:off x="8656372" y="2410346"/>
              <a:ext cx="3869436" cy="5202210"/>
            </a:xfrm>
            <a:custGeom>
              <a:avLst/>
              <a:gdLst>
                <a:gd name="connsiteX0" fmla="*/ 702278 w 3869436"/>
                <a:gd name="connsiteY0" fmla="*/ 5013030 h 5202210"/>
                <a:gd name="connsiteX1" fmla="*/ 753929 w 3869436"/>
                <a:gd name="connsiteY1" fmla="*/ 5006445 h 5202210"/>
                <a:gd name="connsiteX2" fmla="*/ 756127 w 3869436"/>
                <a:gd name="connsiteY2" fmla="*/ 5005348 h 5202210"/>
                <a:gd name="connsiteX3" fmla="*/ 823163 w 3869436"/>
                <a:gd name="connsiteY3" fmla="*/ 5006445 h 5202210"/>
                <a:gd name="connsiteX4" fmla="*/ 868220 w 3869436"/>
                <a:gd name="connsiteY4" fmla="*/ 5014127 h 5202210"/>
                <a:gd name="connsiteX5" fmla="*/ 875913 w 3869436"/>
                <a:gd name="connsiteY5" fmla="*/ 5014127 h 5202210"/>
                <a:gd name="connsiteX6" fmla="*/ 903386 w 3869436"/>
                <a:gd name="connsiteY6" fmla="*/ 5000957 h 5202210"/>
                <a:gd name="connsiteX7" fmla="*/ 914376 w 3869436"/>
                <a:gd name="connsiteY7" fmla="*/ 4988885 h 5202210"/>
                <a:gd name="connsiteX8" fmla="*/ 1003391 w 3869436"/>
                <a:gd name="connsiteY8" fmla="*/ 4999860 h 5202210"/>
                <a:gd name="connsiteX9" fmla="*/ 1075921 w 3869436"/>
                <a:gd name="connsiteY9" fmla="*/ 5000957 h 5202210"/>
                <a:gd name="connsiteX10" fmla="*/ 1094603 w 3869436"/>
                <a:gd name="connsiteY10" fmla="*/ 4995470 h 5202210"/>
                <a:gd name="connsiteX11" fmla="*/ 1125374 w 3869436"/>
                <a:gd name="connsiteY11" fmla="*/ 4974618 h 5202210"/>
                <a:gd name="connsiteX12" fmla="*/ 1144056 w 3869436"/>
                <a:gd name="connsiteY12" fmla="*/ 4957058 h 5202210"/>
                <a:gd name="connsiteX13" fmla="*/ 1152847 w 3869436"/>
                <a:gd name="connsiteY13" fmla="*/ 4944986 h 5202210"/>
                <a:gd name="connsiteX14" fmla="*/ 1128671 w 3869436"/>
                <a:gd name="connsiteY14" fmla="*/ 4937304 h 5202210"/>
                <a:gd name="connsiteX15" fmla="*/ 1104494 w 3869436"/>
                <a:gd name="connsiteY15" fmla="*/ 4947181 h 5202210"/>
                <a:gd name="connsiteX16" fmla="*/ 1053942 w 3869436"/>
                <a:gd name="connsiteY16" fmla="*/ 4951571 h 5202210"/>
                <a:gd name="connsiteX17" fmla="*/ 1045151 w 3869436"/>
                <a:gd name="connsiteY17" fmla="*/ 4926329 h 5202210"/>
                <a:gd name="connsiteX18" fmla="*/ 1101197 w 3869436"/>
                <a:gd name="connsiteY18" fmla="*/ 4873650 h 5202210"/>
                <a:gd name="connsiteX19" fmla="*/ 1183619 w 3869436"/>
                <a:gd name="connsiteY19" fmla="*/ 4894501 h 5202210"/>
                <a:gd name="connsiteX20" fmla="*/ 1216587 w 3869436"/>
                <a:gd name="connsiteY20" fmla="*/ 4909866 h 5202210"/>
                <a:gd name="connsiteX21" fmla="*/ 1251753 w 3869436"/>
                <a:gd name="connsiteY21" fmla="*/ 4920841 h 5202210"/>
                <a:gd name="connsiteX22" fmla="*/ 1263842 w 3869436"/>
                <a:gd name="connsiteY22" fmla="*/ 4928524 h 5202210"/>
                <a:gd name="connsiteX23" fmla="*/ 1302305 w 3869436"/>
                <a:gd name="connsiteY23" fmla="*/ 4936206 h 5202210"/>
                <a:gd name="connsiteX24" fmla="*/ 1410002 w 3869436"/>
                <a:gd name="connsiteY24" fmla="*/ 4954863 h 5202210"/>
                <a:gd name="connsiteX25" fmla="*/ 1441872 w 3869436"/>
                <a:gd name="connsiteY25" fmla="*/ 4966936 h 5202210"/>
                <a:gd name="connsiteX26" fmla="*/ 1483632 w 3869436"/>
                <a:gd name="connsiteY26" fmla="*/ 4988885 h 5202210"/>
                <a:gd name="connsiteX27" fmla="*/ 1529788 w 3869436"/>
                <a:gd name="connsiteY27" fmla="*/ 5013030 h 5202210"/>
                <a:gd name="connsiteX28" fmla="*/ 1555063 w 3869436"/>
                <a:gd name="connsiteY28" fmla="*/ 5020712 h 5202210"/>
                <a:gd name="connsiteX29" fmla="*/ 1605615 w 3869436"/>
                <a:gd name="connsiteY29" fmla="*/ 5065709 h 5202210"/>
                <a:gd name="connsiteX30" fmla="*/ 1626495 w 3869436"/>
                <a:gd name="connsiteY30" fmla="*/ 5047052 h 5202210"/>
                <a:gd name="connsiteX31" fmla="*/ 1631990 w 3869436"/>
                <a:gd name="connsiteY31" fmla="*/ 5032785 h 5202210"/>
                <a:gd name="connsiteX32" fmla="*/ 1650672 w 3869436"/>
                <a:gd name="connsiteY32" fmla="*/ 5004250 h 5202210"/>
                <a:gd name="connsiteX33" fmla="*/ 1695729 w 3869436"/>
                <a:gd name="connsiteY33" fmla="*/ 5010835 h 5202210"/>
                <a:gd name="connsiteX34" fmla="*/ 1749577 w 3869436"/>
                <a:gd name="connsiteY34" fmla="*/ 5025102 h 5202210"/>
                <a:gd name="connsiteX35" fmla="*/ 1770457 w 3869436"/>
                <a:gd name="connsiteY35" fmla="*/ 5044857 h 5202210"/>
                <a:gd name="connsiteX36" fmla="*/ 1773754 w 3869436"/>
                <a:gd name="connsiteY36" fmla="*/ 5055832 h 5202210"/>
                <a:gd name="connsiteX37" fmla="*/ 1789139 w 3869436"/>
                <a:gd name="connsiteY37" fmla="*/ 5065709 h 5202210"/>
                <a:gd name="connsiteX38" fmla="*/ 1797931 w 3869436"/>
                <a:gd name="connsiteY38" fmla="*/ 5065709 h 5202210"/>
                <a:gd name="connsiteX39" fmla="*/ 1817712 w 3869436"/>
                <a:gd name="connsiteY39" fmla="*/ 5103023 h 5202210"/>
                <a:gd name="connsiteX40" fmla="*/ 1817712 w 3869436"/>
                <a:gd name="connsiteY40" fmla="*/ 5107413 h 5202210"/>
                <a:gd name="connsiteX41" fmla="*/ 1816613 w 3869436"/>
                <a:gd name="connsiteY41" fmla="*/ 5129363 h 5202210"/>
                <a:gd name="connsiteX42" fmla="*/ 1821009 w 3869436"/>
                <a:gd name="connsiteY42" fmla="*/ 5139241 h 5202210"/>
                <a:gd name="connsiteX43" fmla="*/ 1828701 w 3869436"/>
                <a:gd name="connsiteY43" fmla="*/ 5135948 h 5202210"/>
                <a:gd name="connsiteX44" fmla="*/ 1862769 w 3869436"/>
                <a:gd name="connsiteY44" fmla="*/ 5119485 h 5202210"/>
                <a:gd name="connsiteX45" fmla="*/ 1884748 w 3869436"/>
                <a:gd name="connsiteY45" fmla="*/ 5129363 h 5202210"/>
                <a:gd name="connsiteX46" fmla="*/ 1873758 w 3869436"/>
                <a:gd name="connsiteY46" fmla="*/ 5169970 h 5202210"/>
                <a:gd name="connsiteX47" fmla="*/ 1869362 w 3869436"/>
                <a:gd name="connsiteY47" fmla="*/ 5189725 h 5202210"/>
                <a:gd name="connsiteX48" fmla="*/ 1885847 w 3869436"/>
                <a:gd name="connsiteY48" fmla="*/ 5201797 h 5202210"/>
                <a:gd name="connsiteX49" fmla="*/ 1913320 w 3869436"/>
                <a:gd name="connsiteY49" fmla="*/ 5183140 h 5202210"/>
                <a:gd name="connsiteX50" fmla="*/ 1924310 w 3869436"/>
                <a:gd name="connsiteY50" fmla="*/ 5167775 h 5202210"/>
                <a:gd name="connsiteX51" fmla="*/ 1942992 w 3869436"/>
                <a:gd name="connsiteY51" fmla="*/ 5149118 h 5202210"/>
                <a:gd name="connsiteX52" fmla="*/ 1955080 w 3869436"/>
                <a:gd name="connsiteY52" fmla="*/ 5134851 h 5202210"/>
                <a:gd name="connsiteX53" fmla="*/ 1958378 w 3869436"/>
                <a:gd name="connsiteY53" fmla="*/ 5126071 h 5202210"/>
                <a:gd name="connsiteX54" fmla="*/ 1978159 w 3869436"/>
                <a:gd name="connsiteY54" fmla="*/ 5095341 h 5202210"/>
                <a:gd name="connsiteX55" fmla="*/ 1980357 w 3869436"/>
                <a:gd name="connsiteY55" fmla="*/ 5064611 h 5202210"/>
                <a:gd name="connsiteX56" fmla="*/ 1970466 w 3869436"/>
                <a:gd name="connsiteY56" fmla="*/ 5054734 h 5202210"/>
                <a:gd name="connsiteX57" fmla="*/ 1952883 w 3869436"/>
                <a:gd name="connsiteY57" fmla="*/ 5028395 h 5202210"/>
                <a:gd name="connsiteX58" fmla="*/ 1958378 w 3869436"/>
                <a:gd name="connsiteY58" fmla="*/ 4997665 h 5202210"/>
                <a:gd name="connsiteX59" fmla="*/ 1983653 w 3869436"/>
                <a:gd name="connsiteY59" fmla="*/ 4985593 h 5202210"/>
                <a:gd name="connsiteX60" fmla="*/ 2002336 w 3869436"/>
                <a:gd name="connsiteY60" fmla="*/ 5004250 h 5202210"/>
                <a:gd name="connsiteX61" fmla="*/ 2008929 w 3869436"/>
                <a:gd name="connsiteY61" fmla="*/ 5021810 h 5202210"/>
                <a:gd name="connsiteX62" fmla="*/ 2016622 w 3869436"/>
                <a:gd name="connsiteY62" fmla="*/ 5025102 h 5202210"/>
                <a:gd name="connsiteX63" fmla="*/ 2027611 w 3869436"/>
                <a:gd name="connsiteY63" fmla="*/ 5017420 h 5202210"/>
                <a:gd name="connsiteX64" fmla="*/ 2042996 w 3869436"/>
                <a:gd name="connsiteY64" fmla="*/ 5006445 h 5202210"/>
                <a:gd name="connsiteX65" fmla="*/ 2107835 w 3869436"/>
                <a:gd name="connsiteY65" fmla="*/ 5022907 h 5202210"/>
                <a:gd name="connsiteX66" fmla="*/ 2173772 w 3869436"/>
                <a:gd name="connsiteY66" fmla="*/ 5032785 h 5202210"/>
                <a:gd name="connsiteX67" fmla="*/ 2190256 w 3869436"/>
                <a:gd name="connsiteY67" fmla="*/ 5034980 h 5202210"/>
                <a:gd name="connsiteX68" fmla="*/ 2191354 w 3869436"/>
                <a:gd name="connsiteY68" fmla="*/ 5053636 h 5202210"/>
                <a:gd name="connsiteX69" fmla="*/ 2193552 w 3869436"/>
                <a:gd name="connsiteY69" fmla="*/ 5072294 h 5202210"/>
                <a:gd name="connsiteX70" fmla="*/ 2226521 w 3869436"/>
                <a:gd name="connsiteY70" fmla="*/ 5118388 h 5202210"/>
                <a:gd name="connsiteX71" fmla="*/ 2232016 w 3869436"/>
                <a:gd name="connsiteY71" fmla="*/ 5127168 h 5202210"/>
                <a:gd name="connsiteX72" fmla="*/ 2267182 w 3869436"/>
                <a:gd name="connsiteY72" fmla="*/ 5118388 h 5202210"/>
                <a:gd name="connsiteX73" fmla="*/ 2272677 w 3869436"/>
                <a:gd name="connsiteY73" fmla="*/ 5116193 h 5202210"/>
                <a:gd name="connsiteX74" fmla="*/ 2345207 w 3869436"/>
                <a:gd name="connsiteY74" fmla="*/ 5109609 h 5202210"/>
                <a:gd name="connsiteX75" fmla="*/ 2348505 w 3869436"/>
                <a:gd name="connsiteY75" fmla="*/ 5111804 h 5202210"/>
                <a:gd name="connsiteX76" fmla="*/ 2362791 w 3869436"/>
                <a:gd name="connsiteY76" fmla="*/ 5097536 h 5202210"/>
                <a:gd name="connsiteX77" fmla="*/ 2372681 w 3869436"/>
                <a:gd name="connsiteY77" fmla="*/ 5084367 h 5202210"/>
                <a:gd name="connsiteX78" fmla="*/ 2396858 w 3869436"/>
                <a:gd name="connsiteY78" fmla="*/ 5074489 h 5202210"/>
                <a:gd name="connsiteX79" fmla="*/ 2407848 w 3869436"/>
                <a:gd name="connsiteY79" fmla="*/ 5070099 h 5202210"/>
                <a:gd name="connsiteX80" fmla="*/ 2417738 w 3869436"/>
                <a:gd name="connsiteY80" fmla="*/ 5056929 h 5202210"/>
                <a:gd name="connsiteX81" fmla="*/ 2443014 w 3869436"/>
                <a:gd name="connsiteY81" fmla="*/ 5034980 h 5202210"/>
                <a:gd name="connsiteX82" fmla="*/ 2472686 w 3869436"/>
                <a:gd name="connsiteY82" fmla="*/ 5032785 h 5202210"/>
                <a:gd name="connsiteX83" fmla="*/ 2490269 w 3869436"/>
                <a:gd name="connsiteY83" fmla="*/ 5030590 h 5202210"/>
                <a:gd name="connsiteX84" fmla="*/ 2499060 w 3869436"/>
                <a:gd name="connsiteY84" fmla="*/ 5013030 h 5202210"/>
                <a:gd name="connsiteX85" fmla="*/ 2514446 w 3869436"/>
                <a:gd name="connsiteY85" fmla="*/ 4986690 h 5202210"/>
                <a:gd name="connsiteX86" fmla="*/ 2561700 w 3869436"/>
                <a:gd name="connsiteY86" fmla="*/ 4982300 h 5202210"/>
                <a:gd name="connsiteX87" fmla="*/ 2586976 w 3869436"/>
                <a:gd name="connsiteY87" fmla="*/ 4983398 h 5202210"/>
                <a:gd name="connsiteX88" fmla="*/ 2637528 w 3869436"/>
                <a:gd name="connsiteY88" fmla="*/ 4969131 h 5202210"/>
                <a:gd name="connsiteX89" fmla="*/ 2651814 w 3869436"/>
                <a:gd name="connsiteY89" fmla="*/ 4961448 h 5202210"/>
                <a:gd name="connsiteX90" fmla="*/ 2710059 w 3869436"/>
                <a:gd name="connsiteY90" fmla="*/ 4953766 h 5202210"/>
                <a:gd name="connsiteX91" fmla="*/ 2736433 w 3869436"/>
                <a:gd name="connsiteY91" fmla="*/ 4952669 h 5202210"/>
                <a:gd name="connsiteX92" fmla="*/ 2759512 w 3869436"/>
                <a:gd name="connsiteY92" fmla="*/ 4948278 h 5202210"/>
                <a:gd name="connsiteX93" fmla="*/ 2769401 w 3869436"/>
                <a:gd name="connsiteY93" fmla="*/ 4948278 h 5202210"/>
                <a:gd name="connsiteX94" fmla="*/ 2771600 w 3869436"/>
                <a:gd name="connsiteY94" fmla="*/ 4947181 h 5202210"/>
                <a:gd name="connsiteX95" fmla="*/ 2755116 w 3869436"/>
                <a:gd name="connsiteY95" fmla="*/ 4927426 h 5202210"/>
                <a:gd name="connsiteX96" fmla="*/ 2750720 w 3869436"/>
                <a:gd name="connsiteY96" fmla="*/ 4923036 h 5202210"/>
                <a:gd name="connsiteX97" fmla="*/ 2744126 w 3869436"/>
                <a:gd name="connsiteY97" fmla="*/ 4901087 h 5202210"/>
                <a:gd name="connsiteX98" fmla="*/ 2768303 w 3869436"/>
                <a:gd name="connsiteY98" fmla="*/ 4869259 h 5202210"/>
                <a:gd name="connsiteX99" fmla="*/ 2789183 w 3869436"/>
                <a:gd name="connsiteY99" fmla="*/ 4870357 h 5202210"/>
                <a:gd name="connsiteX100" fmla="*/ 2795776 w 3869436"/>
                <a:gd name="connsiteY100" fmla="*/ 4892307 h 5202210"/>
                <a:gd name="connsiteX101" fmla="*/ 2796875 w 3869436"/>
                <a:gd name="connsiteY101" fmla="*/ 4896696 h 5202210"/>
                <a:gd name="connsiteX102" fmla="*/ 2832042 w 3869436"/>
                <a:gd name="connsiteY102" fmla="*/ 4895599 h 5202210"/>
                <a:gd name="connsiteX103" fmla="*/ 2899078 w 3869436"/>
                <a:gd name="connsiteY103" fmla="*/ 4914257 h 5202210"/>
                <a:gd name="connsiteX104" fmla="*/ 2911166 w 3869436"/>
                <a:gd name="connsiteY104" fmla="*/ 4925231 h 5202210"/>
                <a:gd name="connsiteX105" fmla="*/ 2935344 w 3869436"/>
                <a:gd name="connsiteY105" fmla="*/ 4937304 h 5202210"/>
                <a:gd name="connsiteX106" fmla="*/ 2957323 w 3869436"/>
                <a:gd name="connsiteY106" fmla="*/ 4924134 h 5202210"/>
                <a:gd name="connsiteX107" fmla="*/ 2981499 w 3869436"/>
                <a:gd name="connsiteY107" fmla="*/ 4907671 h 5202210"/>
                <a:gd name="connsiteX108" fmla="*/ 3036447 w 3869436"/>
                <a:gd name="connsiteY108" fmla="*/ 4941694 h 5202210"/>
                <a:gd name="connsiteX109" fmla="*/ 3039744 w 3869436"/>
                <a:gd name="connsiteY109" fmla="*/ 4965838 h 5202210"/>
                <a:gd name="connsiteX110" fmla="*/ 3046337 w 3869436"/>
                <a:gd name="connsiteY110" fmla="*/ 4982300 h 5202210"/>
                <a:gd name="connsiteX111" fmla="*/ 3115570 w 3869436"/>
                <a:gd name="connsiteY111" fmla="*/ 5031687 h 5202210"/>
                <a:gd name="connsiteX112" fmla="*/ 3122165 w 3869436"/>
                <a:gd name="connsiteY112" fmla="*/ 5039369 h 5202210"/>
                <a:gd name="connsiteX113" fmla="*/ 3161727 w 3869436"/>
                <a:gd name="connsiteY113" fmla="*/ 5011932 h 5202210"/>
                <a:gd name="connsiteX114" fmla="*/ 3168321 w 3869436"/>
                <a:gd name="connsiteY114" fmla="*/ 5000957 h 5202210"/>
                <a:gd name="connsiteX115" fmla="*/ 3159528 w 3869436"/>
                <a:gd name="connsiteY115" fmla="*/ 4991080 h 5202210"/>
                <a:gd name="connsiteX116" fmla="*/ 3139748 w 3869436"/>
                <a:gd name="connsiteY116" fmla="*/ 4968033 h 5202210"/>
                <a:gd name="connsiteX117" fmla="*/ 3150738 w 3869436"/>
                <a:gd name="connsiteY117" fmla="*/ 4928524 h 5202210"/>
                <a:gd name="connsiteX118" fmla="*/ 3166123 w 3869436"/>
                <a:gd name="connsiteY118" fmla="*/ 4902184 h 5202210"/>
                <a:gd name="connsiteX119" fmla="*/ 3139748 w 3869436"/>
                <a:gd name="connsiteY119" fmla="*/ 4879137 h 5202210"/>
                <a:gd name="connsiteX120" fmla="*/ 3114472 w 3869436"/>
                <a:gd name="connsiteY120" fmla="*/ 4874747 h 5202210"/>
                <a:gd name="connsiteX121" fmla="*/ 3088097 w 3869436"/>
                <a:gd name="connsiteY121" fmla="*/ 4857187 h 5202210"/>
                <a:gd name="connsiteX122" fmla="*/ 3118868 w 3869436"/>
                <a:gd name="connsiteY122" fmla="*/ 4807801 h 5202210"/>
                <a:gd name="connsiteX123" fmla="*/ 3129857 w 3869436"/>
                <a:gd name="connsiteY123" fmla="*/ 4784753 h 5202210"/>
                <a:gd name="connsiteX124" fmla="*/ 3081503 w 3869436"/>
                <a:gd name="connsiteY124" fmla="*/ 4730977 h 5202210"/>
                <a:gd name="connsiteX125" fmla="*/ 3019962 w 3869436"/>
                <a:gd name="connsiteY125" fmla="*/ 4614643 h 5202210"/>
                <a:gd name="connsiteX126" fmla="*/ 3090295 w 3869436"/>
                <a:gd name="connsiteY126" fmla="*/ 4541112 h 5202210"/>
                <a:gd name="connsiteX127" fmla="*/ 3113373 w 3869436"/>
                <a:gd name="connsiteY127" fmla="*/ 4524650 h 5202210"/>
                <a:gd name="connsiteX128" fmla="*/ 3157331 w 3869436"/>
                <a:gd name="connsiteY128" fmla="*/ 4487335 h 5202210"/>
                <a:gd name="connsiteX129" fmla="*/ 3218872 w 3869436"/>
                <a:gd name="connsiteY129" fmla="*/ 4463191 h 5202210"/>
                <a:gd name="connsiteX130" fmla="*/ 3249643 w 3869436"/>
                <a:gd name="connsiteY130" fmla="*/ 4454411 h 5202210"/>
                <a:gd name="connsiteX131" fmla="*/ 3295798 w 3869436"/>
                <a:gd name="connsiteY131" fmla="*/ 4380879 h 5202210"/>
                <a:gd name="connsiteX132" fmla="*/ 3297997 w 3869436"/>
                <a:gd name="connsiteY132" fmla="*/ 4341370 h 5202210"/>
                <a:gd name="connsiteX133" fmla="*/ 3304590 w 3869436"/>
                <a:gd name="connsiteY133" fmla="*/ 4300763 h 5202210"/>
                <a:gd name="connsiteX134" fmla="*/ 3380418 w 3869436"/>
                <a:gd name="connsiteY134" fmla="*/ 4291983 h 5202210"/>
                <a:gd name="connsiteX135" fmla="*/ 3403496 w 3869436"/>
                <a:gd name="connsiteY135" fmla="*/ 4301860 h 5202210"/>
                <a:gd name="connsiteX136" fmla="*/ 3435366 w 3869436"/>
                <a:gd name="connsiteY136" fmla="*/ 4306251 h 5202210"/>
                <a:gd name="connsiteX137" fmla="*/ 3449651 w 3869436"/>
                <a:gd name="connsiteY137" fmla="*/ 4243694 h 5202210"/>
                <a:gd name="connsiteX138" fmla="*/ 3443058 w 3869436"/>
                <a:gd name="connsiteY138" fmla="*/ 4221744 h 5202210"/>
                <a:gd name="connsiteX139" fmla="*/ 3443058 w 3869436"/>
                <a:gd name="connsiteY139" fmla="*/ 4164675 h 5202210"/>
                <a:gd name="connsiteX140" fmla="*/ 3461739 w 3869436"/>
                <a:gd name="connsiteY140" fmla="*/ 4142725 h 5202210"/>
                <a:gd name="connsiteX141" fmla="*/ 3445255 w 3869436"/>
                <a:gd name="connsiteY141" fmla="*/ 4121873 h 5202210"/>
                <a:gd name="connsiteX142" fmla="*/ 3429871 w 3869436"/>
                <a:gd name="connsiteY142" fmla="*/ 4111996 h 5202210"/>
                <a:gd name="connsiteX143" fmla="*/ 3378220 w 3869436"/>
                <a:gd name="connsiteY143" fmla="*/ 4059317 h 5202210"/>
                <a:gd name="connsiteX144" fmla="*/ 3338658 w 3869436"/>
                <a:gd name="connsiteY144" fmla="*/ 4037367 h 5202210"/>
                <a:gd name="connsiteX145" fmla="*/ 3328767 w 3869436"/>
                <a:gd name="connsiteY145" fmla="*/ 4039562 h 5202210"/>
                <a:gd name="connsiteX146" fmla="*/ 3263929 w 3869436"/>
                <a:gd name="connsiteY146" fmla="*/ 4005540 h 5202210"/>
                <a:gd name="connsiteX147" fmla="*/ 3261731 w 3869436"/>
                <a:gd name="connsiteY147" fmla="*/ 4000052 h 5202210"/>
                <a:gd name="connsiteX148" fmla="*/ 3218872 w 3869436"/>
                <a:gd name="connsiteY148" fmla="*/ 3955056 h 5202210"/>
                <a:gd name="connsiteX149" fmla="*/ 3145243 w 3869436"/>
                <a:gd name="connsiteY149" fmla="*/ 3892499 h 5202210"/>
                <a:gd name="connsiteX150" fmla="*/ 3095790 w 3869436"/>
                <a:gd name="connsiteY150" fmla="*/ 3832138 h 5202210"/>
                <a:gd name="connsiteX151" fmla="*/ 3067218 w 3869436"/>
                <a:gd name="connsiteY151" fmla="*/ 3804700 h 5202210"/>
                <a:gd name="connsiteX152" fmla="*/ 3037545 w 3869436"/>
                <a:gd name="connsiteY152" fmla="*/ 3798116 h 5202210"/>
                <a:gd name="connsiteX153" fmla="*/ 3003478 w 3869436"/>
                <a:gd name="connsiteY153" fmla="*/ 3802505 h 5202210"/>
                <a:gd name="connsiteX154" fmla="*/ 2951828 w 3869436"/>
                <a:gd name="connsiteY154" fmla="*/ 3749826 h 5202210"/>
                <a:gd name="connsiteX155" fmla="*/ 2940839 w 3869436"/>
                <a:gd name="connsiteY155" fmla="*/ 3726779 h 5202210"/>
                <a:gd name="connsiteX156" fmla="*/ 2917760 w 3869436"/>
                <a:gd name="connsiteY156" fmla="*/ 3698244 h 5202210"/>
                <a:gd name="connsiteX157" fmla="*/ 2893583 w 3869436"/>
                <a:gd name="connsiteY157" fmla="*/ 3653248 h 5202210"/>
                <a:gd name="connsiteX158" fmla="*/ 2835338 w 3869436"/>
                <a:gd name="connsiteY158" fmla="*/ 3567644 h 5202210"/>
                <a:gd name="connsiteX159" fmla="*/ 2814459 w 3869436"/>
                <a:gd name="connsiteY159" fmla="*/ 3512770 h 5202210"/>
                <a:gd name="connsiteX160" fmla="*/ 2815558 w 3869436"/>
                <a:gd name="connsiteY160" fmla="*/ 3502892 h 5202210"/>
                <a:gd name="connsiteX161" fmla="*/ 2843032 w 3869436"/>
                <a:gd name="connsiteY161" fmla="*/ 3454604 h 5202210"/>
                <a:gd name="connsiteX162" fmla="*/ 2850724 w 3869436"/>
                <a:gd name="connsiteY162" fmla="*/ 3446921 h 5202210"/>
                <a:gd name="connsiteX163" fmla="*/ 2830944 w 3869436"/>
                <a:gd name="connsiteY163" fmla="*/ 3388755 h 5202210"/>
                <a:gd name="connsiteX164" fmla="*/ 2756215 w 3869436"/>
                <a:gd name="connsiteY164" fmla="*/ 3337173 h 5202210"/>
                <a:gd name="connsiteX165" fmla="*/ 2725443 w 3869436"/>
                <a:gd name="connsiteY165" fmla="*/ 3317418 h 5202210"/>
                <a:gd name="connsiteX166" fmla="*/ 2708959 w 3869436"/>
                <a:gd name="connsiteY166" fmla="*/ 3277908 h 5202210"/>
                <a:gd name="connsiteX167" fmla="*/ 2707861 w 3869436"/>
                <a:gd name="connsiteY167" fmla="*/ 3268031 h 5202210"/>
                <a:gd name="connsiteX168" fmla="*/ 2672695 w 3869436"/>
                <a:gd name="connsiteY168" fmla="*/ 3225229 h 5202210"/>
                <a:gd name="connsiteX169" fmla="*/ 2652913 w 3869436"/>
                <a:gd name="connsiteY169" fmla="*/ 3141821 h 5202210"/>
                <a:gd name="connsiteX170" fmla="*/ 2669397 w 3869436"/>
                <a:gd name="connsiteY170" fmla="*/ 3131943 h 5202210"/>
                <a:gd name="connsiteX171" fmla="*/ 2693575 w 3869436"/>
                <a:gd name="connsiteY171" fmla="*/ 3162673 h 5202210"/>
                <a:gd name="connsiteX172" fmla="*/ 2695772 w 3869436"/>
                <a:gd name="connsiteY172" fmla="*/ 3168160 h 5202210"/>
                <a:gd name="connsiteX173" fmla="*/ 2710059 w 3869436"/>
                <a:gd name="connsiteY173" fmla="*/ 3182428 h 5202210"/>
                <a:gd name="connsiteX174" fmla="*/ 2728741 w 3869436"/>
                <a:gd name="connsiteY174" fmla="*/ 3202182 h 5202210"/>
                <a:gd name="connsiteX175" fmla="*/ 2769401 w 3869436"/>
                <a:gd name="connsiteY175" fmla="*/ 3246082 h 5202210"/>
                <a:gd name="connsiteX176" fmla="*/ 2769401 w 3869436"/>
                <a:gd name="connsiteY176" fmla="*/ 3220839 h 5202210"/>
                <a:gd name="connsiteX177" fmla="*/ 2772699 w 3869436"/>
                <a:gd name="connsiteY177" fmla="*/ 3175843 h 5202210"/>
                <a:gd name="connsiteX178" fmla="*/ 2819954 w 3869436"/>
                <a:gd name="connsiteY178" fmla="*/ 3116579 h 5202210"/>
                <a:gd name="connsiteX179" fmla="*/ 2893583 w 3869436"/>
                <a:gd name="connsiteY179" fmla="*/ 3081459 h 5202210"/>
                <a:gd name="connsiteX180" fmla="*/ 2937541 w 3869436"/>
                <a:gd name="connsiteY180" fmla="*/ 3066094 h 5202210"/>
                <a:gd name="connsiteX181" fmla="*/ 2962818 w 3869436"/>
                <a:gd name="connsiteY181" fmla="*/ 3052924 h 5202210"/>
                <a:gd name="connsiteX182" fmla="*/ 3001281 w 3869436"/>
                <a:gd name="connsiteY182" fmla="*/ 3061704 h 5202210"/>
                <a:gd name="connsiteX183" fmla="*/ 3024358 w 3869436"/>
                <a:gd name="connsiteY183" fmla="*/ 3073777 h 5202210"/>
                <a:gd name="connsiteX184" fmla="*/ 3034249 w 3869436"/>
                <a:gd name="connsiteY184" fmla="*/ 3072679 h 5202210"/>
                <a:gd name="connsiteX185" fmla="*/ 3036447 w 3869436"/>
                <a:gd name="connsiteY185" fmla="*/ 3056217 h 5202210"/>
                <a:gd name="connsiteX186" fmla="*/ 3038644 w 3869436"/>
                <a:gd name="connsiteY186" fmla="*/ 3033170 h 5202210"/>
                <a:gd name="connsiteX187" fmla="*/ 3113373 w 3869436"/>
                <a:gd name="connsiteY187" fmla="*/ 2999148 h 5202210"/>
                <a:gd name="connsiteX188" fmla="*/ 3140847 w 3869436"/>
                <a:gd name="connsiteY188" fmla="*/ 2973906 h 5202210"/>
                <a:gd name="connsiteX189" fmla="*/ 3157331 w 3869436"/>
                <a:gd name="connsiteY189" fmla="*/ 2954151 h 5202210"/>
                <a:gd name="connsiteX190" fmla="*/ 3170518 w 3869436"/>
                <a:gd name="connsiteY190" fmla="*/ 2943176 h 5202210"/>
                <a:gd name="connsiteX191" fmla="*/ 3177113 w 3869436"/>
                <a:gd name="connsiteY191" fmla="*/ 2928909 h 5202210"/>
                <a:gd name="connsiteX192" fmla="*/ 3218872 w 3869436"/>
                <a:gd name="connsiteY192" fmla="*/ 2919032 h 5202210"/>
                <a:gd name="connsiteX193" fmla="*/ 3229861 w 3869436"/>
                <a:gd name="connsiteY193" fmla="*/ 2922324 h 5202210"/>
                <a:gd name="connsiteX194" fmla="*/ 3238654 w 3869436"/>
                <a:gd name="connsiteY194" fmla="*/ 2922324 h 5202210"/>
                <a:gd name="connsiteX195" fmla="*/ 3241950 w 3869436"/>
                <a:gd name="connsiteY195" fmla="*/ 2902569 h 5202210"/>
                <a:gd name="connsiteX196" fmla="*/ 3243050 w 3869436"/>
                <a:gd name="connsiteY196" fmla="*/ 2890497 h 5202210"/>
                <a:gd name="connsiteX197" fmla="*/ 3297997 w 3869436"/>
                <a:gd name="connsiteY197" fmla="*/ 2845500 h 5202210"/>
                <a:gd name="connsiteX198" fmla="*/ 3356241 w 3869436"/>
                <a:gd name="connsiteY198" fmla="*/ 2844402 h 5202210"/>
                <a:gd name="connsiteX199" fmla="*/ 3382616 w 3869436"/>
                <a:gd name="connsiteY199" fmla="*/ 2843305 h 5202210"/>
                <a:gd name="connsiteX200" fmla="*/ 3394704 w 3869436"/>
                <a:gd name="connsiteY200" fmla="*/ 2818063 h 5202210"/>
                <a:gd name="connsiteX201" fmla="*/ 3443058 w 3869436"/>
                <a:gd name="connsiteY201" fmla="*/ 2779651 h 5202210"/>
                <a:gd name="connsiteX202" fmla="*/ 3471630 w 3869436"/>
                <a:gd name="connsiteY202" fmla="*/ 2776359 h 5202210"/>
                <a:gd name="connsiteX203" fmla="*/ 3484818 w 3869436"/>
                <a:gd name="connsiteY203" fmla="*/ 2773066 h 5202210"/>
                <a:gd name="connsiteX204" fmla="*/ 3516687 w 3869436"/>
                <a:gd name="connsiteY204" fmla="*/ 2748922 h 5202210"/>
                <a:gd name="connsiteX205" fmla="*/ 3529875 w 3869436"/>
                <a:gd name="connsiteY205" fmla="*/ 2734654 h 5202210"/>
                <a:gd name="connsiteX206" fmla="*/ 3562844 w 3869436"/>
                <a:gd name="connsiteY206" fmla="*/ 2722582 h 5202210"/>
                <a:gd name="connsiteX207" fmla="*/ 3579328 w 3869436"/>
                <a:gd name="connsiteY207" fmla="*/ 2717095 h 5202210"/>
                <a:gd name="connsiteX208" fmla="*/ 3604603 w 3869436"/>
                <a:gd name="connsiteY208" fmla="*/ 2712704 h 5202210"/>
                <a:gd name="connsiteX209" fmla="*/ 3618890 w 3869436"/>
                <a:gd name="connsiteY209" fmla="*/ 2713802 h 5202210"/>
                <a:gd name="connsiteX210" fmla="*/ 3619988 w 3869436"/>
                <a:gd name="connsiteY210" fmla="*/ 2711607 h 5202210"/>
                <a:gd name="connsiteX211" fmla="*/ 3615592 w 3869436"/>
                <a:gd name="connsiteY211" fmla="*/ 2705022 h 5202210"/>
                <a:gd name="connsiteX212" fmla="*/ 3604603 w 3869436"/>
                <a:gd name="connsiteY212" fmla="*/ 2681975 h 5202210"/>
                <a:gd name="connsiteX213" fmla="*/ 3603504 w 3869436"/>
                <a:gd name="connsiteY213" fmla="*/ 2679780 h 5202210"/>
                <a:gd name="connsiteX214" fmla="*/ 3584823 w 3869436"/>
                <a:gd name="connsiteY214" fmla="*/ 2678683 h 5202210"/>
                <a:gd name="connsiteX215" fmla="*/ 3563942 w 3869436"/>
                <a:gd name="connsiteY215" fmla="*/ 2678683 h 5202210"/>
                <a:gd name="connsiteX216" fmla="*/ 3548557 w 3869436"/>
                <a:gd name="connsiteY216" fmla="*/ 2666610 h 5202210"/>
                <a:gd name="connsiteX217" fmla="*/ 3555150 w 3869436"/>
                <a:gd name="connsiteY217" fmla="*/ 2613931 h 5202210"/>
                <a:gd name="connsiteX218" fmla="*/ 3600208 w 3869436"/>
                <a:gd name="connsiteY218" fmla="*/ 2613931 h 5202210"/>
                <a:gd name="connsiteX219" fmla="*/ 3604603 w 3869436"/>
                <a:gd name="connsiteY219" fmla="*/ 2616126 h 5202210"/>
                <a:gd name="connsiteX220" fmla="*/ 3613395 w 3869436"/>
                <a:gd name="connsiteY220" fmla="*/ 2615029 h 5202210"/>
                <a:gd name="connsiteX221" fmla="*/ 3628780 w 3869436"/>
                <a:gd name="connsiteY221" fmla="*/ 2606249 h 5202210"/>
                <a:gd name="connsiteX222" fmla="*/ 3649661 w 3869436"/>
                <a:gd name="connsiteY222" fmla="*/ 2613931 h 5202210"/>
                <a:gd name="connsiteX223" fmla="*/ 3668342 w 3869436"/>
                <a:gd name="connsiteY223" fmla="*/ 2621613 h 5202210"/>
                <a:gd name="connsiteX224" fmla="*/ 3688124 w 3869436"/>
                <a:gd name="connsiteY224" fmla="*/ 2632588 h 5202210"/>
                <a:gd name="connsiteX225" fmla="*/ 3702410 w 3869436"/>
                <a:gd name="connsiteY225" fmla="*/ 2683073 h 5202210"/>
                <a:gd name="connsiteX226" fmla="*/ 3706806 w 3869436"/>
                <a:gd name="connsiteY226" fmla="*/ 2689658 h 5202210"/>
                <a:gd name="connsiteX227" fmla="*/ 3718894 w 3869436"/>
                <a:gd name="connsiteY227" fmla="*/ 2696242 h 5202210"/>
                <a:gd name="connsiteX228" fmla="*/ 3725487 w 3869436"/>
                <a:gd name="connsiteY228" fmla="*/ 2714900 h 5202210"/>
                <a:gd name="connsiteX229" fmla="*/ 3735378 w 3869436"/>
                <a:gd name="connsiteY229" fmla="*/ 2734654 h 5202210"/>
                <a:gd name="connsiteX230" fmla="*/ 3780435 w 3869436"/>
                <a:gd name="connsiteY230" fmla="*/ 2751116 h 5202210"/>
                <a:gd name="connsiteX231" fmla="*/ 3787029 w 3869436"/>
                <a:gd name="connsiteY231" fmla="*/ 2750019 h 5202210"/>
                <a:gd name="connsiteX232" fmla="*/ 3791424 w 3869436"/>
                <a:gd name="connsiteY232" fmla="*/ 2719289 h 5202210"/>
                <a:gd name="connsiteX233" fmla="*/ 3792524 w 3869436"/>
                <a:gd name="connsiteY233" fmla="*/ 2717095 h 5202210"/>
                <a:gd name="connsiteX234" fmla="*/ 3812304 w 3869436"/>
                <a:gd name="connsiteY234" fmla="*/ 2675390 h 5202210"/>
                <a:gd name="connsiteX235" fmla="*/ 3824393 w 3869436"/>
                <a:gd name="connsiteY235" fmla="*/ 2649051 h 5202210"/>
                <a:gd name="connsiteX236" fmla="*/ 3833185 w 3869436"/>
                <a:gd name="connsiteY236" fmla="*/ 2626003 h 5202210"/>
                <a:gd name="connsiteX237" fmla="*/ 3838680 w 3869436"/>
                <a:gd name="connsiteY237" fmla="*/ 2599664 h 5202210"/>
                <a:gd name="connsiteX238" fmla="*/ 3858461 w 3869436"/>
                <a:gd name="connsiteY238" fmla="*/ 2525035 h 5202210"/>
                <a:gd name="connsiteX239" fmla="*/ 3844174 w 3869436"/>
                <a:gd name="connsiteY239" fmla="*/ 2426262 h 5202210"/>
                <a:gd name="connsiteX240" fmla="*/ 3836482 w 3869436"/>
                <a:gd name="connsiteY240" fmla="*/ 2413092 h 5202210"/>
                <a:gd name="connsiteX241" fmla="*/ 3816701 w 3869436"/>
                <a:gd name="connsiteY241" fmla="*/ 2346145 h 5202210"/>
                <a:gd name="connsiteX242" fmla="*/ 3809008 w 3869436"/>
                <a:gd name="connsiteY242" fmla="*/ 2316513 h 5202210"/>
                <a:gd name="connsiteX243" fmla="*/ 3771644 w 3869436"/>
                <a:gd name="connsiteY243" fmla="*/ 2298953 h 5202210"/>
                <a:gd name="connsiteX244" fmla="*/ 3739774 w 3869436"/>
                <a:gd name="connsiteY244" fmla="*/ 2289076 h 5202210"/>
                <a:gd name="connsiteX245" fmla="*/ 3725487 w 3869436"/>
                <a:gd name="connsiteY245" fmla="*/ 2275906 h 5202210"/>
                <a:gd name="connsiteX246" fmla="*/ 3733181 w 3869436"/>
                <a:gd name="connsiteY246" fmla="*/ 2247372 h 5202210"/>
                <a:gd name="connsiteX247" fmla="*/ 3739774 w 3869436"/>
                <a:gd name="connsiteY247" fmla="*/ 2234202 h 5202210"/>
                <a:gd name="connsiteX248" fmla="*/ 3741971 w 3869436"/>
                <a:gd name="connsiteY248" fmla="*/ 2218837 h 5202210"/>
                <a:gd name="connsiteX249" fmla="*/ 3716696 w 3869436"/>
                <a:gd name="connsiteY249" fmla="*/ 2200180 h 5202210"/>
                <a:gd name="connsiteX250" fmla="*/ 3688124 w 3869436"/>
                <a:gd name="connsiteY250" fmla="*/ 2143111 h 5202210"/>
                <a:gd name="connsiteX251" fmla="*/ 3687024 w 3869436"/>
                <a:gd name="connsiteY251" fmla="*/ 2132136 h 5202210"/>
                <a:gd name="connsiteX252" fmla="*/ 3678233 w 3869436"/>
                <a:gd name="connsiteY252" fmla="*/ 2118966 h 5202210"/>
                <a:gd name="connsiteX253" fmla="*/ 3652957 w 3869436"/>
                <a:gd name="connsiteY253" fmla="*/ 2098114 h 5202210"/>
                <a:gd name="connsiteX254" fmla="*/ 3668342 w 3869436"/>
                <a:gd name="connsiteY254" fmla="*/ 2044337 h 5202210"/>
                <a:gd name="connsiteX255" fmla="*/ 3691420 w 3869436"/>
                <a:gd name="connsiteY255" fmla="*/ 2009218 h 5202210"/>
                <a:gd name="connsiteX256" fmla="*/ 3702410 w 3869436"/>
                <a:gd name="connsiteY256" fmla="*/ 1967513 h 5202210"/>
                <a:gd name="connsiteX257" fmla="*/ 3702410 w 3869436"/>
                <a:gd name="connsiteY257" fmla="*/ 1952149 h 5202210"/>
                <a:gd name="connsiteX258" fmla="*/ 3693619 w 3869436"/>
                <a:gd name="connsiteY258" fmla="*/ 1919224 h 5202210"/>
                <a:gd name="connsiteX259" fmla="*/ 3680431 w 3869436"/>
                <a:gd name="connsiteY259" fmla="*/ 1866545 h 5202210"/>
                <a:gd name="connsiteX260" fmla="*/ 3682629 w 3869436"/>
                <a:gd name="connsiteY260" fmla="*/ 1851180 h 5202210"/>
                <a:gd name="connsiteX261" fmla="*/ 3680431 w 3869436"/>
                <a:gd name="connsiteY261" fmla="*/ 1820451 h 5202210"/>
                <a:gd name="connsiteX262" fmla="*/ 3663946 w 3869436"/>
                <a:gd name="connsiteY262" fmla="*/ 1809476 h 5202210"/>
                <a:gd name="connsiteX263" fmla="*/ 3644166 w 3869436"/>
                <a:gd name="connsiteY263" fmla="*/ 1802891 h 5202210"/>
                <a:gd name="connsiteX264" fmla="*/ 3617791 w 3869436"/>
                <a:gd name="connsiteY264" fmla="*/ 1769966 h 5202210"/>
                <a:gd name="connsiteX265" fmla="*/ 3602405 w 3869436"/>
                <a:gd name="connsiteY265" fmla="*/ 1744724 h 5202210"/>
                <a:gd name="connsiteX266" fmla="*/ 3625483 w 3869436"/>
                <a:gd name="connsiteY266" fmla="*/ 1661315 h 5202210"/>
                <a:gd name="connsiteX267" fmla="*/ 3621087 w 3869436"/>
                <a:gd name="connsiteY267" fmla="*/ 1587784 h 5202210"/>
                <a:gd name="connsiteX268" fmla="*/ 3602405 w 3869436"/>
                <a:gd name="connsiteY268" fmla="*/ 1571322 h 5202210"/>
                <a:gd name="connsiteX269" fmla="*/ 3576030 w 3869436"/>
                <a:gd name="connsiteY269" fmla="*/ 1538397 h 5202210"/>
                <a:gd name="connsiteX270" fmla="*/ 3508995 w 3869436"/>
                <a:gd name="connsiteY270" fmla="*/ 1489010 h 5202210"/>
                <a:gd name="connsiteX271" fmla="*/ 3474928 w 3869436"/>
                <a:gd name="connsiteY271" fmla="*/ 1478036 h 5202210"/>
                <a:gd name="connsiteX272" fmla="*/ 3427672 w 3869436"/>
                <a:gd name="connsiteY272" fmla="*/ 1400115 h 5202210"/>
                <a:gd name="connsiteX273" fmla="*/ 3422178 w 3869436"/>
                <a:gd name="connsiteY273" fmla="*/ 1364995 h 5202210"/>
                <a:gd name="connsiteX274" fmla="*/ 3425475 w 3869436"/>
                <a:gd name="connsiteY274" fmla="*/ 1332070 h 5202210"/>
                <a:gd name="connsiteX275" fmla="*/ 3462839 w 3869436"/>
                <a:gd name="connsiteY275" fmla="*/ 1294756 h 5202210"/>
                <a:gd name="connsiteX276" fmla="*/ 3493609 w 3869436"/>
                <a:gd name="connsiteY276" fmla="*/ 1268417 h 5202210"/>
                <a:gd name="connsiteX277" fmla="*/ 3500203 w 3869436"/>
                <a:gd name="connsiteY277" fmla="*/ 1247564 h 5202210"/>
                <a:gd name="connsiteX278" fmla="*/ 3492511 w 3869436"/>
                <a:gd name="connsiteY278" fmla="*/ 1211347 h 5202210"/>
                <a:gd name="connsiteX279" fmla="*/ 3502401 w 3869436"/>
                <a:gd name="connsiteY279" fmla="*/ 1165253 h 5202210"/>
                <a:gd name="connsiteX280" fmla="*/ 3513391 w 3869436"/>
                <a:gd name="connsiteY280" fmla="*/ 1119159 h 5202210"/>
                <a:gd name="connsiteX281" fmla="*/ 3487016 w 3869436"/>
                <a:gd name="connsiteY281" fmla="*/ 1036847 h 5202210"/>
                <a:gd name="connsiteX282" fmla="*/ 3459542 w 3869436"/>
                <a:gd name="connsiteY282" fmla="*/ 962218 h 5202210"/>
                <a:gd name="connsiteX283" fmla="*/ 3429871 w 3869436"/>
                <a:gd name="connsiteY283" fmla="*/ 822838 h 5202210"/>
                <a:gd name="connsiteX284" fmla="*/ 3395802 w 3869436"/>
                <a:gd name="connsiteY284" fmla="*/ 821741 h 5202210"/>
                <a:gd name="connsiteX285" fmla="*/ 3278215 w 3869436"/>
                <a:gd name="connsiteY285" fmla="*/ 777841 h 5202210"/>
                <a:gd name="connsiteX286" fmla="*/ 3368329 w 3869436"/>
                <a:gd name="connsiteY286" fmla="*/ 739429 h 5202210"/>
                <a:gd name="connsiteX287" fmla="*/ 3414485 w 3869436"/>
                <a:gd name="connsiteY287" fmla="*/ 758087 h 5202210"/>
                <a:gd name="connsiteX288" fmla="*/ 3438662 w 3869436"/>
                <a:gd name="connsiteY288" fmla="*/ 707602 h 5202210"/>
                <a:gd name="connsiteX289" fmla="*/ 3384813 w 3869436"/>
                <a:gd name="connsiteY289" fmla="*/ 695530 h 5202210"/>
                <a:gd name="connsiteX290" fmla="*/ 3330966 w 3869436"/>
                <a:gd name="connsiteY290" fmla="*/ 636266 h 5202210"/>
                <a:gd name="connsiteX291" fmla="*/ 3281513 w 3869436"/>
                <a:gd name="connsiteY291" fmla="*/ 603342 h 5202210"/>
                <a:gd name="connsiteX292" fmla="*/ 3310085 w 3869436"/>
                <a:gd name="connsiteY292" fmla="*/ 651631 h 5202210"/>
                <a:gd name="connsiteX293" fmla="*/ 3295798 w 3869436"/>
                <a:gd name="connsiteY293" fmla="*/ 684555 h 5202210"/>
                <a:gd name="connsiteX294" fmla="*/ 3260633 w 3869436"/>
                <a:gd name="connsiteY294" fmla="*/ 670288 h 5202210"/>
                <a:gd name="connsiteX295" fmla="*/ 3257335 w 3869436"/>
                <a:gd name="connsiteY295" fmla="*/ 724065 h 5202210"/>
                <a:gd name="connsiteX296" fmla="*/ 3233159 w 3869436"/>
                <a:gd name="connsiteY296" fmla="*/ 661508 h 5202210"/>
                <a:gd name="connsiteX297" fmla="*/ 3213377 w 3869436"/>
                <a:gd name="connsiteY297" fmla="*/ 629681 h 5202210"/>
                <a:gd name="connsiteX298" fmla="*/ 3255138 w 3869436"/>
                <a:gd name="connsiteY298" fmla="*/ 641753 h 5202210"/>
                <a:gd name="connsiteX299" fmla="*/ 3256236 w 3869436"/>
                <a:gd name="connsiteY299" fmla="*/ 613219 h 5202210"/>
                <a:gd name="connsiteX300" fmla="*/ 3267226 w 3869436"/>
                <a:gd name="connsiteY300" fmla="*/ 584684 h 5202210"/>
                <a:gd name="connsiteX301" fmla="*/ 3211180 w 3869436"/>
                <a:gd name="connsiteY301" fmla="*/ 558345 h 5202210"/>
                <a:gd name="connsiteX302" fmla="*/ 3169419 w 3869436"/>
                <a:gd name="connsiteY302" fmla="*/ 557247 h 5202210"/>
                <a:gd name="connsiteX303" fmla="*/ 3130956 w 3869436"/>
                <a:gd name="connsiteY303" fmla="*/ 580294 h 5202210"/>
                <a:gd name="connsiteX304" fmla="*/ 3095790 w 3869436"/>
                <a:gd name="connsiteY304" fmla="*/ 597854 h 5202210"/>
                <a:gd name="connsiteX305" fmla="*/ 3070514 w 3869436"/>
                <a:gd name="connsiteY305" fmla="*/ 594561 h 5202210"/>
                <a:gd name="connsiteX306" fmla="*/ 3051832 w 3869436"/>
                <a:gd name="connsiteY306" fmla="*/ 563832 h 5202210"/>
                <a:gd name="connsiteX307" fmla="*/ 2995786 w 3869436"/>
                <a:gd name="connsiteY307" fmla="*/ 525420 h 5202210"/>
                <a:gd name="connsiteX308" fmla="*/ 2957323 w 3869436"/>
                <a:gd name="connsiteY308" fmla="*/ 492496 h 5202210"/>
                <a:gd name="connsiteX309" fmla="*/ 2937541 w 3869436"/>
                <a:gd name="connsiteY309" fmla="*/ 433232 h 5202210"/>
                <a:gd name="connsiteX310" fmla="*/ 2910067 w 3869436"/>
                <a:gd name="connsiteY310" fmla="*/ 387137 h 5202210"/>
                <a:gd name="connsiteX311" fmla="*/ 2871604 w 3869436"/>
                <a:gd name="connsiteY311" fmla="*/ 398112 h 5202210"/>
                <a:gd name="connsiteX312" fmla="*/ 2851823 w 3869436"/>
                <a:gd name="connsiteY312" fmla="*/ 421159 h 5202210"/>
                <a:gd name="connsiteX313" fmla="*/ 2833141 w 3869436"/>
                <a:gd name="connsiteY313" fmla="*/ 438719 h 5202210"/>
                <a:gd name="connsiteX314" fmla="*/ 2807865 w 3869436"/>
                <a:gd name="connsiteY314" fmla="*/ 422257 h 5202210"/>
                <a:gd name="connsiteX315" fmla="*/ 2770501 w 3869436"/>
                <a:gd name="connsiteY315" fmla="*/ 426647 h 5202210"/>
                <a:gd name="connsiteX316" fmla="*/ 2773798 w 3869436"/>
                <a:gd name="connsiteY316" fmla="*/ 409087 h 5202210"/>
                <a:gd name="connsiteX317" fmla="*/ 2819954 w 3869436"/>
                <a:gd name="connsiteY317" fmla="*/ 405795 h 5202210"/>
                <a:gd name="connsiteX318" fmla="*/ 2847428 w 3869436"/>
                <a:gd name="connsiteY318" fmla="*/ 401405 h 5202210"/>
                <a:gd name="connsiteX319" fmla="*/ 2860615 w 3869436"/>
                <a:gd name="connsiteY319" fmla="*/ 384942 h 5202210"/>
                <a:gd name="connsiteX320" fmla="*/ 2825449 w 3869436"/>
                <a:gd name="connsiteY320" fmla="*/ 383845 h 5202210"/>
                <a:gd name="connsiteX321" fmla="*/ 2752917 w 3869436"/>
                <a:gd name="connsiteY321" fmla="*/ 384942 h 5202210"/>
                <a:gd name="connsiteX322" fmla="*/ 2700168 w 3869436"/>
                <a:gd name="connsiteY322" fmla="*/ 373967 h 5202210"/>
                <a:gd name="connsiteX323" fmla="*/ 2680387 w 3869436"/>
                <a:gd name="connsiteY323" fmla="*/ 413477 h 5202210"/>
                <a:gd name="connsiteX324" fmla="*/ 2655112 w 3869436"/>
                <a:gd name="connsiteY324" fmla="*/ 450791 h 5202210"/>
                <a:gd name="connsiteX325" fmla="*/ 2685882 w 3869436"/>
                <a:gd name="connsiteY325" fmla="*/ 447499 h 5202210"/>
                <a:gd name="connsiteX326" fmla="*/ 2708959 w 3869436"/>
                <a:gd name="connsiteY326" fmla="*/ 418964 h 5202210"/>
                <a:gd name="connsiteX327" fmla="*/ 2717751 w 3869436"/>
                <a:gd name="connsiteY327" fmla="*/ 444206 h 5202210"/>
                <a:gd name="connsiteX328" fmla="*/ 2695772 w 3869436"/>
                <a:gd name="connsiteY328" fmla="*/ 470546 h 5202210"/>
                <a:gd name="connsiteX329" fmla="*/ 2675991 w 3869436"/>
                <a:gd name="connsiteY329" fmla="*/ 494691 h 5202210"/>
                <a:gd name="connsiteX330" fmla="*/ 2663903 w 3869436"/>
                <a:gd name="connsiteY330" fmla="*/ 518835 h 5202210"/>
                <a:gd name="connsiteX331" fmla="*/ 2649617 w 3869436"/>
                <a:gd name="connsiteY331" fmla="*/ 496886 h 5202210"/>
                <a:gd name="connsiteX332" fmla="*/ 2650716 w 3869436"/>
                <a:gd name="connsiteY332" fmla="*/ 468351 h 5202210"/>
                <a:gd name="connsiteX333" fmla="*/ 2628737 w 3869436"/>
                <a:gd name="connsiteY333" fmla="*/ 493593 h 5202210"/>
                <a:gd name="connsiteX334" fmla="*/ 2593570 w 3869436"/>
                <a:gd name="connsiteY334" fmla="*/ 517738 h 5202210"/>
                <a:gd name="connsiteX335" fmla="*/ 2554008 w 3869436"/>
                <a:gd name="connsiteY335" fmla="*/ 552857 h 5202210"/>
                <a:gd name="connsiteX336" fmla="*/ 2554008 w 3869436"/>
                <a:gd name="connsiteY336" fmla="*/ 579197 h 5202210"/>
                <a:gd name="connsiteX337" fmla="*/ 2514446 w 3869436"/>
                <a:gd name="connsiteY337" fmla="*/ 579197 h 5202210"/>
                <a:gd name="connsiteX338" fmla="*/ 2456202 w 3869436"/>
                <a:gd name="connsiteY338" fmla="*/ 594561 h 5202210"/>
                <a:gd name="connsiteX339" fmla="*/ 2395759 w 3869436"/>
                <a:gd name="connsiteY339" fmla="*/ 598952 h 5202210"/>
                <a:gd name="connsiteX340" fmla="*/ 2332020 w 3869436"/>
                <a:gd name="connsiteY340" fmla="*/ 643948 h 5202210"/>
                <a:gd name="connsiteX341" fmla="*/ 2345207 w 3869436"/>
                <a:gd name="connsiteY341" fmla="*/ 672483 h 5202210"/>
                <a:gd name="connsiteX342" fmla="*/ 2344109 w 3869436"/>
                <a:gd name="connsiteY342" fmla="*/ 692238 h 5202210"/>
                <a:gd name="connsiteX343" fmla="*/ 2308942 w 3869436"/>
                <a:gd name="connsiteY343" fmla="*/ 735040 h 5202210"/>
                <a:gd name="connsiteX344" fmla="*/ 2291359 w 3869436"/>
                <a:gd name="connsiteY344" fmla="*/ 770159 h 5202210"/>
                <a:gd name="connsiteX345" fmla="*/ 2256193 w 3869436"/>
                <a:gd name="connsiteY345" fmla="*/ 735040 h 5202210"/>
                <a:gd name="connsiteX346" fmla="*/ 2217729 w 3869436"/>
                <a:gd name="connsiteY346" fmla="*/ 746014 h 5202210"/>
                <a:gd name="connsiteX347" fmla="*/ 2148496 w 3869436"/>
                <a:gd name="connsiteY347" fmla="*/ 687848 h 5202210"/>
                <a:gd name="connsiteX348" fmla="*/ 2077064 w 3869436"/>
                <a:gd name="connsiteY348" fmla="*/ 739429 h 5202210"/>
                <a:gd name="connsiteX349" fmla="*/ 2049590 w 3869436"/>
                <a:gd name="connsiteY349" fmla="*/ 702115 h 5202210"/>
                <a:gd name="connsiteX350" fmla="*/ 2018820 w 3869436"/>
                <a:gd name="connsiteY350" fmla="*/ 683458 h 5202210"/>
                <a:gd name="connsiteX351" fmla="*/ 2084757 w 3869436"/>
                <a:gd name="connsiteY351" fmla="*/ 638461 h 5202210"/>
                <a:gd name="connsiteX352" fmla="*/ 2135308 w 3869436"/>
                <a:gd name="connsiteY352" fmla="*/ 583587 h 5202210"/>
                <a:gd name="connsiteX353" fmla="*/ 2153991 w 3869436"/>
                <a:gd name="connsiteY353" fmla="*/ 539687 h 5202210"/>
                <a:gd name="connsiteX354" fmla="*/ 2145199 w 3869436"/>
                <a:gd name="connsiteY354" fmla="*/ 477131 h 5202210"/>
                <a:gd name="connsiteX355" fmla="*/ 2168277 w 3869436"/>
                <a:gd name="connsiteY355" fmla="*/ 438719 h 5202210"/>
                <a:gd name="connsiteX356" fmla="*/ 2207839 w 3869436"/>
                <a:gd name="connsiteY356" fmla="*/ 437621 h 5202210"/>
                <a:gd name="connsiteX357" fmla="*/ 2240807 w 3869436"/>
                <a:gd name="connsiteY357" fmla="*/ 404697 h 5202210"/>
                <a:gd name="connsiteX358" fmla="*/ 2192454 w 3869436"/>
                <a:gd name="connsiteY358" fmla="*/ 361895 h 5202210"/>
                <a:gd name="connsiteX359" fmla="*/ 2110033 w 3869436"/>
                <a:gd name="connsiteY359" fmla="*/ 369578 h 5202210"/>
                <a:gd name="connsiteX360" fmla="*/ 2141902 w 3869436"/>
                <a:gd name="connsiteY360" fmla="*/ 404697 h 5202210"/>
                <a:gd name="connsiteX361" fmla="*/ 2138605 w 3869436"/>
                <a:gd name="connsiteY361" fmla="*/ 454084 h 5202210"/>
                <a:gd name="connsiteX362" fmla="*/ 2075965 w 3869436"/>
                <a:gd name="connsiteY362" fmla="*/ 468351 h 5202210"/>
                <a:gd name="connsiteX363" fmla="*/ 2038601 w 3869436"/>
                <a:gd name="connsiteY363" fmla="*/ 514445 h 5202210"/>
                <a:gd name="connsiteX364" fmla="*/ 1947388 w 3869436"/>
                <a:gd name="connsiteY364" fmla="*/ 469448 h 5202210"/>
                <a:gd name="connsiteX365" fmla="*/ 1893539 w 3869436"/>
                <a:gd name="connsiteY365" fmla="*/ 432134 h 5202210"/>
                <a:gd name="connsiteX366" fmla="*/ 1844087 w 3869436"/>
                <a:gd name="connsiteY366" fmla="*/ 427744 h 5202210"/>
                <a:gd name="connsiteX367" fmla="*/ 1805623 w 3869436"/>
                <a:gd name="connsiteY367" fmla="*/ 450791 h 5202210"/>
                <a:gd name="connsiteX368" fmla="*/ 1781446 w 3869436"/>
                <a:gd name="connsiteY368" fmla="*/ 485911 h 5202210"/>
                <a:gd name="connsiteX369" fmla="*/ 1795733 w 3869436"/>
                <a:gd name="connsiteY369" fmla="*/ 435426 h 5202210"/>
                <a:gd name="connsiteX370" fmla="*/ 1773754 w 3869436"/>
                <a:gd name="connsiteY370" fmla="*/ 399210 h 5202210"/>
                <a:gd name="connsiteX371" fmla="*/ 1731994 w 3869436"/>
                <a:gd name="connsiteY371" fmla="*/ 397015 h 5202210"/>
                <a:gd name="connsiteX372" fmla="*/ 1694630 w 3869436"/>
                <a:gd name="connsiteY372" fmla="*/ 414574 h 5202210"/>
                <a:gd name="connsiteX373" fmla="*/ 1679244 w 3869436"/>
                <a:gd name="connsiteY373" fmla="*/ 403599 h 5202210"/>
                <a:gd name="connsiteX374" fmla="*/ 1664958 w 3869436"/>
                <a:gd name="connsiteY374" fmla="*/ 384942 h 5202210"/>
                <a:gd name="connsiteX375" fmla="*/ 1700125 w 3869436"/>
                <a:gd name="connsiteY375" fmla="*/ 375065 h 5202210"/>
                <a:gd name="connsiteX376" fmla="*/ 1729796 w 3869436"/>
                <a:gd name="connsiteY376" fmla="*/ 361895 h 5202210"/>
                <a:gd name="connsiteX377" fmla="*/ 1733093 w 3869436"/>
                <a:gd name="connsiteY377" fmla="*/ 326776 h 5202210"/>
                <a:gd name="connsiteX378" fmla="*/ 1737489 w 3869436"/>
                <a:gd name="connsiteY378" fmla="*/ 286169 h 5202210"/>
                <a:gd name="connsiteX379" fmla="*/ 1708916 w 3869436"/>
                <a:gd name="connsiteY379" fmla="*/ 269706 h 5202210"/>
                <a:gd name="connsiteX380" fmla="*/ 1716609 w 3869436"/>
                <a:gd name="connsiteY380" fmla="*/ 242269 h 5202210"/>
                <a:gd name="connsiteX381" fmla="*/ 1708916 w 3869436"/>
                <a:gd name="connsiteY381" fmla="*/ 199468 h 5202210"/>
                <a:gd name="connsiteX382" fmla="*/ 1668255 w 3869436"/>
                <a:gd name="connsiteY382" fmla="*/ 201663 h 5202210"/>
                <a:gd name="connsiteX383" fmla="*/ 1615505 w 3869436"/>
                <a:gd name="connsiteY383" fmla="*/ 183005 h 5202210"/>
                <a:gd name="connsiteX384" fmla="*/ 1571547 w 3869436"/>
                <a:gd name="connsiteY384" fmla="*/ 168738 h 5202210"/>
                <a:gd name="connsiteX385" fmla="*/ 1523193 w 3869436"/>
                <a:gd name="connsiteY385" fmla="*/ 179713 h 5202210"/>
                <a:gd name="connsiteX386" fmla="*/ 1522095 w 3869436"/>
                <a:gd name="connsiteY386" fmla="*/ 173128 h 5202210"/>
                <a:gd name="connsiteX387" fmla="*/ 1478137 w 3869436"/>
                <a:gd name="connsiteY387" fmla="*/ 178615 h 5202210"/>
                <a:gd name="connsiteX388" fmla="*/ 1457256 w 3869436"/>
                <a:gd name="connsiteY388" fmla="*/ 176420 h 5202210"/>
                <a:gd name="connsiteX389" fmla="*/ 1427585 w 3869436"/>
                <a:gd name="connsiteY389" fmla="*/ 156666 h 5202210"/>
                <a:gd name="connsiteX390" fmla="*/ 1408903 w 3869436"/>
                <a:gd name="connsiteY390" fmla="*/ 147886 h 5202210"/>
                <a:gd name="connsiteX391" fmla="*/ 1400111 w 3869436"/>
                <a:gd name="connsiteY391" fmla="*/ 148983 h 5202210"/>
                <a:gd name="connsiteX392" fmla="*/ 1349560 w 3869436"/>
                <a:gd name="connsiteY392" fmla="*/ 141301 h 5202210"/>
                <a:gd name="connsiteX393" fmla="*/ 1329779 w 3869436"/>
                <a:gd name="connsiteY393" fmla="*/ 133619 h 5202210"/>
                <a:gd name="connsiteX394" fmla="*/ 1291315 w 3869436"/>
                <a:gd name="connsiteY394" fmla="*/ 123741 h 5202210"/>
                <a:gd name="connsiteX395" fmla="*/ 1278128 w 3869436"/>
                <a:gd name="connsiteY395" fmla="*/ 125936 h 5202210"/>
                <a:gd name="connsiteX396" fmla="*/ 1230873 w 3869436"/>
                <a:gd name="connsiteY396" fmla="*/ 123741 h 5202210"/>
                <a:gd name="connsiteX397" fmla="*/ 1193509 w 3869436"/>
                <a:gd name="connsiteY397" fmla="*/ 103987 h 5202210"/>
                <a:gd name="connsiteX398" fmla="*/ 1150650 w 3869436"/>
                <a:gd name="connsiteY398" fmla="*/ 116059 h 5202210"/>
                <a:gd name="connsiteX399" fmla="*/ 1113286 w 3869436"/>
                <a:gd name="connsiteY399" fmla="*/ 123741 h 5202210"/>
                <a:gd name="connsiteX400" fmla="*/ 1085812 w 3869436"/>
                <a:gd name="connsiteY400" fmla="*/ 101791 h 5202210"/>
                <a:gd name="connsiteX401" fmla="*/ 1100098 w 3869436"/>
                <a:gd name="connsiteY401" fmla="*/ 65575 h 5202210"/>
                <a:gd name="connsiteX402" fmla="*/ 1105593 w 3869436"/>
                <a:gd name="connsiteY402" fmla="*/ 20578 h 5202210"/>
                <a:gd name="connsiteX403" fmla="*/ 1092405 w 3869436"/>
                <a:gd name="connsiteY403" fmla="*/ 7408 h 5202210"/>
                <a:gd name="connsiteX404" fmla="*/ 1075921 w 3869436"/>
                <a:gd name="connsiteY404" fmla="*/ 60087 h 5202210"/>
                <a:gd name="connsiteX405" fmla="*/ 1062734 w 3869436"/>
                <a:gd name="connsiteY405" fmla="*/ 105084 h 5202210"/>
                <a:gd name="connsiteX406" fmla="*/ 1052843 w 3869436"/>
                <a:gd name="connsiteY406" fmla="*/ 150081 h 5202210"/>
                <a:gd name="connsiteX407" fmla="*/ 1050645 w 3869436"/>
                <a:gd name="connsiteY407" fmla="*/ 234587 h 5202210"/>
                <a:gd name="connsiteX408" fmla="*/ 1066031 w 3869436"/>
                <a:gd name="connsiteY408" fmla="*/ 188493 h 5202210"/>
                <a:gd name="connsiteX409" fmla="*/ 1082515 w 3869436"/>
                <a:gd name="connsiteY409" fmla="*/ 136911 h 5202210"/>
                <a:gd name="connsiteX410" fmla="*/ 1122077 w 3869436"/>
                <a:gd name="connsiteY410" fmla="*/ 146788 h 5202210"/>
                <a:gd name="connsiteX411" fmla="*/ 1163837 w 3869436"/>
                <a:gd name="connsiteY411" fmla="*/ 131424 h 5202210"/>
                <a:gd name="connsiteX412" fmla="*/ 1193509 w 3869436"/>
                <a:gd name="connsiteY412" fmla="*/ 141301 h 5202210"/>
                <a:gd name="connsiteX413" fmla="*/ 1206696 w 3869436"/>
                <a:gd name="connsiteY413" fmla="*/ 223612 h 5202210"/>
                <a:gd name="connsiteX414" fmla="*/ 1242961 w 3869436"/>
                <a:gd name="connsiteY414" fmla="*/ 248854 h 5202210"/>
                <a:gd name="connsiteX415" fmla="*/ 1266040 w 3869436"/>
                <a:gd name="connsiteY415" fmla="*/ 305923 h 5202210"/>
                <a:gd name="connsiteX416" fmla="*/ 1296810 w 3869436"/>
                <a:gd name="connsiteY416" fmla="*/ 328971 h 5202210"/>
                <a:gd name="connsiteX417" fmla="*/ 1319888 w 3869436"/>
                <a:gd name="connsiteY417" fmla="*/ 375065 h 5202210"/>
                <a:gd name="connsiteX418" fmla="*/ 1335273 w 3869436"/>
                <a:gd name="connsiteY418" fmla="*/ 403599 h 5202210"/>
                <a:gd name="connsiteX419" fmla="*/ 1282524 w 3869436"/>
                <a:gd name="connsiteY419" fmla="*/ 433232 h 5202210"/>
                <a:gd name="connsiteX420" fmla="*/ 1228675 w 3869436"/>
                <a:gd name="connsiteY420" fmla="*/ 443109 h 5202210"/>
                <a:gd name="connsiteX421" fmla="*/ 1180321 w 3869436"/>
                <a:gd name="connsiteY421" fmla="*/ 458474 h 5202210"/>
                <a:gd name="connsiteX422" fmla="*/ 1188014 w 3869436"/>
                <a:gd name="connsiteY422" fmla="*/ 496886 h 5202210"/>
                <a:gd name="connsiteX423" fmla="*/ 1179222 w 3869436"/>
                <a:gd name="connsiteY423" fmla="*/ 542980 h 5202210"/>
                <a:gd name="connsiteX424" fmla="*/ 1233071 w 3869436"/>
                <a:gd name="connsiteY424" fmla="*/ 526518 h 5202210"/>
                <a:gd name="connsiteX425" fmla="*/ 1285821 w 3869436"/>
                <a:gd name="connsiteY425" fmla="*/ 530908 h 5202210"/>
                <a:gd name="connsiteX426" fmla="*/ 1311096 w 3869436"/>
                <a:gd name="connsiteY426" fmla="*/ 493593 h 5202210"/>
                <a:gd name="connsiteX427" fmla="*/ 1295711 w 3869436"/>
                <a:gd name="connsiteY427" fmla="*/ 546272 h 5202210"/>
                <a:gd name="connsiteX428" fmla="*/ 1253951 w 3869436"/>
                <a:gd name="connsiteY428" fmla="*/ 590172 h 5202210"/>
                <a:gd name="connsiteX429" fmla="*/ 1268237 w 3869436"/>
                <a:gd name="connsiteY429" fmla="*/ 630779 h 5202210"/>
                <a:gd name="connsiteX430" fmla="*/ 1320987 w 3869436"/>
                <a:gd name="connsiteY430" fmla="*/ 626389 h 5202210"/>
                <a:gd name="connsiteX431" fmla="*/ 1325383 w 3869436"/>
                <a:gd name="connsiteY431" fmla="*/ 664801 h 5202210"/>
                <a:gd name="connsiteX432" fmla="*/ 1302305 w 3869436"/>
                <a:gd name="connsiteY432" fmla="*/ 696628 h 5202210"/>
                <a:gd name="connsiteX433" fmla="*/ 1262742 w 3869436"/>
                <a:gd name="connsiteY433" fmla="*/ 706505 h 5202210"/>
                <a:gd name="connsiteX434" fmla="*/ 1278128 w 3869436"/>
                <a:gd name="connsiteY434" fmla="*/ 760282 h 5202210"/>
                <a:gd name="connsiteX435" fmla="*/ 1316591 w 3869436"/>
                <a:gd name="connsiteY435" fmla="*/ 787719 h 5202210"/>
                <a:gd name="connsiteX436" fmla="*/ 1373737 w 3869436"/>
                <a:gd name="connsiteY436" fmla="*/ 785524 h 5202210"/>
                <a:gd name="connsiteX437" fmla="*/ 1426486 w 3869436"/>
                <a:gd name="connsiteY437" fmla="*/ 793206 h 5202210"/>
                <a:gd name="connsiteX438" fmla="*/ 1468246 w 3869436"/>
                <a:gd name="connsiteY438" fmla="*/ 823936 h 5202210"/>
                <a:gd name="connsiteX439" fmla="*/ 1453960 w 3869436"/>
                <a:gd name="connsiteY439" fmla="*/ 845885 h 5202210"/>
                <a:gd name="connsiteX440" fmla="*/ 1390221 w 3869436"/>
                <a:gd name="connsiteY440" fmla="*/ 810766 h 5202210"/>
                <a:gd name="connsiteX441" fmla="*/ 1278128 w 3869436"/>
                <a:gd name="connsiteY441" fmla="*/ 821741 h 5202210"/>
                <a:gd name="connsiteX442" fmla="*/ 1194608 w 3869436"/>
                <a:gd name="connsiteY442" fmla="*/ 796499 h 5202210"/>
                <a:gd name="connsiteX443" fmla="*/ 1150650 w 3869436"/>
                <a:gd name="connsiteY443" fmla="*/ 832715 h 5202210"/>
                <a:gd name="connsiteX444" fmla="*/ 1119879 w 3869436"/>
                <a:gd name="connsiteY444" fmla="*/ 898565 h 5202210"/>
                <a:gd name="connsiteX445" fmla="*/ 1108889 w 3869436"/>
                <a:gd name="connsiteY445" fmla="*/ 949049 h 5202210"/>
                <a:gd name="connsiteX446" fmla="*/ 1140759 w 3869436"/>
                <a:gd name="connsiteY446" fmla="*/ 1002825 h 5202210"/>
                <a:gd name="connsiteX447" fmla="*/ 1095703 w 3869436"/>
                <a:gd name="connsiteY447" fmla="*/ 1008313 h 5202210"/>
                <a:gd name="connsiteX448" fmla="*/ 1033062 w 3869436"/>
                <a:gd name="connsiteY448" fmla="*/ 976486 h 5202210"/>
                <a:gd name="connsiteX449" fmla="*/ 1022073 w 3869436"/>
                <a:gd name="connsiteY449" fmla="*/ 1043432 h 5202210"/>
                <a:gd name="connsiteX450" fmla="*/ 1051745 w 3869436"/>
                <a:gd name="connsiteY450" fmla="*/ 1086234 h 5202210"/>
                <a:gd name="connsiteX451" fmla="*/ 962729 w 3869436"/>
                <a:gd name="connsiteY451" fmla="*/ 1080747 h 5202210"/>
                <a:gd name="connsiteX452" fmla="*/ 970422 w 3869436"/>
                <a:gd name="connsiteY452" fmla="*/ 1025873 h 5202210"/>
                <a:gd name="connsiteX453" fmla="*/ 948443 w 3869436"/>
                <a:gd name="connsiteY453" fmla="*/ 965511 h 5202210"/>
                <a:gd name="connsiteX454" fmla="*/ 933058 w 3869436"/>
                <a:gd name="connsiteY454" fmla="*/ 913929 h 5202210"/>
                <a:gd name="connsiteX455" fmla="*/ 778106 w 3869436"/>
                <a:gd name="connsiteY455" fmla="*/ 909539 h 5202210"/>
                <a:gd name="connsiteX456" fmla="*/ 712169 w 3869436"/>
                <a:gd name="connsiteY456" fmla="*/ 911734 h 5202210"/>
                <a:gd name="connsiteX457" fmla="*/ 626451 w 3869436"/>
                <a:gd name="connsiteY457" fmla="*/ 929294 h 5202210"/>
                <a:gd name="connsiteX458" fmla="*/ 561613 w 3869436"/>
                <a:gd name="connsiteY458" fmla="*/ 994046 h 5202210"/>
                <a:gd name="connsiteX459" fmla="*/ 559415 w 3869436"/>
                <a:gd name="connsiteY459" fmla="*/ 1034652 h 5202210"/>
                <a:gd name="connsiteX460" fmla="*/ 542931 w 3869436"/>
                <a:gd name="connsiteY460" fmla="*/ 1100501 h 5202210"/>
                <a:gd name="connsiteX461" fmla="*/ 560514 w 3869436"/>
                <a:gd name="connsiteY461" fmla="*/ 1146596 h 5202210"/>
                <a:gd name="connsiteX462" fmla="*/ 609967 w 3869436"/>
                <a:gd name="connsiteY462" fmla="*/ 1146596 h 5202210"/>
                <a:gd name="connsiteX463" fmla="*/ 667112 w 3869436"/>
                <a:gd name="connsiteY463" fmla="*/ 1150986 h 5202210"/>
                <a:gd name="connsiteX464" fmla="*/ 650628 w 3869436"/>
                <a:gd name="connsiteY464" fmla="*/ 1181715 h 5202210"/>
                <a:gd name="connsiteX465" fmla="*/ 611066 w 3869436"/>
                <a:gd name="connsiteY465" fmla="*/ 1192690 h 5202210"/>
                <a:gd name="connsiteX466" fmla="*/ 619857 w 3869436"/>
                <a:gd name="connsiteY466" fmla="*/ 1261832 h 5202210"/>
                <a:gd name="connsiteX467" fmla="*/ 618758 w 3869436"/>
                <a:gd name="connsiteY467" fmla="*/ 1304633 h 5202210"/>
                <a:gd name="connsiteX468" fmla="*/ 617660 w 3869436"/>
                <a:gd name="connsiteY468" fmla="*/ 1356215 h 5202210"/>
                <a:gd name="connsiteX469" fmla="*/ 591285 w 3869436"/>
                <a:gd name="connsiteY469" fmla="*/ 1416577 h 5202210"/>
                <a:gd name="connsiteX470" fmla="*/ 560514 w 3869436"/>
                <a:gd name="connsiteY470" fmla="*/ 1484621 h 5202210"/>
                <a:gd name="connsiteX471" fmla="*/ 558316 w 3869436"/>
                <a:gd name="connsiteY471" fmla="*/ 1540592 h 5202210"/>
                <a:gd name="connsiteX472" fmla="*/ 552821 w 3869436"/>
                <a:gd name="connsiteY472" fmla="*/ 1580102 h 5202210"/>
                <a:gd name="connsiteX473" fmla="*/ 522051 w 3869436"/>
                <a:gd name="connsiteY473" fmla="*/ 1606441 h 5202210"/>
                <a:gd name="connsiteX474" fmla="*/ 487983 w 3869436"/>
                <a:gd name="connsiteY474" fmla="*/ 1604246 h 5202210"/>
                <a:gd name="connsiteX475" fmla="*/ 422046 w 3869436"/>
                <a:gd name="connsiteY475" fmla="*/ 1591077 h 5202210"/>
                <a:gd name="connsiteX476" fmla="*/ 409958 w 3869436"/>
                <a:gd name="connsiteY476" fmla="*/ 1605344 h 5202210"/>
                <a:gd name="connsiteX477" fmla="*/ 414354 w 3869436"/>
                <a:gd name="connsiteY477" fmla="*/ 1644853 h 5202210"/>
                <a:gd name="connsiteX478" fmla="*/ 417651 w 3869436"/>
                <a:gd name="connsiteY478" fmla="*/ 1666803 h 5202210"/>
                <a:gd name="connsiteX479" fmla="*/ 412156 w 3869436"/>
                <a:gd name="connsiteY479" fmla="*/ 1678875 h 5202210"/>
                <a:gd name="connsiteX480" fmla="*/ 417651 w 3869436"/>
                <a:gd name="connsiteY480" fmla="*/ 1715092 h 5202210"/>
                <a:gd name="connsiteX481" fmla="*/ 485786 w 3869436"/>
                <a:gd name="connsiteY481" fmla="*/ 1732652 h 5202210"/>
                <a:gd name="connsiteX482" fmla="*/ 495676 w 3869436"/>
                <a:gd name="connsiteY482" fmla="*/ 1732652 h 5202210"/>
                <a:gd name="connsiteX483" fmla="*/ 539634 w 3869436"/>
                <a:gd name="connsiteY483" fmla="*/ 1746919 h 5202210"/>
                <a:gd name="connsiteX484" fmla="*/ 544030 w 3869436"/>
                <a:gd name="connsiteY484" fmla="*/ 1777649 h 5202210"/>
                <a:gd name="connsiteX485" fmla="*/ 544030 w 3869436"/>
                <a:gd name="connsiteY485" fmla="*/ 1813866 h 5202210"/>
                <a:gd name="connsiteX486" fmla="*/ 542931 w 3869436"/>
                <a:gd name="connsiteY486" fmla="*/ 1839108 h 5202210"/>
                <a:gd name="connsiteX487" fmla="*/ 525348 w 3869436"/>
                <a:gd name="connsiteY487" fmla="*/ 1848985 h 5202210"/>
                <a:gd name="connsiteX488" fmla="*/ 514358 w 3869436"/>
                <a:gd name="connsiteY488" fmla="*/ 1864350 h 5202210"/>
                <a:gd name="connsiteX489" fmla="*/ 518754 w 3869436"/>
                <a:gd name="connsiteY489" fmla="*/ 1888495 h 5202210"/>
                <a:gd name="connsiteX490" fmla="*/ 518754 w 3869436"/>
                <a:gd name="connsiteY490" fmla="*/ 1908249 h 5202210"/>
                <a:gd name="connsiteX491" fmla="*/ 501171 w 3869436"/>
                <a:gd name="connsiteY491" fmla="*/ 1915932 h 5202210"/>
                <a:gd name="connsiteX492" fmla="*/ 436333 w 3869436"/>
                <a:gd name="connsiteY492" fmla="*/ 1953246 h 5202210"/>
                <a:gd name="connsiteX493" fmla="*/ 406661 w 3869436"/>
                <a:gd name="connsiteY493" fmla="*/ 1973001 h 5202210"/>
                <a:gd name="connsiteX494" fmla="*/ 379188 w 3869436"/>
                <a:gd name="connsiteY494" fmla="*/ 1993853 h 5202210"/>
                <a:gd name="connsiteX495" fmla="*/ 379188 w 3869436"/>
                <a:gd name="connsiteY495" fmla="*/ 2004828 h 5202210"/>
                <a:gd name="connsiteX496" fmla="*/ 403365 w 3869436"/>
                <a:gd name="connsiteY496" fmla="*/ 2017998 h 5202210"/>
                <a:gd name="connsiteX497" fmla="*/ 415453 w 3869436"/>
                <a:gd name="connsiteY497" fmla="*/ 2022387 h 5202210"/>
                <a:gd name="connsiteX498" fmla="*/ 434135 w 3869436"/>
                <a:gd name="connsiteY498" fmla="*/ 2043240 h 5202210"/>
                <a:gd name="connsiteX499" fmla="*/ 420948 w 3869436"/>
                <a:gd name="connsiteY499" fmla="*/ 2084944 h 5202210"/>
                <a:gd name="connsiteX500" fmla="*/ 395672 w 3869436"/>
                <a:gd name="connsiteY500" fmla="*/ 2093724 h 5202210"/>
                <a:gd name="connsiteX501" fmla="*/ 376990 w 3869436"/>
                <a:gd name="connsiteY501" fmla="*/ 2095919 h 5202210"/>
                <a:gd name="connsiteX502" fmla="*/ 357209 w 3869436"/>
                <a:gd name="connsiteY502" fmla="*/ 2106894 h 5202210"/>
                <a:gd name="connsiteX503" fmla="*/ 302261 w 3869436"/>
                <a:gd name="connsiteY503" fmla="*/ 2128844 h 5202210"/>
                <a:gd name="connsiteX504" fmla="*/ 269293 w 3869436"/>
                <a:gd name="connsiteY504" fmla="*/ 2140916 h 5202210"/>
                <a:gd name="connsiteX505" fmla="*/ 239621 w 3869436"/>
                <a:gd name="connsiteY505" fmla="*/ 2144208 h 5202210"/>
                <a:gd name="connsiteX506" fmla="*/ 229730 w 3869436"/>
                <a:gd name="connsiteY506" fmla="*/ 2133233 h 5202210"/>
                <a:gd name="connsiteX507" fmla="*/ 209949 w 3869436"/>
                <a:gd name="connsiteY507" fmla="*/ 2124454 h 5202210"/>
                <a:gd name="connsiteX508" fmla="*/ 184673 w 3869436"/>
                <a:gd name="connsiteY508" fmla="*/ 2112381 h 5202210"/>
                <a:gd name="connsiteX509" fmla="*/ 148408 w 3869436"/>
                <a:gd name="connsiteY509" fmla="*/ 2101406 h 5202210"/>
                <a:gd name="connsiteX510" fmla="*/ 103351 w 3869436"/>
                <a:gd name="connsiteY510" fmla="*/ 2126648 h 5202210"/>
                <a:gd name="connsiteX511" fmla="*/ 87966 w 3869436"/>
                <a:gd name="connsiteY511" fmla="*/ 2137623 h 5202210"/>
                <a:gd name="connsiteX512" fmla="*/ 79175 w 3869436"/>
                <a:gd name="connsiteY512" fmla="*/ 2143111 h 5202210"/>
                <a:gd name="connsiteX513" fmla="*/ 68185 w 3869436"/>
                <a:gd name="connsiteY513" fmla="*/ 2182620 h 5202210"/>
                <a:gd name="connsiteX514" fmla="*/ 86867 w 3869436"/>
                <a:gd name="connsiteY514" fmla="*/ 2201277 h 5202210"/>
                <a:gd name="connsiteX515" fmla="*/ 105549 w 3869436"/>
                <a:gd name="connsiteY515" fmla="*/ 2226519 h 5202210"/>
                <a:gd name="connsiteX516" fmla="*/ 106648 w 3869436"/>
                <a:gd name="connsiteY516" fmla="*/ 2252859 h 5202210"/>
                <a:gd name="connsiteX517" fmla="*/ 118736 w 3869436"/>
                <a:gd name="connsiteY517" fmla="*/ 2279199 h 5202210"/>
                <a:gd name="connsiteX518" fmla="*/ 131924 w 3869436"/>
                <a:gd name="connsiteY518" fmla="*/ 2313221 h 5202210"/>
                <a:gd name="connsiteX519" fmla="*/ 141814 w 3869436"/>
                <a:gd name="connsiteY519" fmla="*/ 2334073 h 5202210"/>
                <a:gd name="connsiteX520" fmla="*/ 163793 w 3869436"/>
                <a:gd name="connsiteY520" fmla="*/ 2436139 h 5202210"/>
                <a:gd name="connsiteX521" fmla="*/ 131924 w 3869436"/>
                <a:gd name="connsiteY521" fmla="*/ 2487720 h 5202210"/>
                <a:gd name="connsiteX522" fmla="*/ 120935 w 3869436"/>
                <a:gd name="connsiteY522" fmla="*/ 2506378 h 5202210"/>
                <a:gd name="connsiteX523" fmla="*/ 113242 w 3869436"/>
                <a:gd name="connsiteY523" fmla="*/ 2523938 h 5202210"/>
                <a:gd name="connsiteX524" fmla="*/ 109945 w 3869436"/>
                <a:gd name="connsiteY524" fmla="*/ 2527230 h 5202210"/>
                <a:gd name="connsiteX525" fmla="*/ 94559 w 3869436"/>
                <a:gd name="connsiteY525" fmla="*/ 2554667 h 5202210"/>
                <a:gd name="connsiteX526" fmla="*/ 97856 w 3869436"/>
                <a:gd name="connsiteY526" fmla="*/ 2560154 h 5202210"/>
                <a:gd name="connsiteX527" fmla="*/ 113242 w 3869436"/>
                <a:gd name="connsiteY527" fmla="*/ 2561252 h 5202210"/>
                <a:gd name="connsiteX528" fmla="*/ 137419 w 3869436"/>
                <a:gd name="connsiteY528" fmla="*/ 2565642 h 5202210"/>
                <a:gd name="connsiteX529" fmla="*/ 144012 w 3869436"/>
                <a:gd name="connsiteY529" fmla="*/ 2589787 h 5202210"/>
                <a:gd name="connsiteX530" fmla="*/ 118736 w 3869436"/>
                <a:gd name="connsiteY530" fmla="*/ 2604054 h 5202210"/>
                <a:gd name="connsiteX531" fmla="*/ 63789 w 3869436"/>
                <a:gd name="connsiteY531" fmla="*/ 2638076 h 5202210"/>
                <a:gd name="connsiteX532" fmla="*/ 25326 w 3869436"/>
                <a:gd name="connsiteY532" fmla="*/ 2656733 h 5202210"/>
                <a:gd name="connsiteX533" fmla="*/ 9940 w 3869436"/>
                <a:gd name="connsiteY533" fmla="*/ 2653440 h 5202210"/>
                <a:gd name="connsiteX534" fmla="*/ 3347 w 3869436"/>
                <a:gd name="connsiteY534" fmla="*/ 2661123 h 5202210"/>
                <a:gd name="connsiteX535" fmla="*/ 3347 w 3869436"/>
                <a:gd name="connsiteY535" fmla="*/ 2699535 h 5202210"/>
                <a:gd name="connsiteX536" fmla="*/ 12138 w 3869436"/>
                <a:gd name="connsiteY536" fmla="*/ 2705022 h 5202210"/>
                <a:gd name="connsiteX537" fmla="*/ 13238 w 3869436"/>
                <a:gd name="connsiteY537" fmla="*/ 2705022 h 5202210"/>
                <a:gd name="connsiteX538" fmla="*/ 36315 w 3869436"/>
                <a:gd name="connsiteY538" fmla="*/ 2696242 h 5202210"/>
                <a:gd name="connsiteX539" fmla="*/ 65987 w 3869436"/>
                <a:gd name="connsiteY539" fmla="*/ 2694047 h 5202210"/>
                <a:gd name="connsiteX540" fmla="*/ 69284 w 3869436"/>
                <a:gd name="connsiteY540" fmla="*/ 2717095 h 5202210"/>
                <a:gd name="connsiteX541" fmla="*/ 70382 w 3869436"/>
                <a:gd name="connsiteY541" fmla="*/ 2736849 h 5202210"/>
                <a:gd name="connsiteX542" fmla="*/ 89065 w 3869436"/>
                <a:gd name="connsiteY542" fmla="*/ 2747824 h 5202210"/>
                <a:gd name="connsiteX543" fmla="*/ 105549 w 3869436"/>
                <a:gd name="connsiteY543" fmla="*/ 2764286 h 5202210"/>
                <a:gd name="connsiteX544" fmla="*/ 78075 w 3869436"/>
                <a:gd name="connsiteY544" fmla="*/ 2797211 h 5202210"/>
                <a:gd name="connsiteX545" fmla="*/ 60492 w 3869436"/>
                <a:gd name="connsiteY545" fmla="*/ 2812576 h 5202210"/>
                <a:gd name="connsiteX546" fmla="*/ 53898 w 3869436"/>
                <a:gd name="connsiteY546" fmla="*/ 2859768 h 5202210"/>
                <a:gd name="connsiteX547" fmla="*/ 78075 w 3869436"/>
                <a:gd name="connsiteY547" fmla="*/ 2875132 h 5202210"/>
                <a:gd name="connsiteX548" fmla="*/ 80273 w 3869436"/>
                <a:gd name="connsiteY548" fmla="*/ 2875132 h 5202210"/>
                <a:gd name="connsiteX549" fmla="*/ 111044 w 3869436"/>
                <a:gd name="connsiteY549" fmla="*/ 2904764 h 5202210"/>
                <a:gd name="connsiteX550" fmla="*/ 125330 w 3869436"/>
                <a:gd name="connsiteY550" fmla="*/ 2933299 h 5202210"/>
                <a:gd name="connsiteX551" fmla="*/ 136319 w 3869436"/>
                <a:gd name="connsiteY551" fmla="*/ 2930006 h 5202210"/>
                <a:gd name="connsiteX552" fmla="*/ 150606 w 3869436"/>
                <a:gd name="connsiteY552" fmla="*/ 2927811 h 5202210"/>
                <a:gd name="connsiteX553" fmla="*/ 158298 w 3869436"/>
                <a:gd name="connsiteY553" fmla="*/ 2938786 h 5202210"/>
                <a:gd name="connsiteX554" fmla="*/ 148408 w 3869436"/>
                <a:gd name="connsiteY554" fmla="*/ 2967321 h 5202210"/>
                <a:gd name="connsiteX555" fmla="*/ 144012 w 3869436"/>
                <a:gd name="connsiteY555" fmla="*/ 2970613 h 5202210"/>
                <a:gd name="connsiteX556" fmla="*/ 140715 w 3869436"/>
                <a:gd name="connsiteY556" fmla="*/ 2972808 h 5202210"/>
                <a:gd name="connsiteX557" fmla="*/ 126429 w 3869436"/>
                <a:gd name="connsiteY557" fmla="*/ 3003538 h 5202210"/>
                <a:gd name="connsiteX558" fmla="*/ 133023 w 3869436"/>
                <a:gd name="connsiteY558" fmla="*/ 3022195 h 5202210"/>
                <a:gd name="connsiteX559" fmla="*/ 153903 w 3869436"/>
                <a:gd name="connsiteY559" fmla="*/ 3027682 h 5202210"/>
                <a:gd name="connsiteX560" fmla="*/ 159398 w 3869436"/>
                <a:gd name="connsiteY560" fmla="*/ 3025487 h 5202210"/>
                <a:gd name="connsiteX561" fmla="*/ 185772 w 3869436"/>
                <a:gd name="connsiteY561" fmla="*/ 3023292 h 5202210"/>
                <a:gd name="connsiteX562" fmla="*/ 191267 w 3869436"/>
                <a:gd name="connsiteY562" fmla="*/ 3035365 h 5202210"/>
                <a:gd name="connsiteX563" fmla="*/ 189069 w 3869436"/>
                <a:gd name="connsiteY563" fmla="*/ 3055119 h 5202210"/>
                <a:gd name="connsiteX564" fmla="*/ 189069 w 3869436"/>
                <a:gd name="connsiteY564" fmla="*/ 3067192 h 5202210"/>
                <a:gd name="connsiteX565" fmla="*/ 189069 w 3869436"/>
                <a:gd name="connsiteY565" fmla="*/ 3082556 h 5202210"/>
                <a:gd name="connsiteX566" fmla="*/ 192366 w 3869436"/>
                <a:gd name="connsiteY566" fmla="*/ 3105604 h 5202210"/>
                <a:gd name="connsiteX567" fmla="*/ 201158 w 3869436"/>
                <a:gd name="connsiteY567" fmla="*/ 3120968 h 5202210"/>
                <a:gd name="connsiteX568" fmla="*/ 205554 w 3869436"/>
                <a:gd name="connsiteY568" fmla="*/ 3160478 h 5202210"/>
                <a:gd name="connsiteX569" fmla="*/ 183575 w 3869436"/>
                <a:gd name="connsiteY569" fmla="*/ 3163770 h 5202210"/>
                <a:gd name="connsiteX570" fmla="*/ 165991 w 3869436"/>
                <a:gd name="connsiteY570" fmla="*/ 3167063 h 5202210"/>
                <a:gd name="connsiteX571" fmla="*/ 153903 w 3869436"/>
                <a:gd name="connsiteY571" fmla="*/ 3184622 h 5202210"/>
                <a:gd name="connsiteX572" fmla="*/ 131924 w 3869436"/>
                <a:gd name="connsiteY572" fmla="*/ 3205475 h 5202210"/>
                <a:gd name="connsiteX573" fmla="*/ 100054 w 3869436"/>
                <a:gd name="connsiteY573" fmla="*/ 3238399 h 5202210"/>
                <a:gd name="connsiteX574" fmla="*/ 89065 w 3869436"/>
                <a:gd name="connsiteY574" fmla="*/ 3264738 h 5202210"/>
                <a:gd name="connsiteX575" fmla="*/ 80273 w 3869436"/>
                <a:gd name="connsiteY575" fmla="*/ 3297663 h 5202210"/>
                <a:gd name="connsiteX576" fmla="*/ 102252 w 3869436"/>
                <a:gd name="connsiteY576" fmla="*/ 3384364 h 5202210"/>
                <a:gd name="connsiteX577" fmla="*/ 120935 w 3869436"/>
                <a:gd name="connsiteY577" fmla="*/ 3406314 h 5202210"/>
                <a:gd name="connsiteX578" fmla="*/ 137419 w 3869436"/>
                <a:gd name="connsiteY578" fmla="*/ 3432654 h 5202210"/>
                <a:gd name="connsiteX579" fmla="*/ 138517 w 3869436"/>
                <a:gd name="connsiteY579" fmla="*/ 3443629 h 5202210"/>
                <a:gd name="connsiteX580" fmla="*/ 158298 w 3869436"/>
                <a:gd name="connsiteY580" fmla="*/ 3467773 h 5202210"/>
                <a:gd name="connsiteX581" fmla="*/ 179179 w 3869436"/>
                <a:gd name="connsiteY581" fmla="*/ 3475455 h 5202210"/>
                <a:gd name="connsiteX582" fmla="*/ 206652 w 3869436"/>
                <a:gd name="connsiteY582" fmla="*/ 3479846 h 5202210"/>
                <a:gd name="connsiteX583" fmla="*/ 211048 w 3869436"/>
                <a:gd name="connsiteY583" fmla="*/ 3478748 h 5202210"/>
                <a:gd name="connsiteX584" fmla="*/ 238522 w 3869436"/>
                <a:gd name="connsiteY584" fmla="*/ 3482041 h 5202210"/>
                <a:gd name="connsiteX585" fmla="*/ 242918 w 3869436"/>
                <a:gd name="connsiteY585" fmla="*/ 3500697 h 5202210"/>
                <a:gd name="connsiteX586" fmla="*/ 236324 w 3869436"/>
                <a:gd name="connsiteY586" fmla="*/ 3521550 h 5202210"/>
                <a:gd name="connsiteX587" fmla="*/ 231928 w 3869436"/>
                <a:gd name="connsiteY587" fmla="*/ 3535817 h 5202210"/>
                <a:gd name="connsiteX588" fmla="*/ 202256 w 3869436"/>
                <a:gd name="connsiteY588" fmla="*/ 3603861 h 5202210"/>
                <a:gd name="connsiteX589" fmla="*/ 174783 w 3869436"/>
                <a:gd name="connsiteY589" fmla="*/ 3637883 h 5202210"/>
                <a:gd name="connsiteX590" fmla="*/ 165991 w 3869436"/>
                <a:gd name="connsiteY590" fmla="*/ 3660930 h 5202210"/>
                <a:gd name="connsiteX591" fmla="*/ 161596 w 3869436"/>
                <a:gd name="connsiteY591" fmla="*/ 3683977 h 5202210"/>
                <a:gd name="connsiteX592" fmla="*/ 156101 w 3869436"/>
                <a:gd name="connsiteY592" fmla="*/ 3722389 h 5202210"/>
                <a:gd name="connsiteX593" fmla="*/ 185772 w 3869436"/>
                <a:gd name="connsiteY593" fmla="*/ 3731169 h 5202210"/>
                <a:gd name="connsiteX594" fmla="*/ 238522 w 3869436"/>
                <a:gd name="connsiteY594" fmla="*/ 3758606 h 5202210"/>
                <a:gd name="connsiteX595" fmla="*/ 271491 w 3869436"/>
                <a:gd name="connsiteY595" fmla="*/ 3848600 h 5202210"/>
                <a:gd name="connsiteX596" fmla="*/ 271491 w 3869436"/>
                <a:gd name="connsiteY596" fmla="*/ 3850795 h 5202210"/>
                <a:gd name="connsiteX597" fmla="*/ 284678 w 3869436"/>
                <a:gd name="connsiteY597" fmla="*/ 3869452 h 5202210"/>
                <a:gd name="connsiteX598" fmla="*/ 308855 w 3869436"/>
                <a:gd name="connsiteY598" fmla="*/ 3887012 h 5202210"/>
                <a:gd name="connsiteX599" fmla="*/ 322042 w 3869436"/>
                <a:gd name="connsiteY599" fmla="*/ 3915547 h 5202210"/>
                <a:gd name="connsiteX600" fmla="*/ 327537 w 3869436"/>
                <a:gd name="connsiteY600" fmla="*/ 3923228 h 5202210"/>
                <a:gd name="connsiteX601" fmla="*/ 333032 w 3869436"/>
                <a:gd name="connsiteY601" fmla="*/ 3923228 h 5202210"/>
                <a:gd name="connsiteX602" fmla="*/ 348417 w 3869436"/>
                <a:gd name="connsiteY602" fmla="*/ 3888110 h 5202210"/>
                <a:gd name="connsiteX603" fmla="*/ 357209 w 3869436"/>
                <a:gd name="connsiteY603" fmla="*/ 3876037 h 5202210"/>
                <a:gd name="connsiteX604" fmla="*/ 381386 w 3869436"/>
                <a:gd name="connsiteY604" fmla="*/ 3883719 h 5202210"/>
                <a:gd name="connsiteX605" fmla="*/ 402265 w 3869436"/>
                <a:gd name="connsiteY605" fmla="*/ 3893597 h 5202210"/>
                <a:gd name="connsiteX606" fmla="*/ 429739 w 3869436"/>
                <a:gd name="connsiteY606" fmla="*/ 3934203 h 5202210"/>
                <a:gd name="connsiteX607" fmla="*/ 437432 w 3869436"/>
                <a:gd name="connsiteY607" fmla="*/ 3958348 h 5202210"/>
                <a:gd name="connsiteX608" fmla="*/ 440728 w 3869436"/>
                <a:gd name="connsiteY608" fmla="*/ 3961640 h 5202210"/>
                <a:gd name="connsiteX609" fmla="*/ 450619 w 3869436"/>
                <a:gd name="connsiteY609" fmla="*/ 3957251 h 5202210"/>
                <a:gd name="connsiteX610" fmla="*/ 505567 w 3869436"/>
                <a:gd name="connsiteY610" fmla="*/ 3945178 h 5202210"/>
                <a:gd name="connsiteX611" fmla="*/ 513260 w 3869436"/>
                <a:gd name="connsiteY611" fmla="*/ 3946276 h 5202210"/>
                <a:gd name="connsiteX612" fmla="*/ 576998 w 3869436"/>
                <a:gd name="connsiteY612" fmla="*/ 3935301 h 5202210"/>
                <a:gd name="connsiteX613" fmla="*/ 600076 w 3869436"/>
                <a:gd name="connsiteY613" fmla="*/ 3921034 h 5202210"/>
                <a:gd name="connsiteX614" fmla="*/ 650628 w 3869436"/>
                <a:gd name="connsiteY614" fmla="*/ 3940789 h 5202210"/>
                <a:gd name="connsiteX615" fmla="*/ 677003 w 3869436"/>
                <a:gd name="connsiteY615" fmla="*/ 3971518 h 5202210"/>
                <a:gd name="connsiteX616" fmla="*/ 683597 w 3869436"/>
                <a:gd name="connsiteY616" fmla="*/ 3982493 h 5202210"/>
                <a:gd name="connsiteX617" fmla="*/ 701180 w 3869436"/>
                <a:gd name="connsiteY617" fmla="*/ 3996760 h 5202210"/>
                <a:gd name="connsiteX618" fmla="*/ 716565 w 3869436"/>
                <a:gd name="connsiteY618" fmla="*/ 4006638 h 5202210"/>
                <a:gd name="connsiteX619" fmla="*/ 759424 w 3869436"/>
                <a:gd name="connsiteY619" fmla="*/ 4011027 h 5202210"/>
                <a:gd name="connsiteX620" fmla="*/ 771513 w 3869436"/>
                <a:gd name="connsiteY620" fmla="*/ 4008833 h 5202210"/>
                <a:gd name="connsiteX621" fmla="*/ 822064 w 3869436"/>
                <a:gd name="connsiteY621" fmla="*/ 4014320 h 5202210"/>
                <a:gd name="connsiteX622" fmla="*/ 841845 w 3869436"/>
                <a:gd name="connsiteY622" fmla="*/ 4019808 h 5202210"/>
                <a:gd name="connsiteX623" fmla="*/ 897892 w 3869436"/>
                <a:gd name="connsiteY623" fmla="*/ 4054926 h 5202210"/>
                <a:gd name="connsiteX624" fmla="*/ 903386 w 3869436"/>
                <a:gd name="connsiteY624" fmla="*/ 4060414 h 5202210"/>
                <a:gd name="connsiteX625" fmla="*/ 931959 w 3869436"/>
                <a:gd name="connsiteY625" fmla="*/ 4068096 h 5202210"/>
                <a:gd name="connsiteX626" fmla="*/ 960531 w 3869436"/>
                <a:gd name="connsiteY626" fmla="*/ 4072487 h 5202210"/>
                <a:gd name="connsiteX627" fmla="*/ 969323 w 3869436"/>
                <a:gd name="connsiteY627" fmla="*/ 4085657 h 5202210"/>
                <a:gd name="connsiteX628" fmla="*/ 952839 w 3869436"/>
                <a:gd name="connsiteY628" fmla="*/ 4113094 h 5202210"/>
                <a:gd name="connsiteX629" fmla="*/ 938552 w 3869436"/>
                <a:gd name="connsiteY629" fmla="*/ 4130653 h 5202210"/>
                <a:gd name="connsiteX630" fmla="*/ 923167 w 3869436"/>
                <a:gd name="connsiteY630" fmla="*/ 4159187 h 5202210"/>
                <a:gd name="connsiteX631" fmla="*/ 906683 w 3869436"/>
                <a:gd name="connsiteY631" fmla="*/ 4187722 h 5202210"/>
                <a:gd name="connsiteX632" fmla="*/ 882506 w 3869436"/>
                <a:gd name="connsiteY632" fmla="*/ 4204185 h 5202210"/>
                <a:gd name="connsiteX633" fmla="*/ 870418 w 3869436"/>
                <a:gd name="connsiteY633" fmla="*/ 4212964 h 5202210"/>
                <a:gd name="connsiteX634" fmla="*/ 860527 w 3869436"/>
                <a:gd name="connsiteY634" fmla="*/ 4228330 h 5202210"/>
                <a:gd name="connsiteX635" fmla="*/ 833053 w 3869436"/>
                <a:gd name="connsiteY635" fmla="*/ 4263448 h 5202210"/>
                <a:gd name="connsiteX636" fmla="*/ 791294 w 3869436"/>
                <a:gd name="connsiteY636" fmla="*/ 4322713 h 5202210"/>
                <a:gd name="connsiteX637" fmla="*/ 787997 w 3869436"/>
                <a:gd name="connsiteY637" fmla="*/ 4330395 h 5202210"/>
                <a:gd name="connsiteX638" fmla="*/ 766018 w 3869436"/>
                <a:gd name="connsiteY638" fmla="*/ 4414902 h 5202210"/>
                <a:gd name="connsiteX639" fmla="*/ 751731 w 3869436"/>
                <a:gd name="connsiteY639" fmla="*/ 4456606 h 5202210"/>
                <a:gd name="connsiteX640" fmla="*/ 741841 w 3869436"/>
                <a:gd name="connsiteY640" fmla="*/ 4473068 h 5202210"/>
                <a:gd name="connsiteX641" fmla="*/ 735247 w 3869436"/>
                <a:gd name="connsiteY641" fmla="*/ 4508188 h 5202210"/>
                <a:gd name="connsiteX642" fmla="*/ 727555 w 3869436"/>
                <a:gd name="connsiteY642" fmla="*/ 4554282 h 5202210"/>
                <a:gd name="connsiteX643" fmla="*/ 706674 w 3869436"/>
                <a:gd name="connsiteY643" fmla="*/ 4586109 h 5202210"/>
                <a:gd name="connsiteX644" fmla="*/ 692388 w 3869436"/>
                <a:gd name="connsiteY644" fmla="*/ 4604766 h 5202210"/>
                <a:gd name="connsiteX645" fmla="*/ 670409 w 3869436"/>
                <a:gd name="connsiteY645" fmla="*/ 4678298 h 5202210"/>
                <a:gd name="connsiteX646" fmla="*/ 675904 w 3869436"/>
                <a:gd name="connsiteY646" fmla="*/ 4709027 h 5202210"/>
                <a:gd name="connsiteX647" fmla="*/ 684695 w 3869436"/>
                <a:gd name="connsiteY647" fmla="*/ 4741952 h 5202210"/>
                <a:gd name="connsiteX648" fmla="*/ 673706 w 3869436"/>
                <a:gd name="connsiteY648" fmla="*/ 4781461 h 5202210"/>
                <a:gd name="connsiteX649" fmla="*/ 663815 w 3869436"/>
                <a:gd name="connsiteY649" fmla="*/ 4813288 h 5202210"/>
                <a:gd name="connsiteX650" fmla="*/ 649529 w 3869436"/>
                <a:gd name="connsiteY650" fmla="*/ 4861577 h 5202210"/>
                <a:gd name="connsiteX651" fmla="*/ 642935 w 3869436"/>
                <a:gd name="connsiteY651" fmla="*/ 4874747 h 5202210"/>
                <a:gd name="connsiteX652" fmla="*/ 645133 w 3869436"/>
                <a:gd name="connsiteY652" fmla="*/ 4916451 h 5202210"/>
                <a:gd name="connsiteX653" fmla="*/ 653925 w 3869436"/>
                <a:gd name="connsiteY653" fmla="*/ 4943888 h 5202210"/>
                <a:gd name="connsiteX654" fmla="*/ 648430 w 3869436"/>
                <a:gd name="connsiteY654" fmla="*/ 4998762 h 5202210"/>
                <a:gd name="connsiteX655" fmla="*/ 702278 w 3869436"/>
                <a:gd name="connsiteY655" fmla="*/ 5013030 h 5202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</a:cxnLst>
              <a:rect l="l" t="t" r="r" b="b"/>
              <a:pathLst>
                <a:path w="3869436" h="5202210">
                  <a:moveTo>
                    <a:pt x="702278" y="5013030"/>
                  </a:moveTo>
                  <a:cubicBezTo>
                    <a:pt x="722060" y="5020712"/>
                    <a:pt x="734148" y="5015225"/>
                    <a:pt x="753929" y="5006445"/>
                  </a:cubicBezTo>
                  <a:lnTo>
                    <a:pt x="756127" y="5005348"/>
                  </a:lnTo>
                  <a:cubicBezTo>
                    <a:pt x="777007" y="4996568"/>
                    <a:pt x="807778" y="4994373"/>
                    <a:pt x="823163" y="5006445"/>
                  </a:cubicBezTo>
                  <a:cubicBezTo>
                    <a:pt x="834152" y="5014127"/>
                    <a:pt x="846241" y="5014127"/>
                    <a:pt x="868220" y="5014127"/>
                  </a:cubicBezTo>
                  <a:lnTo>
                    <a:pt x="875913" y="5014127"/>
                  </a:lnTo>
                  <a:cubicBezTo>
                    <a:pt x="892397" y="5014127"/>
                    <a:pt x="895694" y="5009737"/>
                    <a:pt x="903386" y="5000957"/>
                  </a:cubicBezTo>
                  <a:cubicBezTo>
                    <a:pt x="906683" y="4997665"/>
                    <a:pt x="909980" y="4993275"/>
                    <a:pt x="914376" y="4988885"/>
                  </a:cubicBezTo>
                  <a:cubicBezTo>
                    <a:pt x="928662" y="4975715"/>
                    <a:pt x="956136" y="4968033"/>
                    <a:pt x="1003391" y="4999860"/>
                  </a:cubicBezTo>
                  <a:cubicBezTo>
                    <a:pt x="1029766" y="5017420"/>
                    <a:pt x="1056140" y="5008640"/>
                    <a:pt x="1075921" y="5000957"/>
                  </a:cubicBezTo>
                  <a:cubicBezTo>
                    <a:pt x="1082515" y="4998762"/>
                    <a:pt x="1089109" y="4996568"/>
                    <a:pt x="1094603" y="4995470"/>
                  </a:cubicBezTo>
                  <a:cubicBezTo>
                    <a:pt x="1106692" y="4993275"/>
                    <a:pt x="1114384" y="4985593"/>
                    <a:pt x="1125374" y="4974618"/>
                  </a:cubicBezTo>
                  <a:cubicBezTo>
                    <a:pt x="1130868" y="4969131"/>
                    <a:pt x="1136363" y="4963643"/>
                    <a:pt x="1144056" y="4957058"/>
                  </a:cubicBezTo>
                  <a:cubicBezTo>
                    <a:pt x="1151749" y="4951571"/>
                    <a:pt x="1152847" y="4947181"/>
                    <a:pt x="1152847" y="4944986"/>
                  </a:cubicBezTo>
                  <a:cubicBezTo>
                    <a:pt x="1151749" y="4941694"/>
                    <a:pt x="1142957" y="4937304"/>
                    <a:pt x="1128671" y="4937304"/>
                  </a:cubicBezTo>
                  <a:cubicBezTo>
                    <a:pt x="1120978" y="4937304"/>
                    <a:pt x="1113286" y="4941694"/>
                    <a:pt x="1104494" y="4947181"/>
                  </a:cubicBezTo>
                  <a:cubicBezTo>
                    <a:pt x="1090208" y="4955961"/>
                    <a:pt x="1071526" y="4966936"/>
                    <a:pt x="1053942" y="4951571"/>
                  </a:cubicBezTo>
                  <a:cubicBezTo>
                    <a:pt x="1046250" y="4944986"/>
                    <a:pt x="1042952" y="4936206"/>
                    <a:pt x="1045151" y="4926329"/>
                  </a:cubicBezTo>
                  <a:cubicBezTo>
                    <a:pt x="1049547" y="4904379"/>
                    <a:pt x="1078119" y="4880234"/>
                    <a:pt x="1101197" y="4873650"/>
                  </a:cubicBezTo>
                  <a:cubicBezTo>
                    <a:pt x="1136363" y="4863772"/>
                    <a:pt x="1168233" y="4871455"/>
                    <a:pt x="1183619" y="4894501"/>
                  </a:cubicBezTo>
                  <a:cubicBezTo>
                    <a:pt x="1190212" y="4905476"/>
                    <a:pt x="1202300" y="4907671"/>
                    <a:pt x="1216587" y="4909866"/>
                  </a:cubicBezTo>
                  <a:cubicBezTo>
                    <a:pt x="1227577" y="4912062"/>
                    <a:pt x="1239665" y="4914257"/>
                    <a:pt x="1251753" y="4920841"/>
                  </a:cubicBezTo>
                  <a:cubicBezTo>
                    <a:pt x="1256149" y="4924134"/>
                    <a:pt x="1260545" y="4926329"/>
                    <a:pt x="1263842" y="4928524"/>
                  </a:cubicBezTo>
                  <a:cubicBezTo>
                    <a:pt x="1278128" y="4938401"/>
                    <a:pt x="1283623" y="4942791"/>
                    <a:pt x="1302305" y="4936206"/>
                  </a:cubicBezTo>
                  <a:cubicBezTo>
                    <a:pt x="1331977" y="4928524"/>
                    <a:pt x="1386924" y="4938401"/>
                    <a:pt x="1410002" y="4954863"/>
                  </a:cubicBezTo>
                  <a:cubicBezTo>
                    <a:pt x="1418793" y="4961448"/>
                    <a:pt x="1430882" y="4964741"/>
                    <a:pt x="1441872" y="4966936"/>
                  </a:cubicBezTo>
                  <a:cubicBezTo>
                    <a:pt x="1458356" y="4971325"/>
                    <a:pt x="1474840" y="4975715"/>
                    <a:pt x="1483632" y="4988885"/>
                  </a:cubicBezTo>
                  <a:cubicBezTo>
                    <a:pt x="1493522" y="5002055"/>
                    <a:pt x="1507809" y="5006445"/>
                    <a:pt x="1529788" y="5013030"/>
                  </a:cubicBezTo>
                  <a:cubicBezTo>
                    <a:pt x="1537480" y="5015225"/>
                    <a:pt x="1546272" y="5017420"/>
                    <a:pt x="1555063" y="5020712"/>
                  </a:cubicBezTo>
                  <a:cubicBezTo>
                    <a:pt x="1573745" y="5026199"/>
                    <a:pt x="1591328" y="5044857"/>
                    <a:pt x="1605615" y="5065709"/>
                  </a:cubicBezTo>
                  <a:cubicBezTo>
                    <a:pt x="1611109" y="5061319"/>
                    <a:pt x="1619901" y="5053636"/>
                    <a:pt x="1626495" y="5047052"/>
                  </a:cubicBezTo>
                  <a:cubicBezTo>
                    <a:pt x="1629792" y="5043760"/>
                    <a:pt x="1630890" y="5038272"/>
                    <a:pt x="1631990" y="5032785"/>
                  </a:cubicBezTo>
                  <a:cubicBezTo>
                    <a:pt x="1634188" y="5022907"/>
                    <a:pt x="1636385" y="5010835"/>
                    <a:pt x="1650672" y="5004250"/>
                  </a:cubicBezTo>
                  <a:cubicBezTo>
                    <a:pt x="1664958" y="4996568"/>
                    <a:pt x="1683640" y="4989983"/>
                    <a:pt x="1695729" y="5010835"/>
                  </a:cubicBezTo>
                  <a:cubicBezTo>
                    <a:pt x="1702322" y="5020712"/>
                    <a:pt x="1731994" y="5025102"/>
                    <a:pt x="1749577" y="5025102"/>
                  </a:cubicBezTo>
                  <a:cubicBezTo>
                    <a:pt x="1764962" y="5025102"/>
                    <a:pt x="1768259" y="5036077"/>
                    <a:pt x="1770457" y="5044857"/>
                  </a:cubicBezTo>
                  <a:cubicBezTo>
                    <a:pt x="1771556" y="5048149"/>
                    <a:pt x="1772655" y="5051442"/>
                    <a:pt x="1773754" y="5055832"/>
                  </a:cubicBezTo>
                  <a:cubicBezTo>
                    <a:pt x="1777051" y="5064611"/>
                    <a:pt x="1779248" y="5065709"/>
                    <a:pt x="1789139" y="5065709"/>
                  </a:cubicBezTo>
                  <a:cubicBezTo>
                    <a:pt x="1791337" y="5065709"/>
                    <a:pt x="1794634" y="5065709"/>
                    <a:pt x="1797931" y="5065709"/>
                  </a:cubicBezTo>
                  <a:cubicBezTo>
                    <a:pt x="1818811" y="5066806"/>
                    <a:pt x="1818811" y="5077781"/>
                    <a:pt x="1817712" y="5103023"/>
                  </a:cubicBezTo>
                  <a:lnTo>
                    <a:pt x="1817712" y="5107413"/>
                  </a:lnTo>
                  <a:cubicBezTo>
                    <a:pt x="1817712" y="5118388"/>
                    <a:pt x="1816613" y="5124973"/>
                    <a:pt x="1816613" y="5129363"/>
                  </a:cubicBezTo>
                  <a:cubicBezTo>
                    <a:pt x="1815514" y="5135948"/>
                    <a:pt x="1815514" y="5135948"/>
                    <a:pt x="1821009" y="5139241"/>
                  </a:cubicBezTo>
                  <a:cubicBezTo>
                    <a:pt x="1823206" y="5141435"/>
                    <a:pt x="1823206" y="5141435"/>
                    <a:pt x="1828701" y="5135948"/>
                  </a:cubicBezTo>
                  <a:cubicBezTo>
                    <a:pt x="1835295" y="5129363"/>
                    <a:pt x="1845185" y="5120583"/>
                    <a:pt x="1862769" y="5119485"/>
                  </a:cubicBezTo>
                  <a:cubicBezTo>
                    <a:pt x="1877055" y="5118388"/>
                    <a:pt x="1882550" y="5124973"/>
                    <a:pt x="1884748" y="5129363"/>
                  </a:cubicBezTo>
                  <a:cubicBezTo>
                    <a:pt x="1891341" y="5141435"/>
                    <a:pt x="1881451" y="5160093"/>
                    <a:pt x="1873758" y="5169970"/>
                  </a:cubicBezTo>
                  <a:cubicBezTo>
                    <a:pt x="1869362" y="5175458"/>
                    <a:pt x="1867164" y="5183140"/>
                    <a:pt x="1869362" y="5189725"/>
                  </a:cubicBezTo>
                  <a:cubicBezTo>
                    <a:pt x="1871560" y="5196309"/>
                    <a:pt x="1877055" y="5200700"/>
                    <a:pt x="1885847" y="5201797"/>
                  </a:cubicBezTo>
                  <a:cubicBezTo>
                    <a:pt x="1899034" y="5203992"/>
                    <a:pt x="1903430" y="5197407"/>
                    <a:pt x="1913320" y="5183140"/>
                  </a:cubicBezTo>
                  <a:cubicBezTo>
                    <a:pt x="1916617" y="5178750"/>
                    <a:pt x="1919914" y="5173262"/>
                    <a:pt x="1924310" y="5167775"/>
                  </a:cubicBezTo>
                  <a:cubicBezTo>
                    <a:pt x="1930904" y="5157897"/>
                    <a:pt x="1937497" y="5152410"/>
                    <a:pt x="1942992" y="5149118"/>
                  </a:cubicBezTo>
                  <a:cubicBezTo>
                    <a:pt x="1948487" y="5144728"/>
                    <a:pt x="1951784" y="5142533"/>
                    <a:pt x="1955080" y="5134851"/>
                  </a:cubicBezTo>
                  <a:cubicBezTo>
                    <a:pt x="1956180" y="5131558"/>
                    <a:pt x="1957278" y="5129363"/>
                    <a:pt x="1958378" y="5126071"/>
                  </a:cubicBezTo>
                  <a:cubicBezTo>
                    <a:pt x="1961674" y="5115096"/>
                    <a:pt x="1964971" y="5106316"/>
                    <a:pt x="1978159" y="5095341"/>
                  </a:cubicBezTo>
                  <a:cubicBezTo>
                    <a:pt x="1989148" y="5086561"/>
                    <a:pt x="1986950" y="5079976"/>
                    <a:pt x="1980357" y="5064611"/>
                  </a:cubicBezTo>
                  <a:cubicBezTo>
                    <a:pt x="1978159" y="5060222"/>
                    <a:pt x="1973763" y="5058027"/>
                    <a:pt x="1970466" y="5054734"/>
                  </a:cubicBezTo>
                  <a:cubicBezTo>
                    <a:pt x="1963872" y="5050344"/>
                    <a:pt x="1955080" y="5043760"/>
                    <a:pt x="1952883" y="5028395"/>
                  </a:cubicBezTo>
                  <a:cubicBezTo>
                    <a:pt x="1950685" y="5016322"/>
                    <a:pt x="1951784" y="5005348"/>
                    <a:pt x="1958378" y="4997665"/>
                  </a:cubicBezTo>
                  <a:cubicBezTo>
                    <a:pt x="1963872" y="4989983"/>
                    <a:pt x="1972664" y="4986690"/>
                    <a:pt x="1983653" y="4985593"/>
                  </a:cubicBezTo>
                  <a:cubicBezTo>
                    <a:pt x="1999038" y="4984495"/>
                    <a:pt x="2001236" y="4996568"/>
                    <a:pt x="2002336" y="5004250"/>
                  </a:cubicBezTo>
                  <a:cubicBezTo>
                    <a:pt x="2003434" y="5010835"/>
                    <a:pt x="2003434" y="5016322"/>
                    <a:pt x="2008929" y="5021810"/>
                  </a:cubicBezTo>
                  <a:cubicBezTo>
                    <a:pt x="2013325" y="5026199"/>
                    <a:pt x="2015523" y="5026199"/>
                    <a:pt x="2016622" y="5025102"/>
                  </a:cubicBezTo>
                  <a:cubicBezTo>
                    <a:pt x="2019919" y="5024005"/>
                    <a:pt x="2023215" y="5020712"/>
                    <a:pt x="2027611" y="5017420"/>
                  </a:cubicBezTo>
                  <a:cubicBezTo>
                    <a:pt x="2032007" y="5014127"/>
                    <a:pt x="2037502" y="5009737"/>
                    <a:pt x="2042996" y="5006445"/>
                  </a:cubicBezTo>
                  <a:cubicBezTo>
                    <a:pt x="2064975" y="4994373"/>
                    <a:pt x="2083658" y="5004250"/>
                    <a:pt x="2107835" y="5022907"/>
                  </a:cubicBezTo>
                  <a:cubicBezTo>
                    <a:pt x="2132012" y="5041564"/>
                    <a:pt x="2143001" y="5039369"/>
                    <a:pt x="2173772" y="5032785"/>
                  </a:cubicBezTo>
                  <a:cubicBezTo>
                    <a:pt x="2178168" y="5031687"/>
                    <a:pt x="2185860" y="5030590"/>
                    <a:pt x="2190256" y="5034980"/>
                  </a:cubicBezTo>
                  <a:cubicBezTo>
                    <a:pt x="2194652" y="5039369"/>
                    <a:pt x="2193552" y="5045955"/>
                    <a:pt x="2191354" y="5053636"/>
                  </a:cubicBezTo>
                  <a:cubicBezTo>
                    <a:pt x="2189157" y="5062417"/>
                    <a:pt x="2188058" y="5069002"/>
                    <a:pt x="2193552" y="5072294"/>
                  </a:cubicBezTo>
                  <a:cubicBezTo>
                    <a:pt x="2212235" y="5085464"/>
                    <a:pt x="2219928" y="5096439"/>
                    <a:pt x="2226521" y="5118388"/>
                  </a:cubicBezTo>
                  <a:cubicBezTo>
                    <a:pt x="2227620" y="5123876"/>
                    <a:pt x="2229818" y="5126071"/>
                    <a:pt x="2232016" y="5127168"/>
                  </a:cubicBezTo>
                  <a:cubicBezTo>
                    <a:pt x="2237510" y="5130460"/>
                    <a:pt x="2250698" y="5124973"/>
                    <a:pt x="2267182" y="5118388"/>
                  </a:cubicBezTo>
                  <a:lnTo>
                    <a:pt x="2272677" y="5116193"/>
                  </a:lnTo>
                  <a:cubicBezTo>
                    <a:pt x="2306744" y="5103023"/>
                    <a:pt x="2330921" y="5097536"/>
                    <a:pt x="2345207" y="5109609"/>
                  </a:cubicBezTo>
                  <a:cubicBezTo>
                    <a:pt x="2346307" y="5110706"/>
                    <a:pt x="2347405" y="5111804"/>
                    <a:pt x="2348505" y="5111804"/>
                  </a:cubicBezTo>
                  <a:cubicBezTo>
                    <a:pt x="2351801" y="5111804"/>
                    <a:pt x="2357296" y="5104121"/>
                    <a:pt x="2362791" y="5097536"/>
                  </a:cubicBezTo>
                  <a:cubicBezTo>
                    <a:pt x="2366088" y="5093146"/>
                    <a:pt x="2368286" y="5088756"/>
                    <a:pt x="2372681" y="5084367"/>
                  </a:cubicBezTo>
                  <a:cubicBezTo>
                    <a:pt x="2381473" y="5072294"/>
                    <a:pt x="2390265" y="5073392"/>
                    <a:pt x="2396858" y="5074489"/>
                  </a:cubicBezTo>
                  <a:cubicBezTo>
                    <a:pt x="2401254" y="5075586"/>
                    <a:pt x="2404551" y="5075586"/>
                    <a:pt x="2407848" y="5070099"/>
                  </a:cubicBezTo>
                  <a:cubicBezTo>
                    <a:pt x="2412244" y="5065709"/>
                    <a:pt x="2414442" y="5061319"/>
                    <a:pt x="2417738" y="5056929"/>
                  </a:cubicBezTo>
                  <a:cubicBezTo>
                    <a:pt x="2422134" y="5049247"/>
                    <a:pt x="2427629" y="5041564"/>
                    <a:pt x="2443014" y="5034980"/>
                  </a:cubicBezTo>
                  <a:cubicBezTo>
                    <a:pt x="2456202" y="5029492"/>
                    <a:pt x="2464993" y="5031687"/>
                    <a:pt x="2472686" y="5032785"/>
                  </a:cubicBezTo>
                  <a:cubicBezTo>
                    <a:pt x="2480379" y="5033882"/>
                    <a:pt x="2484774" y="5034980"/>
                    <a:pt x="2490269" y="5030590"/>
                  </a:cubicBezTo>
                  <a:cubicBezTo>
                    <a:pt x="2495763" y="5026199"/>
                    <a:pt x="2497962" y="5019615"/>
                    <a:pt x="2499060" y="5013030"/>
                  </a:cubicBezTo>
                  <a:cubicBezTo>
                    <a:pt x="2501258" y="5004250"/>
                    <a:pt x="2503456" y="4993275"/>
                    <a:pt x="2514446" y="4986690"/>
                  </a:cubicBezTo>
                  <a:cubicBezTo>
                    <a:pt x="2527633" y="4979008"/>
                    <a:pt x="2543018" y="4980106"/>
                    <a:pt x="2561700" y="4982300"/>
                  </a:cubicBezTo>
                  <a:cubicBezTo>
                    <a:pt x="2569393" y="4983398"/>
                    <a:pt x="2578185" y="4983398"/>
                    <a:pt x="2586976" y="4983398"/>
                  </a:cubicBezTo>
                  <a:cubicBezTo>
                    <a:pt x="2610054" y="4983398"/>
                    <a:pt x="2615549" y="4980106"/>
                    <a:pt x="2637528" y="4969131"/>
                  </a:cubicBezTo>
                  <a:cubicBezTo>
                    <a:pt x="2641924" y="4966936"/>
                    <a:pt x="2646320" y="4964741"/>
                    <a:pt x="2651814" y="4961448"/>
                  </a:cubicBezTo>
                  <a:cubicBezTo>
                    <a:pt x="2672695" y="4949376"/>
                    <a:pt x="2693575" y="4951571"/>
                    <a:pt x="2710059" y="4953766"/>
                  </a:cubicBezTo>
                  <a:cubicBezTo>
                    <a:pt x="2721049" y="4954863"/>
                    <a:pt x="2729840" y="4955961"/>
                    <a:pt x="2736433" y="4952669"/>
                  </a:cubicBezTo>
                  <a:cubicBezTo>
                    <a:pt x="2747422" y="4944986"/>
                    <a:pt x="2754017" y="4947181"/>
                    <a:pt x="2759512" y="4948278"/>
                  </a:cubicBezTo>
                  <a:cubicBezTo>
                    <a:pt x="2762808" y="4949376"/>
                    <a:pt x="2765007" y="4950473"/>
                    <a:pt x="2769401" y="4948278"/>
                  </a:cubicBezTo>
                  <a:cubicBezTo>
                    <a:pt x="2771600" y="4947181"/>
                    <a:pt x="2771600" y="4947181"/>
                    <a:pt x="2771600" y="4947181"/>
                  </a:cubicBezTo>
                  <a:cubicBezTo>
                    <a:pt x="2772699" y="4943888"/>
                    <a:pt x="2761709" y="4934011"/>
                    <a:pt x="2755116" y="4927426"/>
                  </a:cubicBezTo>
                  <a:lnTo>
                    <a:pt x="2750720" y="4923036"/>
                  </a:lnTo>
                  <a:cubicBezTo>
                    <a:pt x="2745225" y="4916451"/>
                    <a:pt x="2743028" y="4909866"/>
                    <a:pt x="2744126" y="4901087"/>
                  </a:cubicBezTo>
                  <a:cubicBezTo>
                    <a:pt x="2746324" y="4887917"/>
                    <a:pt x="2758412" y="4873650"/>
                    <a:pt x="2768303" y="4869259"/>
                  </a:cubicBezTo>
                  <a:cubicBezTo>
                    <a:pt x="2775996" y="4865967"/>
                    <a:pt x="2783688" y="4865967"/>
                    <a:pt x="2789183" y="4870357"/>
                  </a:cubicBezTo>
                  <a:cubicBezTo>
                    <a:pt x="2794678" y="4874747"/>
                    <a:pt x="2797975" y="4883527"/>
                    <a:pt x="2795776" y="4892307"/>
                  </a:cubicBezTo>
                  <a:cubicBezTo>
                    <a:pt x="2795776" y="4895599"/>
                    <a:pt x="2795776" y="4896696"/>
                    <a:pt x="2796875" y="4896696"/>
                  </a:cubicBezTo>
                  <a:cubicBezTo>
                    <a:pt x="2801271" y="4899989"/>
                    <a:pt x="2813359" y="4901087"/>
                    <a:pt x="2832042" y="4895599"/>
                  </a:cubicBezTo>
                  <a:cubicBezTo>
                    <a:pt x="2859516" y="4884624"/>
                    <a:pt x="2885891" y="4904379"/>
                    <a:pt x="2899078" y="4914257"/>
                  </a:cubicBezTo>
                  <a:cubicBezTo>
                    <a:pt x="2904573" y="4917549"/>
                    <a:pt x="2907870" y="4921938"/>
                    <a:pt x="2911166" y="4925231"/>
                  </a:cubicBezTo>
                  <a:cubicBezTo>
                    <a:pt x="2916661" y="4931816"/>
                    <a:pt x="2921057" y="4936206"/>
                    <a:pt x="2935344" y="4937304"/>
                  </a:cubicBezTo>
                  <a:cubicBezTo>
                    <a:pt x="2945233" y="4937304"/>
                    <a:pt x="2950728" y="4931816"/>
                    <a:pt x="2957323" y="4924134"/>
                  </a:cubicBezTo>
                  <a:cubicBezTo>
                    <a:pt x="2962818" y="4917549"/>
                    <a:pt x="2969411" y="4908769"/>
                    <a:pt x="2981499" y="4907671"/>
                  </a:cubicBezTo>
                  <a:cubicBezTo>
                    <a:pt x="3007874" y="4904379"/>
                    <a:pt x="3029853" y="4917549"/>
                    <a:pt x="3036447" y="4941694"/>
                  </a:cubicBezTo>
                  <a:cubicBezTo>
                    <a:pt x="3038644" y="4951571"/>
                    <a:pt x="3038644" y="4959253"/>
                    <a:pt x="3039744" y="4965838"/>
                  </a:cubicBezTo>
                  <a:cubicBezTo>
                    <a:pt x="3039744" y="4976813"/>
                    <a:pt x="3040843" y="4980106"/>
                    <a:pt x="3046337" y="4982300"/>
                  </a:cubicBezTo>
                  <a:cubicBezTo>
                    <a:pt x="3051832" y="4984495"/>
                    <a:pt x="3106780" y="5005348"/>
                    <a:pt x="3115570" y="5031687"/>
                  </a:cubicBezTo>
                  <a:cubicBezTo>
                    <a:pt x="3117769" y="5038272"/>
                    <a:pt x="3121065" y="5038272"/>
                    <a:pt x="3122165" y="5039369"/>
                  </a:cubicBezTo>
                  <a:cubicBezTo>
                    <a:pt x="3125461" y="5040467"/>
                    <a:pt x="3136451" y="5039369"/>
                    <a:pt x="3161727" y="5011932"/>
                  </a:cubicBezTo>
                  <a:cubicBezTo>
                    <a:pt x="3167222" y="5005348"/>
                    <a:pt x="3168321" y="5002055"/>
                    <a:pt x="3168321" y="5000957"/>
                  </a:cubicBezTo>
                  <a:cubicBezTo>
                    <a:pt x="3168321" y="4998762"/>
                    <a:pt x="3163924" y="4995470"/>
                    <a:pt x="3159528" y="4991080"/>
                  </a:cubicBezTo>
                  <a:cubicBezTo>
                    <a:pt x="3152935" y="4985593"/>
                    <a:pt x="3145243" y="4979008"/>
                    <a:pt x="3139748" y="4968033"/>
                  </a:cubicBezTo>
                  <a:cubicBezTo>
                    <a:pt x="3132055" y="4949376"/>
                    <a:pt x="3141945" y="4938401"/>
                    <a:pt x="3150738" y="4928524"/>
                  </a:cubicBezTo>
                  <a:cubicBezTo>
                    <a:pt x="3157331" y="4920841"/>
                    <a:pt x="3165023" y="4914257"/>
                    <a:pt x="3166123" y="4902184"/>
                  </a:cubicBezTo>
                  <a:cubicBezTo>
                    <a:pt x="3169419" y="4884624"/>
                    <a:pt x="3166123" y="4883527"/>
                    <a:pt x="3139748" y="4879137"/>
                  </a:cubicBezTo>
                  <a:cubicBezTo>
                    <a:pt x="3132055" y="4878039"/>
                    <a:pt x="3124363" y="4876942"/>
                    <a:pt x="3114472" y="4874747"/>
                  </a:cubicBezTo>
                  <a:cubicBezTo>
                    <a:pt x="3099086" y="4871455"/>
                    <a:pt x="3090295" y="4865967"/>
                    <a:pt x="3088097" y="4857187"/>
                  </a:cubicBezTo>
                  <a:cubicBezTo>
                    <a:pt x="3083702" y="4842920"/>
                    <a:pt x="3101285" y="4825360"/>
                    <a:pt x="3118868" y="4807801"/>
                  </a:cubicBezTo>
                  <a:cubicBezTo>
                    <a:pt x="3126560" y="4800118"/>
                    <a:pt x="3129857" y="4792436"/>
                    <a:pt x="3129857" y="4784753"/>
                  </a:cubicBezTo>
                  <a:cubicBezTo>
                    <a:pt x="3128759" y="4770486"/>
                    <a:pt x="3113373" y="4752926"/>
                    <a:pt x="3081503" y="4730977"/>
                  </a:cubicBezTo>
                  <a:cubicBezTo>
                    <a:pt x="3033149" y="4696954"/>
                    <a:pt x="3012270" y="4657445"/>
                    <a:pt x="3019962" y="4614643"/>
                  </a:cubicBezTo>
                  <a:cubicBezTo>
                    <a:pt x="3026556" y="4571842"/>
                    <a:pt x="3065019" y="4546600"/>
                    <a:pt x="3090295" y="4541112"/>
                  </a:cubicBezTo>
                  <a:cubicBezTo>
                    <a:pt x="3100186" y="4538917"/>
                    <a:pt x="3105681" y="4533430"/>
                    <a:pt x="3113373" y="4524650"/>
                  </a:cubicBezTo>
                  <a:cubicBezTo>
                    <a:pt x="3122165" y="4514772"/>
                    <a:pt x="3134253" y="4501602"/>
                    <a:pt x="3157331" y="4487335"/>
                  </a:cubicBezTo>
                  <a:cubicBezTo>
                    <a:pt x="3185903" y="4469776"/>
                    <a:pt x="3203486" y="4466483"/>
                    <a:pt x="3218872" y="4463191"/>
                  </a:cubicBezTo>
                  <a:cubicBezTo>
                    <a:pt x="3228763" y="4460995"/>
                    <a:pt x="3237555" y="4459898"/>
                    <a:pt x="3249643" y="4454411"/>
                  </a:cubicBezTo>
                  <a:cubicBezTo>
                    <a:pt x="3279314" y="4441241"/>
                    <a:pt x="3289205" y="4419291"/>
                    <a:pt x="3295798" y="4380879"/>
                  </a:cubicBezTo>
                  <a:cubicBezTo>
                    <a:pt x="3299096" y="4363320"/>
                    <a:pt x="3299096" y="4352345"/>
                    <a:pt x="3297997" y="4341370"/>
                  </a:cubicBezTo>
                  <a:cubicBezTo>
                    <a:pt x="3296897" y="4328200"/>
                    <a:pt x="3295798" y="4317225"/>
                    <a:pt x="3304590" y="4300763"/>
                  </a:cubicBezTo>
                  <a:cubicBezTo>
                    <a:pt x="3321075" y="4270034"/>
                    <a:pt x="3343054" y="4277716"/>
                    <a:pt x="3380418" y="4291983"/>
                  </a:cubicBezTo>
                  <a:cubicBezTo>
                    <a:pt x="3390308" y="4296373"/>
                    <a:pt x="3398001" y="4299666"/>
                    <a:pt x="3403496" y="4301860"/>
                  </a:cubicBezTo>
                  <a:cubicBezTo>
                    <a:pt x="3418881" y="4308446"/>
                    <a:pt x="3421079" y="4309543"/>
                    <a:pt x="3435366" y="4306251"/>
                  </a:cubicBezTo>
                  <a:cubicBezTo>
                    <a:pt x="3449651" y="4301860"/>
                    <a:pt x="3454047" y="4281009"/>
                    <a:pt x="3449651" y="4243694"/>
                  </a:cubicBezTo>
                  <a:cubicBezTo>
                    <a:pt x="3448553" y="4236011"/>
                    <a:pt x="3445255" y="4228330"/>
                    <a:pt x="3443058" y="4221744"/>
                  </a:cubicBezTo>
                  <a:cubicBezTo>
                    <a:pt x="3437563" y="4205282"/>
                    <a:pt x="3432068" y="4189917"/>
                    <a:pt x="3443058" y="4164675"/>
                  </a:cubicBezTo>
                  <a:cubicBezTo>
                    <a:pt x="3447454" y="4154798"/>
                    <a:pt x="3454047" y="4147115"/>
                    <a:pt x="3461739" y="4142725"/>
                  </a:cubicBezTo>
                  <a:cubicBezTo>
                    <a:pt x="3459542" y="4138336"/>
                    <a:pt x="3455146" y="4129556"/>
                    <a:pt x="3445255" y="4121873"/>
                  </a:cubicBezTo>
                  <a:cubicBezTo>
                    <a:pt x="3440860" y="4118581"/>
                    <a:pt x="3436464" y="4115288"/>
                    <a:pt x="3429871" y="4111996"/>
                  </a:cubicBezTo>
                  <a:cubicBezTo>
                    <a:pt x="3413387" y="4101021"/>
                    <a:pt x="3390308" y="4086754"/>
                    <a:pt x="3378220" y="4059317"/>
                  </a:cubicBezTo>
                  <a:cubicBezTo>
                    <a:pt x="3366131" y="4030782"/>
                    <a:pt x="3361735" y="4031880"/>
                    <a:pt x="3338658" y="4037367"/>
                  </a:cubicBezTo>
                  <a:cubicBezTo>
                    <a:pt x="3335360" y="4038464"/>
                    <a:pt x="3332064" y="4038464"/>
                    <a:pt x="3328767" y="4039562"/>
                  </a:cubicBezTo>
                  <a:cubicBezTo>
                    <a:pt x="3293601" y="4048342"/>
                    <a:pt x="3280413" y="4041757"/>
                    <a:pt x="3263929" y="4005540"/>
                  </a:cubicBezTo>
                  <a:lnTo>
                    <a:pt x="3261731" y="4000052"/>
                  </a:lnTo>
                  <a:cubicBezTo>
                    <a:pt x="3248544" y="3970421"/>
                    <a:pt x="3243050" y="3959446"/>
                    <a:pt x="3218872" y="3955056"/>
                  </a:cubicBezTo>
                  <a:cubicBezTo>
                    <a:pt x="3189201" y="3949568"/>
                    <a:pt x="3166123" y="3946276"/>
                    <a:pt x="3145243" y="3892499"/>
                  </a:cubicBezTo>
                  <a:cubicBezTo>
                    <a:pt x="3134253" y="3860672"/>
                    <a:pt x="3113373" y="3845307"/>
                    <a:pt x="3095790" y="3832138"/>
                  </a:cubicBezTo>
                  <a:cubicBezTo>
                    <a:pt x="3084801" y="3823358"/>
                    <a:pt x="3073811" y="3815675"/>
                    <a:pt x="3067218" y="3804700"/>
                  </a:cubicBezTo>
                  <a:cubicBezTo>
                    <a:pt x="3058426" y="3791530"/>
                    <a:pt x="3050733" y="3793726"/>
                    <a:pt x="3037545" y="3798116"/>
                  </a:cubicBezTo>
                  <a:cubicBezTo>
                    <a:pt x="3028755" y="3801408"/>
                    <a:pt x="3016665" y="3804700"/>
                    <a:pt x="3003478" y="3802505"/>
                  </a:cubicBezTo>
                  <a:cubicBezTo>
                    <a:pt x="2974906" y="3798116"/>
                    <a:pt x="2965015" y="3777263"/>
                    <a:pt x="2951828" y="3749826"/>
                  </a:cubicBezTo>
                  <a:cubicBezTo>
                    <a:pt x="2948531" y="3742144"/>
                    <a:pt x="2945233" y="3734462"/>
                    <a:pt x="2940839" y="3726779"/>
                  </a:cubicBezTo>
                  <a:cubicBezTo>
                    <a:pt x="2933145" y="3711414"/>
                    <a:pt x="2924354" y="3704830"/>
                    <a:pt x="2917760" y="3698244"/>
                  </a:cubicBezTo>
                  <a:cubicBezTo>
                    <a:pt x="2906770" y="3689465"/>
                    <a:pt x="2897979" y="3680685"/>
                    <a:pt x="2893583" y="3653248"/>
                  </a:cubicBezTo>
                  <a:cubicBezTo>
                    <a:pt x="2889187" y="3617031"/>
                    <a:pt x="2869407" y="3588496"/>
                    <a:pt x="2835338" y="3567644"/>
                  </a:cubicBezTo>
                  <a:cubicBezTo>
                    <a:pt x="2807865" y="3550084"/>
                    <a:pt x="2810063" y="3536915"/>
                    <a:pt x="2814459" y="3512770"/>
                  </a:cubicBezTo>
                  <a:cubicBezTo>
                    <a:pt x="2814459" y="3509478"/>
                    <a:pt x="2815558" y="3506185"/>
                    <a:pt x="2815558" y="3502892"/>
                  </a:cubicBezTo>
                  <a:cubicBezTo>
                    <a:pt x="2819954" y="3476553"/>
                    <a:pt x="2830944" y="3465578"/>
                    <a:pt x="2843032" y="3454604"/>
                  </a:cubicBezTo>
                  <a:cubicBezTo>
                    <a:pt x="2845229" y="3452409"/>
                    <a:pt x="2848527" y="3449116"/>
                    <a:pt x="2850724" y="3446921"/>
                  </a:cubicBezTo>
                  <a:cubicBezTo>
                    <a:pt x="2863912" y="3432654"/>
                    <a:pt x="2847428" y="3406314"/>
                    <a:pt x="2830944" y="3388755"/>
                  </a:cubicBezTo>
                  <a:cubicBezTo>
                    <a:pt x="2816657" y="3374487"/>
                    <a:pt x="2781491" y="3353635"/>
                    <a:pt x="2756215" y="3337173"/>
                  </a:cubicBezTo>
                  <a:cubicBezTo>
                    <a:pt x="2741928" y="3328393"/>
                    <a:pt x="2730938" y="3321808"/>
                    <a:pt x="2725443" y="3317418"/>
                  </a:cubicBezTo>
                  <a:cubicBezTo>
                    <a:pt x="2711158" y="3305345"/>
                    <a:pt x="2710059" y="3292176"/>
                    <a:pt x="2708959" y="3277908"/>
                  </a:cubicBezTo>
                  <a:cubicBezTo>
                    <a:pt x="2708959" y="3274616"/>
                    <a:pt x="2708959" y="3271324"/>
                    <a:pt x="2707861" y="3268031"/>
                  </a:cubicBezTo>
                  <a:cubicBezTo>
                    <a:pt x="2704565" y="3252666"/>
                    <a:pt x="2696871" y="3242789"/>
                    <a:pt x="2672695" y="3225229"/>
                  </a:cubicBezTo>
                  <a:cubicBezTo>
                    <a:pt x="2646320" y="3206572"/>
                    <a:pt x="2636429" y="3164868"/>
                    <a:pt x="2652913" y="3141821"/>
                  </a:cubicBezTo>
                  <a:cubicBezTo>
                    <a:pt x="2658408" y="3134138"/>
                    <a:pt x="2663903" y="3130846"/>
                    <a:pt x="2669397" y="3131943"/>
                  </a:cubicBezTo>
                  <a:cubicBezTo>
                    <a:pt x="2680387" y="3133041"/>
                    <a:pt x="2686980" y="3147308"/>
                    <a:pt x="2693575" y="3162673"/>
                  </a:cubicBezTo>
                  <a:lnTo>
                    <a:pt x="2695772" y="3168160"/>
                  </a:lnTo>
                  <a:cubicBezTo>
                    <a:pt x="2700168" y="3176940"/>
                    <a:pt x="2704565" y="3179135"/>
                    <a:pt x="2710059" y="3182428"/>
                  </a:cubicBezTo>
                  <a:cubicBezTo>
                    <a:pt x="2716653" y="3185720"/>
                    <a:pt x="2724345" y="3189013"/>
                    <a:pt x="2728741" y="3202182"/>
                  </a:cubicBezTo>
                  <a:cubicBezTo>
                    <a:pt x="2735334" y="3220839"/>
                    <a:pt x="2750720" y="3250471"/>
                    <a:pt x="2769401" y="3246082"/>
                  </a:cubicBezTo>
                  <a:cubicBezTo>
                    <a:pt x="2774896" y="3243887"/>
                    <a:pt x="2773798" y="3237301"/>
                    <a:pt x="2769401" y="3220839"/>
                  </a:cubicBezTo>
                  <a:cubicBezTo>
                    <a:pt x="2766105" y="3205475"/>
                    <a:pt x="2761709" y="3187915"/>
                    <a:pt x="2772699" y="3175843"/>
                  </a:cubicBezTo>
                  <a:cubicBezTo>
                    <a:pt x="2794678" y="3151698"/>
                    <a:pt x="2810063" y="3131943"/>
                    <a:pt x="2819954" y="3116579"/>
                  </a:cubicBezTo>
                  <a:cubicBezTo>
                    <a:pt x="2834240" y="3097921"/>
                    <a:pt x="2851823" y="3085849"/>
                    <a:pt x="2893583" y="3081459"/>
                  </a:cubicBezTo>
                  <a:cubicBezTo>
                    <a:pt x="2917760" y="3080361"/>
                    <a:pt x="2927650" y="3073777"/>
                    <a:pt x="2937541" y="3066094"/>
                  </a:cubicBezTo>
                  <a:cubicBezTo>
                    <a:pt x="2944135" y="3061704"/>
                    <a:pt x="2951828" y="3056217"/>
                    <a:pt x="2962818" y="3052924"/>
                  </a:cubicBezTo>
                  <a:cubicBezTo>
                    <a:pt x="2981499" y="3046340"/>
                    <a:pt x="2991390" y="3054022"/>
                    <a:pt x="3001281" y="3061704"/>
                  </a:cubicBezTo>
                  <a:cubicBezTo>
                    <a:pt x="3007874" y="3067192"/>
                    <a:pt x="3014468" y="3071582"/>
                    <a:pt x="3024358" y="3073777"/>
                  </a:cubicBezTo>
                  <a:cubicBezTo>
                    <a:pt x="3027654" y="3073777"/>
                    <a:pt x="3032051" y="3074874"/>
                    <a:pt x="3034249" y="3072679"/>
                  </a:cubicBezTo>
                  <a:cubicBezTo>
                    <a:pt x="3036447" y="3070484"/>
                    <a:pt x="3036447" y="3063899"/>
                    <a:pt x="3036447" y="3056217"/>
                  </a:cubicBezTo>
                  <a:cubicBezTo>
                    <a:pt x="3036447" y="3049632"/>
                    <a:pt x="3036447" y="3040852"/>
                    <a:pt x="3038644" y="3033170"/>
                  </a:cubicBezTo>
                  <a:cubicBezTo>
                    <a:pt x="3044139" y="3004635"/>
                    <a:pt x="3083702" y="3000245"/>
                    <a:pt x="3113373" y="2999148"/>
                  </a:cubicBezTo>
                  <a:cubicBezTo>
                    <a:pt x="3129857" y="2998050"/>
                    <a:pt x="3135352" y="2985978"/>
                    <a:pt x="3140847" y="2973906"/>
                  </a:cubicBezTo>
                  <a:cubicBezTo>
                    <a:pt x="3145243" y="2965126"/>
                    <a:pt x="3148539" y="2956346"/>
                    <a:pt x="3157331" y="2954151"/>
                  </a:cubicBezTo>
                  <a:cubicBezTo>
                    <a:pt x="3166123" y="2951956"/>
                    <a:pt x="3167222" y="2951956"/>
                    <a:pt x="3170518" y="2943176"/>
                  </a:cubicBezTo>
                  <a:cubicBezTo>
                    <a:pt x="3171618" y="2939884"/>
                    <a:pt x="3173815" y="2934396"/>
                    <a:pt x="3177113" y="2928909"/>
                  </a:cubicBezTo>
                  <a:cubicBezTo>
                    <a:pt x="3188102" y="2909154"/>
                    <a:pt x="3203486" y="2914642"/>
                    <a:pt x="3218872" y="2919032"/>
                  </a:cubicBezTo>
                  <a:cubicBezTo>
                    <a:pt x="3222169" y="2920129"/>
                    <a:pt x="3226565" y="2921226"/>
                    <a:pt x="3229861" y="2922324"/>
                  </a:cubicBezTo>
                  <a:cubicBezTo>
                    <a:pt x="3234257" y="2923421"/>
                    <a:pt x="3237555" y="2923421"/>
                    <a:pt x="3238654" y="2922324"/>
                  </a:cubicBezTo>
                  <a:cubicBezTo>
                    <a:pt x="3240851" y="2920129"/>
                    <a:pt x="3241950" y="2912447"/>
                    <a:pt x="3241950" y="2902569"/>
                  </a:cubicBezTo>
                  <a:cubicBezTo>
                    <a:pt x="3241950" y="2899277"/>
                    <a:pt x="3241950" y="2894887"/>
                    <a:pt x="3243050" y="2890497"/>
                  </a:cubicBezTo>
                  <a:cubicBezTo>
                    <a:pt x="3244148" y="2857572"/>
                    <a:pt x="3261731" y="2843305"/>
                    <a:pt x="3297997" y="2845500"/>
                  </a:cubicBezTo>
                  <a:cubicBezTo>
                    <a:pt x="3319976" y="2846598"/>
                    <a:pt x="3339756" y="2844402"/>
                    <a:pt x="3356241" y="2844402"/>
                  </a:cubicBezTo>
                  <a:cubicBezTo>
                    <a:pt x="3368329" y="2843305"/>
                    <a:pt x="3377121" y="2843305"/>
                    <a:pt x="3382616" y="2843305"/>
                  </a:cubicBezTo>
                  <a:cubicBezTo>
                    <a:pt x="3388110" y="2844402"/>
                    <a:pt x="3391408" y="2838915"/>
                    <a:pt x="3394704" y="2818063"/>
                  </a:cubicBezTo>
                  <a:cubicBezTo>
                    <a:pt x="3399100" y="2800503"/>
                    <a:pt x="3408991" y="2780749"/>
                    <a:pt x="3443058" y="2779651"/>
                  </a:cubicBezTo>
                  <a:cubicBezTo>
                    <a:pt x="3461739" y="2779651"/>
                    <a:pt x="3465037" y="2778553"/>
                    <a:pt x="3471630" y="2776359"/>
                  </a:cubicBezTo>
                  <a:cubicBezTo>
                    <a:pt x="3474928" y="2775261"/>
                    <a:pt x="3478224" y="2774164"/>
                    <a:pt x="3484818" y="2773066"/>
                  </a:cubicBezTo>
                  <a:cubicBezTo>
                    <a:pt x="3496907" y="2770871"/>
                    <a:pt x="3505697" y="2762091"/>
                    <a:pt x="3516687" y="2748922"/>
                  </a:cubicBezTo>
                  <a:cubicBezTo>
                    <a:pt x="3521083" y="2744532"/>
                    <a:pt x="3525479" y="2740142"/>
                    <a:pt x="3529875" y="2734654"/>
                  </a:cubicBezTo>
                  <a:cubicBezTo>
                    <a:pt x="3541963" y="2722582"/>
                    <a:pt x="3552953" y="2722582"/>
                    <a:pt x="3562844" y="2722582"/>
                  </a:cubicBezTo>
                  <a:cubicBezTo>
                    <a:pt x="3571634" y="2722582"/>
                    <a:pt x="3576030" y="2722582"/>
                    <a:pt x="3579328" y="2717095"/>
                  </a:cubicBezTo>
                  <a:cubicBezTo>
                    <a:pt x="3587020" y="2706120"/>
                    <a:pt x="3598009" y="2710510"/>
                    <a:pt x="3604603" y="2712704"/>
                  </a:cubicBezTo>
                  <a:cubicBezTo>
                    <a:pt x="3611198" y="2714900"/>
                    <a:pt x="3614494" y="2715997"/>
                    <a:pt x="3618890" y="2713802"/>
                  </a:cubicBezTo>
                  <a:cubicBezTo>
                    <a:pt x="3619988" y="2712704"/>
                    <a:pt x="3619988" y="2712704"/>
                    <a:pt x="3619988" y="2711607"/>
                  </a:cubicBezTo>
                  <a:cubicBezTo>
                    <a:pt x="3619988" y="2710510"/>
                    <a:pt x="3616692" y="2707217"/>
                    <a:pt x="3615592" y="2705022"/>
                  </a:cubicBezTo>
                  <a:cubicBezTo>
                    <a:pt x="3611198" y="2699535"/>
                    <a:pt x="3604603" y="2692950"/>
                    <a:pt x="3604603" y="2681975"/>
                  </a:cubicBezTo>
                  <a:cubicBezTo>
                    <a:pt x="3604603" y="2679780"/>
                    <a:pt x="3603504" y="2679780"/>
                    <a:pt x="3603504" y="2679780"/>
                  </a:cubicBezTo>
                  <a:cubicBezTo>
                    <a:pt x="3601307" y="2677585"/>
                    <a:pt x="3592515" y="2678683"/>
                    <a:pt x="3584823" y="2678683"/>
                  </a:cubicBezTo>
                  <a:cubicBezTo>
                    <a:pt x="3578229" y="2679780"/>
                    <a:pt x="3570536" y="2679780"/>
                    <a:pt x="3563942" y="2678683"/>
                  </a:cubicBezTo>
                  <a:cubicBezTo>
                    <a:pt x="3557349" y="2677585"/>
                    <a:pt x="3551854" y="2673195"/>
                    <a:pt x="3548557" y="2666610"/>
                  </a:cubicBezTo>
                  <a:cubicBezTo>
                    <a:pt x="3541963" y="2652343"/>
                    <a:pt x="3545261" y="2627101"/>
                    <a:pt x="3555150" y="2613931"/>
                  </a:cubicBezTo>
                  <a:cubicBezTo>
                    <a:pt x="3568338" y="2595274"/>
                    <a:pt x="3587020" y="2605151"/>
                    <a:pt x="3600208" y="2613931"/>
                  </a:cubicBezTo>
                  <a:lnTo>
                    <a:pt x="3604603" y="2616126"/>
                  </a:lnTo>
                  <a:cubicBezTo>
                    <a:pt x="3608999" y="2619418"/>
                    <a:pt x="3608999" y="2618321"/>
                    <a:pt x="3613395" y="2615029"/>
                  </a:cubicBezTo>
                  <a:cubicBezTo>
                    <a:pt x="3616692" y="2611736"/>
                    <a:pt x="3621087" y="2608444"/>
                    <a:pt x="3628780" y="2606249"/>
                  </a:cubicBezTo>
                  <a:cubicBezTo>
                    <a:pt x="3639770" y="2604054"/>
                    <a:pt x="3644166" y="2609541"/>
                    <a:pt x="3649661" y="2613931"/>
                  </a:cubicBezTo>
                  <a:cubicBezTo>
                    <a:pt x="3654056" y="2618321"/>
                    <a:pt x="3659550" y="2621613"/>
                    <a:pt x="3668342" y="2621613"/>
                  </a:cubicBezTo>
                  <a:cubicBezTo>
                    <a:pt x="3674936" y="2621613"/>
                    <a:pt x="3682629" y="2624906"/>
                    <a:pt x="3688124" y="2632588"/>
                  </a:cubicBezTo>
                  <a:cubicBezTo>
                    <a:pt x="3699113" y="2646855"/>
                    <a:pt x="3705707" y="2672098"/>
                    <a:pt x="3702410" y="2683073"/>
                  </a:cubicBezTo>
                  <a:cubicBezTo>
                    <a:pt x="3701311" y="2687462"/>
                    <a:pt x="3702410" y="2687462"/>
                    <a:pt x="3706806" y="2689658"/>
                  </a:cubicBezTo>
                  <a:cubicBezTo>
                    <a:pt x="3710103" y="2690755"/>
                    <a:pt x="3715598" y="2691852"/>
                    <a:pt x="3718894" y="2696242"/>
                  </a:cubicBezTo>
                  <a:cubicBezTo>
                    <a:pt x="3723290" y="2701730"/>
                    <a:pt x="3724389" y="2708315"/>
                    <a:pt x="3725487" y="2714900"/>
                  </a:cubicBezTo>
                  <a:cubicBezTo>
                    <a:pt x="3726587" y="2724777"/>
                    <a:pt x="3728785" y="2731362"/>
                    <a:pt x="3735378" y="2734654"/>
                  </a:cubicBezTo>
                  <a:cubicBezTo>
                    <a:pt x="3751862" y="2742337"/>
                    <a:pt x="3765050" y="2750019"/>
                    <a:pt x="3780435" y="2751116"/>
                  </a:cubicBezTo>
                  <a:cubicBezTo>
                    <a:pt x="3782633" y="2751116"/>
                    <a:pt x="3783732" y="2751116"/>
                    <a:pt x="3787029" y="2750019"/>
                  </a:cubicBezTo>
                  <a:cubicBezTo>
                    <a:pt x="3787029" y="2743434"/>
                    <a:pt x="3787029" y="2731362"/>
                    <a:pt x="3791424" y="2719289"/>
                  </a:cubicBezTo>
                  <a:lnTo>
                    <a:pt x="3792524" y="2717095"/>
                  </a:lnTo>
                  <a:cubicBezTo>
                    <a:pt x="3796919" y="2702827"/>
                    <a:pt x="3801315" y="2691852"/>
                    <a:pt x="3812304" y="2675390"/>
                  </a:cubicBezTo>
                  <a:cubicBezTo>
                    <a:pt x="3818898" y="2666610"/>
                    <a:pt x="3821097" y="2657830"/>
                    <a:pt x="3824393" y="2649051"/>
                  </a:cubicBezTo>
                  <a:cubicBezTo>
                    <a:pt x="3826591" y="2641368"/>
                    <a:pt x="3828789" y="2633686"/>
                    <a:pt x="3833185" y="2626003"/>
                  </a:cubicBezTo>
                  <a:cubicBezTo>
                    <a:pt x="3836482" y="2620516"/>
                    <a:pt x="3837581" y="2610639"/>
                    <a:pt x="3838680" y="2599664"/>
                  </a:cubicBezTo>
                  <a:cubicBezTo>
                    <a:pt x="3840877" y="2579909"/>
                    <a:pt x="3843076" y="2553569"/>
                    <a:pt x="3858461" y="2525035"/>
                  </a:cubicBezTo>
                  <a:cubicBezTo>
                    <a:pt x="3880440" y="2487720"/>
                    <a:pt x="3866153" y="2463576"/>
                    <a:pt x="3844174" y="2426262"/>
                  </a:cubicBezTo>
                  <a:cubicBezTo>
                    <a:pt x="3841977" y="2421871"/>
                    <a:pt x="3838680" y="2417482"/>
                    <a:pt x="3836482" y="2413092"/>
                  </a:cubicBezTo>
                  <a:cubicBezTo>
                    <a:pt x="3821097" y="2386752"/>
                    <a:pt x="3818898" y="2364802"/>
                    <a:pt x="3816701" y="2346145"/>
                  </a:cubicBezTo>
                  <a:cubicBezTo>
                    <a:pt x="3815602" y="2334073"/>
                    <a:pt x="3814503" y="2324195"/>
                    <a:pt x="3809008" y="2316513"/>
                  </a:cubicBezTo>
                  <a:cubicBezTo>
                    <a:pt x="3802414" y="2305538"/>
                    <a:pt x="3788128" y="2302246"/>
                    <a:pt x="3771644" y="2298953"/>
                  </a:cubicBezTo>
                  <a:cubicBezTo>
                    <a:pt x="3760654" y="2296758"/>
                    <a:pt x="3749665" y="2294564"/>
                    <a:pt x="3739774" y="2289076"/>
                  </a:cubicBezTo>
                  <a:cubicBezTo>
                    <a:pt x="3732082" y="2285784"/>
                    <a:pt x="3726587" y="2281394"/>
                    <a:pt x="3725487" y="2275906"/>
                  </a:cubicBezTo>
                  <a:cubicBezTo>
                    <a:pt x="3722191" y="2267126"/>
                    <a:pt x="3727686" y="2256152"/>
                    <a:pt x="3733181" y="2247372"/>
                  </a:cubicBezTo>
                  <a:cubicBezTo>
                    <a:pt x="3735378" y="2242982"/>
                    <a:pt x="3738675" y="2238592"/>
                    <a:pt x="3739774" y="2234202"/>
                  </a:cubicBezTo>
                  <a:cubicBezTo>
                    <a:pt x="3743071" y="2227617"/>
                    <a:pt x="3743071" y="2223227"/>
                    <a:pt x="3741971" y="2218837"/>
                  </a:cubicBezTo>
                  <a:cubicBezTo>
                    <a:pt x="3739774" y="2212252"/>
                    <a:pt x="3730982" y="2206765"/>
                    <a:pt x="3716696" y="2200180"/>
                  </a:cubicBezTo>
                  <a:cubicBezTo>
                    <a:pt x="3690321" y="2189205"/>
                    <a:pt x="3689223" y="2169450"/>
                    <a:pt x="3688124" y="2143111"/>
                  </a:cubicBezTo>
                  <a:cubicBezTo>
                    <a:pt x="3688124" y="2139818"/>
                    <a:pt x="3688124" y="2135428"/>
                    <a:pt x="3687024" y="2132136"/>
                  </a:cubicBezTo>
                  <a:cubicBezTo>
                    <a:pt x="3687024" y="2120063"/>
                    <a:pt x="3683728" y="2120063"/>
                    <a:pt x="3678233" y="2118966"/>
                  </a:cubicBezTo>
                  <a:cubicBezTo>
                    <a:pt x="3670540" y="2117869"/>
                    <a:pt x="3659550" y="2115674"/>
                    <a:pt x="3652957" y="2098114"/>
                  </a:cubicBezTo>
                  <a:cubicBezTo>
                    <a:pt x="3645265" y="2075067"/>
                    <a:pt x="3655156" y="2060799"/>
                    <a:pt x="3668342" y="2044337"/>
                  </a:cubicBezTo>
                  <a:cubicBezTo>
                    <a:pt x="3676034" y="2034460"/>
                    <a:pt x="3683728" y="2024583"/>
                    <a:pt x="3691420" y="2009218"/>
                  </a:cubicBezTo>
                  <a:cubicBezTo>
                    <a:pt x="3704608" y="1982878"/>
                    <a:pt x="3703508" y="1975196"/>
                    <a:pt x="3702410" y="1967513"/>
                  </a:cubicBezTo>
                  <a:cubicBezTo>
                    <a:pt x="3702410" y="1963123"/>
                    <a:pt x="3701311" y="1958734"/>
                    <a:pt x="3702410" y="1952149"/>
                  </a:cubicBezTo>
                  <a:cubicBezTo>
                    <a:pt x="3705707" y="1936784"/>
                    <a:pt x="3702410" y="1925809"/>
                    <a:pt x="3693619" y="1919224"/>
                  </a:cubicBezTo>
                  <a:cubicBezTo>
                    <a:pt x="3682629" y="1910444"/>
                    <a:pt x="3678233" y="1893982"/>
                    <a:pt x="3680431" y="1866545"/>
                  </a:cubicBezTo>
                  <a:cubicBezTo>
                    <a:pt x="3681529" y="1861058"/>
                    <a:pt x="3681529" y="1855570"/>
                    <a:pt x="3682629" y="1851180"/>
                  </a:cubicBezTo>
                  <a:cubicBezTo>
                    <a:pt x="3684827" y="1839108"/>
                    <a:pt x="3685925" y="1831425"/>
                    <a:pt x="3680431" y="1820451"/>
                  </a:cubicBezTo>
                  <a:cubicBezTo>
                    <a:pt x="3677135" y="1812768"/>
                    <a:pt x="3672738" y="1811671"/>
                    <a:pt x="3663946" y="1809476"/>
                  </a:cubicBezTo>
                  <a:cubicBezTo>
                    <a:pt x="3658452" y="1808378"/>
                    <a:pt x="3651858" y="1806183"/>
                    <a:pt x="3644166" y="1802891"/>
                  </a:cubicBezTo>
                  <a:cubicBezTo>
                    <a:pt x="3632077" y="1796306"/>
                    <a:pt x="3625483" y="1783136"/>
                    <a:pt x="3617791" y="1769966"/>
                  </a:cubicBezTo>
                  <a:cubicBezTo>
                    <a:pt x="3613395" y="1761187"/>
                    <a:pt x="3608999" y="1753504"/>
                    <a:pt x="3602405" y="1744724"/>
                  </a:cubicBezTo>
                  <a:cubicBezTo>
                    <a:pt x="3583724" y="1718385"/>
                    <a:pt x="3603504" y="1688753"/>
                    <a:pt x="3625483" y="1661315"/>
                  </a:cubicBezTo>
                  <a:cubicBezTo>
                    <a:pt x="3645265" y="1634976"/>
                    <a:pt x="3640869" y="1626196"/>
                    <a:pt x="3621087" y="1587784"/>
                  </a:cubicBezTo>
                  <a:cubicBezTo>
                    <a:pt x="3613395" y="1572419"/>
                    <a:pt x="3608999" y="1572419"/>
                    <a:pt x="3602405" y="1571322"/>
                  </a:cubicBezTo>
                  <a:cubicBezTo>
                    <a:pt x="3591416" y="1570224"/>
                    <a:pt x="3583724" y="1568029"/>
                    <a:pt x="3576030" y="1538397"/>
                  </a:cubicBezTo>
                  <a:cubicBezTo>
                    <a:pt x="3568338" y="1504375"/>
                    <a:pt x="3540865" y="1497791"/>
                    <a:pt x="3508995" y="1489010"/>
                  </a:cubicBezTo>
                  <a:cubicBezTo>
                    <a:pt x="3498005" y="1485718"/>
                    <a:pt x="3485917" y="1482426"/>
                    <a:pt x="3474928" y="1478036"/>
                  </a:cubicBezTo>
                  <a:cubicBezTo>
                    <a:pt x="3432068" y="1461573"/>
                    <a:pt x="3421079" y="1449501"/>
                    <a:pt x="3427672" y="1400115"/>
                  </a:cubicBezTo>
                  <a:cubicBezTo>
                    <a:pt x="3429871" y="1379262"/>
                    <a:pt x="3425475" y="1371580"/>
                    <a:pt x="3422178" y="1364995"/>
                  </a:cubicBezTo>
                  <a:cubicBezTo>
                    <a:pt x="3416683" y="1356215"/>
                    <a:pt x="3414485" y="1349630"/>
                    <a:pt x="3425475" y="1332070"/>
                  </a:cubicBezTo>
                  <a:cubicBezTo>
                    <a:pt x="3436464" y="1313413"/>
                    <a:pt x="3449651" y="1304633"/>
                    <a:pt x="3462839" y="1294756"/>
                  </a:cubicBezTo>
                  <a:cubicBezTo>
                    <a:pt x="3472729" y="1287074"/>
                    <a:pt x="3483718" y="1280489"/>
                    <a:pt x="3493609" y="1268417"/>
                  </a:cubicBezTo>
                  <a:cubicBezTo>
                    <a:pt x="3503500" y="1255247"/>
                    <a:pt x="3502401" y="1254149"/>
                    <a:pt x="3500203" y="1247564"/>
                  </a:cubicBezTo>
                  <a:cubicBezTo>
                    <a:pt x="3496907" y="1242077"/>
                    <a:pt x="3492511" y="1232199"/>
                    <a:pt x="3492511" y="1211347"/>
                  </a:cubicBezTo>
                  <a:cubicBezTo>
                    <a:pt x="3492511" y="1188300"/>
                    <a:pt x="3498005" y="1176228"/>
                    <a:pt x="3502401" y="1165253"/>
                  </a:cubicBezTo>
                  <a:cubicBezTo>
                    <a:pt x="3507896" y="1154278"/>
                    <a:pt x="3512292" y="1143303"/>
                    <a:pt x="3513391" y="1119159"/>
                  </a:cubicBezTo>
                  <a:cubicBezTo>
                    <a:pt x="3515588" y="1092819"/>
                    <a:pt x="3501303" y="1065382"/>
                    <a:pt x="3487016" y="1036847"/>
                  </a:cubicBezTo>
                  <a:cubicBezTo>
                    <a:pt x="3474928" y="1012703"/>
                    <a:pt x="3462839" y="987461"/>
                    <a:pt x="3459542" y="962218"/>
                  </a:cubicBezTo>
                  <a:cubicBezTo>
                    <a:pt x="3455146" y="926002"/>
                    <a:pt x="3439760" y="861250"/>
                    <a:pt x="3429871" y="822838"/>
                  </a:cubicBezTo>
                  <a:cubicBezTo>
                    <a:pt x="3419980" y="820643"/>
                    <a:pt x="3408991" y="820643"/>
                    <a:pt x="3395802" y="821741"/>
                  </a:cubicBezTo>
                  <a:cubicBezTo>
                    <a:pt x="3358439" y="825033"/>
                    <a:pt x="3272721" y="818448"/>
                    <a:pt x="3278215" y="777841"/>
                  </a:cubicBezTo>
                  <a:cubicBezTo>
                    <a:pt x="3285908" y="736137"/>
                    <a:pt x="3338658" y="739429"/>
                    <a:pt x="3368329" y="739429"/>
                  </a:cubicBezTo>
                  <a:cubicBezTo>
                    <a:pt x="3395802" y="739429"/>
                    <a:pt x="3380418" y="777841"/>
                    <a:pt x="3414485" y="758087"/>
                  </a:cubicBezTo>
                  <a:cubicBezTo>
                    <a:pt x="3449651" y="739429"/>
                    <a:pt x="3449651" y="719675"/>
                    <a:pt x="3438662" y="707602"/>
                  </a:cubicBezTo>
                  <a:cubicBezTo>
                    <a:pt x="3427672" y="694433"/>
                    <a:pt x="3400199" y="715285"/>
                    <a:pt x="3384813" y="695530"/>
                  </a:cubicBezTo>
                  <a:cubicBezTo>
                    <a:pt x="3369429" y="677970"/>
                    <a:pt x="3355142" y="663703"/>
                    <a:pt x="3330966" y="636266"/>
                  </a:cubicBezTo>
                  <a:cubicBezTo>
                    <a:pt x="3306788" y="609927"/>
                    <a:pt x="3285908" y="585782"/>
                    <a:pt x="3281513" y="603342"/>
                  </a:cubicBezTo>
                  <a:cubicBezTo>
                    <a:pt x="3278215" y="620901"/>
                    <a:pt x="3308987" y="632973"/>
                    <a:pt x="3310085" y="651631"/>
                  </a:cubicBezTo>
                  <a:cubicBezTo>
                    <a:pt x="3311184" y="669191"/>
                    <a:pt x="3310085" y="699920"/>
                    <a:pt x="3295798" y="684555"/>
                  </a:cubicBezTo>
                  <a:cubicBezTo>
                    <a:pt x="3281513" y="670288"/>
                    <a:pt x="3266127" y="649436"/>
                    <a:pt x="3260633" y="670288"/>
                  </a:cubicBezTo>
                  <a:cubicBezTo>
                    <a:pt x="3255138" y="691140"/>
                    <a:pt x="3273819" y="733942"/>
                    <a:pt x="3257335" y="724065"/>
                  </a:cubicBezTo>
                  <a:cubicBezTo>
                    <a:pt x="3241950" y="714187"/>
                    <a:pt x="3259534" y="665898"/>
                    <a:pt x="3233159" y="661508"/>
                  </a:cubicBezTo>
                  <a:cubicBezTo>
                    <a:pt x="3207882" y="659313"/>
                    <a:pt x="3201289" y="631876"/>
                    <a:pt x="3213377" y="629681"/>
                  </a:cubicBezTo>
                  <a:cubicBezTo>
                    <a:pt x="3226565" y="626389"/>
                    <a:pt x="3245247" y="651631"/>
                    <a:pt x="3255138" y="641753"/>
                  </a:cubicBezTo>
                  <a:cubicBezTo>
                    <a:pt x="3265029" y="631876"/>
                    <a:pt x="3246346" y="626389"/>
                    <a:pt x="3256236" y="613219"/>
                  </a:cubicBezTo>
                  <a:cubicBezTo>
                    <a:pt x="3266127" y="601146"/>
                    <a:pt x="3285908" y="598952"/>
                    <a:pt x="3267226" y="584684"/>
                  </a:cubicBezTo>
                  <a:cubicBezTo>
                    <a:pt x="3248544" y="571515"/>
                    <a:pt x="3224367" y="580294"/>
                    <a:pt x="3211180" y="558345"/>
                  </a:cubicBezTo>
                  <a:cubicBezTo>
                    <a:pt x="3196893" y="535297"/>
                    <a:pt x="3182607" y="539687"/>
                    <a:pt x="3169419" y="557247"/>
                  </a:cubicBezTo>
                  <a:cubicBezTo>
                    <a:pt x="3157331" y="573709"/>
                    <a:pt x="3150738" y="580294"/>
                    <a:pt x="3130956" y="580294"/>
                  </a:cubicBezTo>
                  <a:cubicBezTo>
                    <a:pt x="3113373" y="580294"/>
                    <a:pt x="3107878" y="583587"/>
                    <a:pt x="3095790" y="597854"/>
                  </a:cubicBezTo>
                  <a:cubicBezTo>
                    <a:pt x="3084801" y="612121"/>
                    <a:pt x="3070514" y="617609"/>
                    <a:pt x="3070514" y="594561"/>
                  </a:cubicBezTo>
                  <a:cubicBezTo>
                    <a:pt x="3070514" y="571515"/>
                    <a:pt x="3069415" y="569319"/>
                    <a:pt x="3051832" y="563832"/>
                  </a:cubicBezTo>
                  <a:cubicBezTo>
                    <a:pt x="3035348" y="558345"/>
                    <a:pt x="3006776" y="548467"/>
                    <a:pt x="2995786" y="525420"/>
                  </a:cubicBezTo>
                  <a:cubicBezTo>
                    <a:pt x="2983697" y="503470"/>
                    <a:pt x="2967212" y="511153"/>
                    <a:pt x="2957323" y="492496"/>
                  </a:cubicBezTo>
                  <a:cubicBezTo>
                    <a:pt x="2947432" y="474936"/>
                    <a:pt x="2948531" y="460669"/>
                    <a:pt x="2937541" y="433232"/>
                  </a:cubicBezTo>
                  <a:cubicBezTo>
                    <a:pt x="2924354" y="406892"/>
                    <a:pt x="2922156" y="404697"/>
                    <a:pt x="2910067" y="387137"/>
                  </a:cubicBezTo>
                  <a:cubicBezTo>
                    <a:pt x="2897979" y="369578"/>
                    <a:pt x="2886990" y="392625"/>
                    <a:pt x="2871604" y="398112"/>
                  </a:cubicBezTo>
                  <a:cubicBezTo>
                    <a:pt x="2857317" y="401405"/>
                    <a:pt x="2852923" y="407989"/>
                    <a:pt x="2851823" y="421159"/>
                  </a:cubicBezTo>
                  <a:cubicBezTo>
                    <a:pt x="2849625" y="434329"/>
                    <a:pt x="2838636" y="447499"/>
                    <a:pt x="2833141" y="438719"/>
                  </a:cubicBezTo>
                  <a:cubicBezTo>
                    <a:pt x="2828745" y="429939"/>
                    <a:pt x="2821053" y="418964"/>
                    <a:pt x="2807865" y="422257"/>
                  </a:cubicBezTo>
                  <a:cubicBezTo>
                    <a:pt x="2795776" y="426647"/>
                    <a:pt x="2779292" y="429939"/>
                    <a:pt x="2770501" y="426647"/>
                  </a:cubicBezTo>
                  <a:cubicBezTo>
                    <a:pt x="2761709" y="424452"/>
                    <a:pt x="2758412" y="409087"/>
                    <a:pt x="2773798" y="409087"/>
                  </a:cubicBezTo>
                  <a:cubicBezTo>
                    <a:pt x="2789183" y="409087"/>
                    <a:pt x="2808965" y="409087"/>
                    <a:pt x="2819954" y="405795"/>
                  </a:cubicBezTo>
                  <a:cubicBezTo>
                    <a:pt x="2832042" y="403599"/>
                    <a:pt x="2837537" y="405795"/>
                    <a:pt x="2847428" y="401405"/>
                  </a:cubicBezTo>
                  <a:cubicBezTo>
                    <a:pt x="2857317" y="395917"/>
                    <a:pt x="2873802" y="389332"/>
                    <a:pt x="2860615" y="384942"/>
                  </a:cubicBezTo>
                  <a:cubicBezTo>
                    <a:pt x="2846328" y="380552"/>
                    <a:pt x="2846328" y="382747"/>
                    <a:pt x="2825449" y="383845"/>
                  </a:cubicBezTo>
                  <a:cubicBezTo>
                    <a:pt x="2806766" y="384942"/>
                    <a:pt x="2777095" y="394820"/>
                    <a:pt x="2752917" y="384942"/>
                  </a:cubicBezTo>
                  <a:cubicBezTo>
                    <a:pt x="2728741" y="376162"/>
                    <a:pt x="2713355" y="366285"/>
                    <a:pt x="2700168" y="373967"/>
                  </a:cubicBezTo>
                  <a:cubicBezTo>
                    <a:pt x="2686980" y="381650"/>
                    <a:pt x="2689179" y="401405"/>
                    <a:pt x="2680387" y="413477"/>
                  </a:cubicBezTo>
                  <a:cubicBezTo>
                    <a:pt x="2669397" y="425549"/>
                    <a:pt x="2648517" y="439817"/>
                    <a:pt x="2655112" y="450791"/>
                  </a:cubicBezTo>
                  <a:cubicBezTo>
                    <a:pt x="2660607" y="462863"/>
                    <a:pt x="2670496" y="455181"/>
                    <a:pt x="2685882" y="447499"/>
                  </a:cubicBezTo>
                  <a:cubicBezTo>
                    <a:pt x="2701267" y="439817"/>
                    <a:pt x="2694674" y="420062"/>
                    <a:pt x="2708959" y="418964"/>
                  </a:cubicBezTo>
                  <a:cubicBezTo>
                    <a:pt x="2724345" y="416769"/>
                    <a:pt x="2724345" y="436524"/>
                    <a:pt x="2717751" y="444206"/>
                  </a:cubicBezTo>
                  <a:cubicBezTo>
                    <a:pt x="2712257" y="451889"/>
                    <a:pt x="2702366" y="458474"/>
                    <a:pt x="2695772" y="470546"/>
                  </a:cubicBezTo>
                  <a:cubicBezTo>
                    <a:pt x="2690278" y="481521"/>
                    <a:pt x="2680387" y="487008"/>
                    <a:pt x="2675991" y="494691"/>
                  </a:cubicBezTo>
                  <a:cubicBezTo>
                    <a:pt x="2670496" y="502373"/>
                    <a:pt x="2677091" y="525420"/>
                    <a:pt x="2663903" y="518835"/>
                  </a:cubicBezTo>
                  <a:cubicBezTo>
                    <a:pt x="2651814" y="511153"/>
                    <a:pt x="2646320" y="507860"/>
                    <a:pt x="2649617" y="496886"/>
                  </a:cubicBezTo>
                  <a:cubicBezTo>
                    <a:pt x="2652913" y="485911"/>
                    <a:pt x="2660607" y="463961"/>
                    <a:pt x="2650716" y="468351"/>
                  </a:cubicBezTo>
                  <a:cubicBezTo>
                    <a:pt x="2640825" y="471644"/>
                    <a:pt x="2647418" y="482618"/>
                    <a:pt x="2628737" y="493593"/>
                  </a:cubicBezTo>
                  <a:cubicBezTo>
                    <a:pt x="2612253" y="505666"/>
                    <a:pt x="2611154" y="506763"/>
                    <a:pt x="2593570" y="517738"/>
                  </a:cubicBezTo>
                  <a:cubicBezTo>
                    <a:pt x="2577086" y="529810"/>
                    <a:pt x="2552909" y="536395"/>
                    <a:pt x="2554008" y="552857"/>
                  </a:cubicBezTo>
                  <a:cubicBezTo>
                    <a:pt x="2556206" y="569319"/>
                    <a:pt x="2569393" y="583587"/>
                    <a:pt x="2554008" y="579197"/>
                  </a:cubicBezTo>
                  <a:cubicBezTo>
                    <a:pt x="2537523" y="575904"/>
                    <a:pt x="2527633" y="568222"/>
                    <a:pt x="2514446" y="579197"/>
                  </a:cubicBezTo>
                  <a:cubicBezTo>
                    <a:pt x="2502358" y="590172"/>
                    <a:pt x="2488071" y="589074"/>
                    <a:pt x="2456202" y="594561"/>
                  </a:cubicBezTo>
                  <a:cubicBezTo>
                    <a:pt x="2423233" y="600049"/>
                    <a:pt x="2423233" y="592367"/>
                    <a:pt x="2395759" y="598952"/>
                  </a:cubicBezTo>
                  <a:cubicBezTo>
                    <a:pt x="2369384" y="604439"/>
                    <a:pt x="2339713" y="620901"/>
                    <a:pt x="2332020" y="643948"/>
                  </a:cubicBezTo>
                  <a:cubicBezTo>
                    <a:pt x="2326526" y="668093"/>
                    <a:pt x="2329822" y="675776"/>
                    <a:pt x="2345207" y="672483"/>
                  </a:cubicBezTo>
                  <a:cubicBezTo>
                    <a:pt x="2360593" y="669191"/>
                    <a:pt x="2370484" y="682360"/>
                    <a:pt x="2344109" y="692238"/>
                  </a:cubicBezTo>
                  <a:cubicBezTo>
                    <a:pt x="2316635" y="703213"/>
                    <a:pt x="2312239" y="715285"/>
                    <a:pt x="2308942" y="735040"/>
                  </a:cubicBezTo>
                  <a:cubicBezTo>
                    <a:pt x="2305645" y="755892"/>
                    <a:pt x="2312239" y="791011"/>
                    <a:pt x="2291359" y="770159"/>
                  </a:cubicBezTo>
                  <a:cubicBezTo>
                    <a:pt x="2268281" y="747112"/>
                    <a:pt x="2282568" y="726259"/>
                    <a:pt x="2256193" y="735040"/>
                  </a:cubicBezTo>
                  <a:cubicBezTo>
                    <a:pt x="2228719" y="744917"/>
                    <a:pt x="2228719" y="767964"/>
                    <a:pt x="2217729" y="746014"/>
                  </a:cubicBezTo>
                  <a:cubicBezTo>
                    <a:pt x="2206740" y="724065"/>
                    <a:pt x="2192454" y="673580"/>
                    <a:pt x="2148496" y="687848"/>
                  </a:cubicBezTo>
                  <a:cubicBezTo>
                    <a:pt x="2104538" y="702115"/>
                    <a:pt x="2099043" y="754794"/>
                    <a:pt x="2077064" y="739429"/>
                  </a:cubicBezTo>
                  <a:cubicBezTo>
                    <a:pt x="2055085" y="722967"/>
                    <a:pt x="2077064" y="696628"/>
                    <a:pt x="2049590" y="702115"/>
                  </a:cubicBezTo>
                  <a:cubicBezTo>
                    <a:pt x="2021017" y="707602"/>
                    <a:pt x="1993544" y="711992"/>
                    <a:pt x="2018820" y="683458"/>
                  </a:cubicBezTo>
                  <a:cubicBezTo>
                    <a:pt x="2045194" y="654923"/>
                    <a:pt x="2068273" y="645046"/>
                    <a:pt x="2084757" y="638461"/>
                  </a:cubicBezTo>
                  <a:cubicBezTo>
                    <a:pt x="2100142" y="629681"/>
                    <a:pt x="2121022" y="596757"/>
                    <a:pt x="2135308" y="583587"/>
                  </a:cubicBezTo>
                  <a:cubicBezTo>
                    <a:pt x="2149595" y="569319"/>
                    <a:pt x="2161683" y="570417"/>
                    <a:pt x="2153991" y="539687"/>
                  </a:cubicBezTo>
                  <a:cubicBezTo>
                    <a:pt x="2145199" y="507860"/>
                    <a:pt x="2138605" y="491398"/>
                    <a:pt x="2145199" y="477131"/>
                  </a:cubicBezTo>
                  <a:cubicBezTo>
                    <a:pt x="2153991" y="462863"/>
                    <a:pt x="2153991" y="442011"/>
                    <a:pt x="2168277" y="438719"/>
                  </a:cubicBezTo>
                  <a:cubicBezTo>
                    <a:pt x="2182563" y="436524"/>
                    <a:pt x="2180365" y="437621"/>
                    <a:pt x="2207839" y="437621"/>
                  </a:cubicBezTo>
                  <a:cubicBezTo>
                    <a:pt x="2234214" y="437621"/>
                    <a:pt x="2258391" y="424452"/>
                    <a:pt x="2240807" y="404697"/>
                  </a:cubicBezTo>
                  <a:cubicBezTo>
                    <a:pt x="2223224" y="384942"/>
                    <a:pt x="2227620" y="382747"/>
                    <a:pt x="2192454" y="361895"/>
                  </a:cubicBezTo>
                  <a:cubicBezTo>
                    <a:pt x="2157287" y="342140"/>
                    <a:pt x="2118824" y="336653"/>
                    <a:pt x="2110033" y="369578"/>
                  </a:cubicBezTo>
                  <a:cubicBezTo>
                    <a:pt x="2102340" y="400307"/>
                    <a:pt x="2133110" y="394820"/>
                    <a:pt x="2141902" y="404697"/>
                  </a:cubicBezTo>
                  <a:cubicBezTo>
                    <a:pt x="2151793" y="414574"/>
                    <a:pt x="2164980" y="448596"/>
                    <a:pt x="2138605" y="454084"/>
                  </a:cubicBezTo>
                  <a:cubicBezTo>
                    <a:pt x="2111131" y="458474"/>
                    <a:pt x="2090252" y="451889"/>
                    <a:pt x="2075965" y="468351"/>
                  </a:cubicBezTo>
                  <a:cubicBezTo>
                    <a:pt x="2061679" y="483716"/>
                    <a:pt x="2064975" y="517738"/>
                    <a:pt x="2038601" y="514445"/>
                  </a:cubicBezTo>
                  <a:cubicBezTo>
                    <a:pt x="2011127" y="513348"/>
                    <a:pt x="1974862" y="488106"/>
                    <a:pt x="1947388" y="469448"/>
                  </a:cubicBezTo>
                  <a:cubicBezTo>
                    <a:pt x="1918815" y="450791"/>
                    <a:pt x="1906727" y="436524"/>
                    <a:pt x="1893539" y="432134"/>
                  </a:cubicBezTo>
                  <a:cubicBezTo>
                    <a:pt x="1880352" y="428842"/>
                    <a:pt x="1857274" y="423354"/>
                    <a:pt x="1844087" y="427744"/>
                  </a:cubicBezTo>
                  <a:cubicBezTo>
                    <a:pt x="1829801" y="431037"/>
                    <a:pt x="1813316" y="431037"/>
                    <a:pt x="1805623" y="450791"/>
                  </a:cubicBezTo>
                  <a:cubicBezTo>
                    <a:pt x="1796832" y="470546"/>
                    <a:pt x="1782546" y="496886"/>
                    <a:pt x="1781446" y="485911"/>
                  </a:cubicBezTo>
                  <a:cubicBezTo>
                    <a:pt x="1780348" y="472741"/>
                    <a:pt x="1790238" y="454084"/>
                    <a:pt x="1795733" y="435426"/>
                  </a:cubicBezTo>
                  <a:cubicBezTo>
                    <a:pt x="1801227" y="417867"/>
                    <a:pt x="1795733" y="412379"/>
                    <a:pt x="1773754" y="399210"/>
                  </a:cubicBezTo>
                  <a:cubicBezTo>
                    <a:pt x="1751775" y="387137"/>
                    <a:pt x="1748478" y="393722"/>
                    <a:pt x="1731994" y="397015"/>
                  </a:cubicBezTo>
                  <a:cubicBezTo>
                    <a:pt x="1714411" y="399210"/>
                    <a:pt x="1708916" y="412379"/>
                    <a:pt x="1694630" y="414574"/>
                  </a:cubicBezTo>
                  <a:cubicBezTo>
                    <a:pt x="1679244" y="416769"/>
                    <a:pt x="1678146" y="418964"/>
                    <a:pt x="1679244" y="403599"/>
                  </a:cubicBezTo>
                  <a:cubicBezTo>
                    <a:pt x="1681442" y="388235"/>
                    <a:pt x="1660562" y="395917"/>
                    <a:pt x="1664958" y="384942"/>
                  </a:cubicBezTo>
                  <a:cubicBezTo>
                    <a:pt x="1670453" y="372870"/>
                    <a:pt x="1679244" y="377260"/>
                    <a:pt x="1700125" y="375065"/>
                  </a:cubicBezTo>
                  <a:cubicBezTo>
                    <a:pt x="1721004" y="372870"/>
                    <a:pt x="1722104" y="377260"/>
                    <a:pt x="1729796" y="361895"/>
                  </a:cubicBezTo>
                  <a:cubicBezTo>
                    <a:pt x="1737489" y="346530"/>
                    <a:pt x="1735290" y="344335"/>
                    <a:pt x="1733093" y="326776"/>
                  </a:cubicBezTo>
                  <a:cubicBezTo>
                    <a:pt x="1731994" y="310313"/>
                    <a:pt x="1740785" y="303729"/>
                    <a:pt x="1737489" y="286169"/>
                  </a:cubicBezTo>
                  <a:cubicBezTo>
                    <a:pt x="1735290" y="267512"/>
                    <a:pt x="1721004" y="276291"/>
                    <a:pt x="1708916" y="269706"/>
                  </a:cubicBezTo>
                  <a:cubicBezTo>
                    <a:pt x="1696827" y="262024"/>
                    <a:pt x="1710015" y="257634"/>
                    <a:pt x="1716609" y="242269"/>
                  </a:cubicBezTo>
                  <a:cubicBezTo>
                    <a:pt x="1721004" y="226905"/>
                    <a:pt x="1724301" y="218125"/>
                    <a:pt x="1708916" y="199468"/>
                  </a:cubicBezTo>
                  <a:cubicBezTo>
                    <a:pt x="1694630" y="181908"/>
                    <a:pt x="1690234" y="191785"/>
                    <a:pt x="1668255" y="201663"/>
                  </a:cubicBezTo>
                  <a:cubicBezTo>
                    <a:pt x="1646276" y="212637"/>
                    <a:pt x="1637484" y="193980"/>
                    <a:pt x="1615505" y="183005"/>
                  </a:cubicBezTo>
                  <a:cubicBezTo>
                    <a:pt x="1593526" y="170933"/>
                    <a:pt x="1593526" y="166543"/>
                    <a:pt x="1571547" y="168738"/>
                  </a:cubicBezTo>
                  <a:cubicBezTo>
                    <a:pt x="1549568" y="170933"/>
                    <a:pt x="1527589" y="191785"/>
                    <a:pt x="1523193" y="179713"/>
                  </a:cubicBezTo>
                  <a:cubicBezTo>
                    <a:pt x="1523193" y="177518"/>
                    <a:pt x="1522095" y="175323"/>
                    <a:pt x="1522095" y="173128"/>
                  </a:cubicBezTo>
                  <a:cubicBezTo>
                    <a:pt x="1510006" y="175323"/>
                    <a:pt x="1493522" y="178615"/>
                    <a:pt x="1478137" y="178615"/>
                  </a:cubicBezTo>
                  <a:cubicBezTo>
                    <a:pt x="1470444" y="178615"/>
                    <a:pt x="1463851" y="177518"/>
                    <a:pt x="1457256" y="176420"/>
                  </a:cubicBezTo>
                  <a:cubicBezTo>
                    <a:pt x="1439674" y="172031"/>
                    <a:pt x="1433079" y="164348"/>
                    <a:pt x="1427585" y="156666"/>
                  </a:cubicBezTo>
                  <a:cubicBezTo>
                    <a:pt x="1422090" y="150081"/>
                    <a:pt x="1419893" y="146788"/>
                    <a:pt x="1408903" y="147886"/>
                  </a:cubicBezTo>
                  <a:lnTo>
                    <a:pt x="1400111" y="148983"/>
                  </a:lnTo>
                  <a:cubicBezTo>
                    <a:pt x="1380330" y="151178"/>
                    <a:pt x="1373737" y="151178"/>
                    <a:pt x="1349560" y="141301"/>
                  </a:cubicBezTo>
                  <a:cubicBezTo>
                    <a:pt x="1341867" y="139106"/>
                    <a:pt x="1335273" y="135814"/>
                    <a:pt x="1329779" y="133619"/>
                  </a:cubicBezTo>
                  <a:cubicBezTo>
                    <a:pt x="1314393" y="128131"/>
                    <a:pt x="1303404" y="123741"/>
                    <a:pt x="1291315" y="123741"/>
                  </a:cubicBezTo>
                  <a:cubicBezTo>
                    <a:pt x="1285821" y="123741"/>
                    <a:pt x="1281425" y="124839"/>
                    <a:pt x="1278128" y="125936"/>
                  </a:cubicBezTo>
                  <a:cubicBezTo>
                    <a:pt x="1269336" y="129229"/>
                    <a:pt x="1260545" y="131424"/>
                    <a:pt x="1230873" y="123741"/>
                  </a:cubicBezTo>
                  <a:cubicBezTo>
                    <a:pt x="1216587" y="119351"/>
                    <a:pt x="1204498" y="111669"/>
                    <a:pt x="1193509" y="103987"/>
                  </a:cubicBezTo>
                  <a:cubicBezTo>
                    <a:pt x="1181421" y="110571"/>
                    <a:pt x="1166035" y="112766"/>
                    <a:pt x="1150650" y="116059"/>
                  </a:cubicBezTo>
                  <a:cubicBezTo>
                    <a:pt x="1131968" y="120449"/>
                    <a:pt x="1127572" y="132521"/>
                    <a:pt x="1113286" y="123741"/>
                  </a:cubicBezTo>
                  <a:cubicBezTo>
                    <a:pt x="1097900" y="114961"/>
                    <a:pt x="1085812" y="120449"/>
                    <a:pt x="1085812" y="101791"/>
                  </a:cubicBezTo>
                  <a:cubicBezTo>
                    <a:pt x="1086910" y="84232"/>
                    <a:pt x="1097900" y="78744"/>
                    <a:pt x="1100098" y="65575"/>
                  </a:cubicBezTo>
                  <a:cubicBezTo>
                    <a:pt x="1102296" y="52405"/>
                    <a:pt x="1097900" y="41430"/>
                    <a:pt x="1105593" y="20578"/>
                  </a:cubicBezTo>
                  <a:cubicBezTo>
                    <a:pt x="1114384" y="-1372"/>
                    <a:pt x="1102296" y="-5762"/>
                    <a:pt x="1092405" y="7408"/>
                  </a:cubicBezTo>
                  <a:cubicBezTo>
                    <a:pt x="1081416" y="20578"/>
                    <a:pt x="1080317" y="38138"/>
                    <a:pt x="1075921" y="60087"/>
                  </a:cubicBezTo>
                  <a:cubicBezTo>
                    <a:pt x="1071526" y="83134"/>
                    <a:pt x="1064931" y="90817"/>
                    <a:pt x="1062734" y="105084"/>
                  </a:cubicBezTo>
                  <a:cubicBezTo>
                    <a:pt x="1059437" y="118254"/>
                    <a:pt x="1055041" y="144593"/>
                    <a:pt x="1052843" y="150081"/>
                  </a:cubicBezTo>
                  <a:cubicBezTo>
                    <a:pt x="1051745" y="155568"/>
                    <a:pt x="1027568" y="248854"/>
                    <a:pt x="1050645" y="234587"/>
                  </a:cubicBezTo>
                  <a:cubicBezTo>
                    <a:pt x="1072624" y="220320"/>
                    <a:pt x="1067130" y="204955"/>
                    <a:pt x="1066031" y="188493"/>
                  </a:cubicBezTo>
                  <a:cubicBezTo>
                    <a:pt x="1064931" y="170933"/>
                    <a:pt x="1068229" y="135814"/>
                    <a:pt x="1082515" y="136911"/>
                  </a:cubicBezTo>
                  <a:cubicBezTo>
                    <a:pt x="1096801" y="139106"/>
                    <a:pt x="1106692" y="155568"/>
                    <a:pt x="1122077" y="146788"/>
                  </a:cubicBezTo>
                  <a:cubicBezTo>
                    <a:pt x="1138561" y="136911"/>
                    <a:pt x="1144056" y="132521"/>
                    <a:pt x="1163837" y="131424"/>
                  </a:cubicBezTo>
                  <a:cubicBezTo>
                    <a:pt x="1183619" y="130326"/>
                    <a:pt x="1189113" y="117156"/>
                    <a:pt x="1193509" y="141301"/>
                  </a:cubicBezTo>
                  <a:cubicBezTo>
                    <a:pt x="1197905" y="165446"/>
                    <a:pt x="1193509" y="196175"/>
                    <a:pt x="1206696" y="223612"/>
                  </a:cubicBezTo>
                  <a:cubicBezTo>
                    <a:pt x="1218784" y="249952"/>
                    <a:pt x="1211092" y="219222"/>
                    <a:pt x="1242961" y="248854"/>
                  </a:cubicBezTo>
                  <a:cubicBezTo>
                    <a:pt x="1273732" y="278486"/>
                    <a:pt x="1268237" y="281779"/>
                    <a:pt x="1266040" y="305923"/>
                  </a:cubicBezTo>
                  <a:cubicBezTo>
                    <a:pt x="1262742" y="328971"/>
                    <a:pt x="1282524" y="314703"/>
                    <a:pt x="1296810" y="328971"/>
                  </a:cubicBezTo>
                  <a:cubicBezTo>
                    <a:pt x="1311096" y="343238"/>
                    <a:pt x="1309998" y="357505"/>
                    <a:pt x="1319888" y="375065"/>
                  </a:cubicBezTo>
                  <a:cubicBezTo>
                    <a:pt x="1328679" y="391527"/>
                    <a:pt x="1351758" y="384942"/>
                    <a:pt x="1335273" y="403599"/>
                  </a:cubicBezTo>
                  <a:cubicBezTo>
                    <a:pt x="1317690" y="421159"/>
                    <a:pt x="1296810" y="415672"/>
                    <a:pt x="1282524" y="433232"/>
                  </a:cubicBezTo>
                  <a:cubicBezTo>
                    <a:pt x="1268237" y="449694"/>
                    <a:pt x="1256149" y="440914"/>
                    <a:pt x="1228675" y="443109"/>
                  </a:cubicBezTo>
                  <a:cubicBezTo>
                    <a:pt x="1202300" y="444206"/>
                    <a:pt x="1178124" y="435426"/>
                    <a:pt x="1180321" y="458474"/>
                  </a:cubicBezTo>
                  <a:cubicBezTo>
                    <a:pt x="1183619" y="480423"/>
                    <a:pt x="1199003" y="480423"/>
                    <a:pt x="1188014" y="496886"/>
                  </a:cubicBezTo>
                  <a:cubicBezTo>
                    <a:pt x="1174826" y="512250"/>
                    <a:pt x="1160540" y="541882"/>
                    <a:pt x="1179222" y="542980"/>
                  </a:cubicBezTo>
                  <a:cubicBezTo>
                    <a:pt x="1197905" y="545175"/>
                    <a:pt x="1207795" y="521030"/>
                    <a:pt x="1233071" y="526518"/>
                  </a:cubicBezTo>
                  <a:cubicBezTo>
                    <a:pt x="1258347" y="530908"/>
                    <a:pt x="1275930" y="556150"/>
                    <a:pt x="1285821" y="530908"/>
                  </a:cubicBezTo>
                  <a:cubicBezTo>
                    <a:pt x="1295711" y="505666"/>
                    <a:pt x="1301206" y="473838"/>
                    <a:pt x="1311096" y="493593"/>
                  </a:cubicBezTo>
                  <a:cubicBezTo>
                    <a:pt x="1320987" y="513348"/>
                    <a:pt x="1312195" y="530908"/>
                    <a:pt x="1295711" y="546272"/>
                  </a:cubicBezTo>
                  <a:cubicBezTo>
                    <a:pt x="1278128" y="561637"/>
                    <a:pt x="1252852" y="571515"/>
                    <a:pt x="1253951" y="590172"/>
                  </a:cubicBezTo>
                  <a:cubicBezTo>
                    <a:pt x="1256149" y="608829"/>
                    <a:pt x="1237467" y="634071"/>
                    <a:pt x="1268237" y="630779"/>
                  </a:cubicBezTo>
                  <a:cubicBezTo>
                    <a:pt x="1300107" y="628584"/>
                    <a:pt x="1309998" y="608829"/>
                    <a:pt x="1320987" y="626389"/>
                  </a:cubicBezTo>
                  <a:cubicBezTo>
                    <a:pt x="1331977" y="643948"/>
                    <a:pt x="1311096" y="650533"/>
                    <a:pt x="1325383" y="664801"/>
                  </a:cubicBezTo>
                  <a:cubicBezTo>
                    <a:pt x="1339669" y="679068"/>
                    <a:pt x="1322086" y="699920"/>
                    <a:pt x="1302305" y="696628"/>
                  </a:cubicBezTo>
                  <a:cubicBezTo>
                    <a:pt x="1283623" y="693335"/>
                    <a:pt x="1264940" y="674678"/>
                    <a:pt x="1262742" y="706505"/>
                  </a:cubicBezTo>
                  <a:cubicBezTo>
                    <a:pt x="1261644" y="736137"/>
                    <a:pt x="1272633" y="737234"/>
                    <a:pt x="1278128" y="760282"/>
                  </a:cubicBezTo>
                  <a:cubicBezTo>
                    <a:pt x="1285821" y="782231"/>
                    <a:pt x="1301206" y="786621"/>
                    <a:pt x="1316591" y="787719"/>
                  </a:cubicBezTo>
                  <a:cubicBezTo>
                    <a:pt x="1331977" y="789914"/>
                    <a:pt x="1336372" y="786621"/>
                    <a:pt x="1373737" y="785524"/>
                  </a:cubicBezTo>
                  <a:cubicBezTo>
                    <a:pt x="1410002" y="783329"/>
                    <a:pt x="1410002" y="775646"/>
                    <a:pt x="1426486" y="793206"/>
                  </a:cubicBezTo>
                  <a:cubicBezTo>
                    <a:pt x="1441872" y="810766"/>
                    <a:pt x="1451762" y="807474"/>
                    <a:pt x="1468246" y="823936"/>
                  </a:cubicBezTo>
                  <a:cubicBezTo>
                    <a:pt x="1485830" y="839300"/>
                    <a:pt x="1475939" y="864542"/>
                    <a:pt x="1453960" y="845885"/>
                  </a:cubicBezTo>
                  <a:cubicBezTo>
                    <a:pt x="1434179" y="827228"/>
                    <a:pt x="1422090" y="812961"/>
                    <a:pt x="1390221" y="810766"/>
                  </a:cubicBezTo>
                  <a:cubicBezTo>
                    <a:pt x="1360549" y="809668"/>
                    <a:pt x="1323185" y="821741"/>
                    <a:pt x="1278128" y="821741"/>
                  </a:cubicBezTo>
                  <a:cubicBezTo>
                    <a:pt x="1234170" y="821741"/>
                    <a:pt x="1220982" y="806376"/>
                    <a:pt x="1194608" y="796499"/>
                  </a:cubicBezTo>
                  <a:cubicBezTo>
                    <a:pt x="1169332" y="786621"/>
                    <a:pt x="1158342" y="799791"/>
                    <a:pt x="1150650" y="832715"/>
                  </a:cubicBezTo>
                  <a:cubicBezTo>
                    <a:pt x="1142957" y="865640"/>
                    <a:pt x="1126473" y="875517"/>
                    <a:pt x="1119879" y="898565"/>
                  </a:cubicBezTo>
                  <a:cubicBezTo>
                    <a:pt x="1111087" y="920514"/>
                    <a:pt x="1091307" y="929294"/>
                    <a:pt x="1108889" y="949049"/>
                  </a:cubicBezTo>
                  <a:cubicBezTo>
                    <a:pt x="1125374" y="967706"/>
                    <a:pt x="1163837" y="985266"/>
                    <a:pt x="1140759" y="1002825"/>
                  </a:cubicBezTo>
                  <a:cubicBezTo>
                    <a:pt x="1118780" y="1020385"/>
                    <a:pt x="1114384" y="1035750"/>
                    <a:pt x="1095703" y="1008313"/>
                  </a:cubicBezTo>
                  <a:cubicBezTo>
                    <a:pt x="1077020" y="981973"/>
                    <a:pt x="1047349" y="944659"/>
                    <a:pt x="1033062" y="976486"/>
                  </a:cubicBezTo>
                  <a:cubicBezTo>
                    <a:pt x="1019875" y="1006118"/>
                    <a:pt x="989104" y="1041237"/>
                    <a:pt x="1022073" y="1043432"/>
                  </a:cubicBezTo>
                  <a:cubicBezTo>
                    <a:pt x="1055041" y="1046725"/>
                    <a:pt x="1073724" y="1065382"/>
                    <a:pt x="1051745" y="1086234"/>
                  </a:cubicBezTo>
                  <a:cubicBezTo>
                    <a:pt x="1031963" y="1109281"/>
                    <a:pt x="988005" y="1100501"/>
                    <a:pt x="962729" y="1080747"/>
                  </a:cubicBezTo>
                  <a:cubicBezTo>
                    <a:pt x="937454" y="1060992"/>
                    <a:pt x="962729" y="1066479"/>
                    <a:pt x="970422" y="1025873"/>
                  </a:cubicBezTo>
                  <a:cubicBezTo>
                    <a:pt x="975917" y="984168"/>
                    <a:pt x="967125" y="994046"/>
                    <a:pt x="948443" y="965511"/>
                  </a:cubicBezTo>
                  <a:cubicBezTo>
                    <a:pt x="931959" y="936976"/>
                    <a:pt x="962729" y="928197"/>
                    <a:pt x="933058" y="913929"/>
                  </a:cubicBezTo>
                  <a:cubicBezTo>
                    <a:pt x="903386" y="899662"/>
                    <a:pt x="822064" y="897467"/>
                    <a:pt x="778106" y="909539"/>
                  </a:cubicBezTo>
                  <a:cubicBezTo>
                    <a:pt x="734148" y="920514"/>
                    <a:pt x="746236" y="919417"/>
                    <a:pt x="712169" y="911734"/>
                  </a:cubicBezTo>
                  <a:cubicBezTo>
                    <a:pt x="679201" y="906247"/>
                    <a:pt x="673706" y="900760"/>
                    <a:pt x="626451" y="929294"/>
                  </a:cubicBezTo>
                  <a:cubicBezTo>
                    <a:pt x="580295" y="957829"/>
                    <a:pt x="546228" y="967706"/>
                    <a:pt x="561613" y="994046"/>
                  </a:cubicBezTo>
                  <a:cubicBezTo>
                    <a:pt x="576998" y="1021483"/>
                    <a:pt x="580295" y="1012703"/>
                    <a:pt x="559415" y="1034652"/>
                  </a:cubicBezTo>
                  <a:cubicBezTo>
                    <a:pt x="536337" y="1057700"/>
                    <a:pt x="547327" y="1071967"/>
                    <a:pt x="542931" y="1100501"/>
                  </a:cubicBezTo>
                  <a:cubicBezTo>
                    <a:pt x="538535" y="1129036"/>
                    <a:pt x="531941" y="1144401"/>
                    <a:pt x="560514" y="1146596"/>
                  </a:cubicBezTo>
                  <a:cubicBezTo>
                    <a:pt x="589087" y="1149888"/>
                    <a:pt x="590186" y="1124646"/>
                    <a:pt x="609967" y="1146596"/>
                  </a:cubicBezTo>
                  <a:cubicBezTo>
                    <a:pt x="628649" y="1169643"/>
                    <a:pt x="648430" y="1142206"/>
                    <a:pt x="667112" y="1150986"/>
                  </a:cubicBezTo>
                  <a:cubicBezTo>
                    <a:pt x="684695" y="1160863"/>
                    <a:pt x="674805" y="1182813"/>
                    <a:pt x="650628" y="1181715"/>
                  </a:cubicBezTo>
                  <a:cubicBezTo>
                    <a:pt x="630847" y="1179520"/>
                    <a:pt x="626451" y="1183910"/>
                    <a:pt x="611066" y="1192690"/>
                  </a:cubicBezTo>
                  <a:cubicBezTo>
                    <a:pt x="618758" y="1215737"/>
                    <a:pt x="624253" y="1240979"/>
                    <a:pt x="619857" y="1261832"/>
                  </a:cubicBezTo>
                  <a:cubicBezTo>
                    <a:pt x="615462" y="1278294"/>
                    <a:pt x="616560" y="1290366"/>
                    <a:pt x="618758" y="1304633"/>
                  </a:cubicBezTo>
                  <a:cubicBezTo>
                    <a:pt x="619857" y="1318901"/>
                    <a:pt x="622055" y="1334266"/>
                    <a:pt x="617660" y="1356215"/>
                  </a:cubicBezTo>
                  <a:cubicBezTo>
                    <a:pt x="614362" y="1378165"/>
                    <a:pt x="603373" y="1396822"/>
                    <a:pt x="591285" y="1416577"/>
                  </a:cubicBezTo>
                  <a:cubicBezTo>
                    <a:pt x="579196" y="1436331"/>
                    <a:pt x="567108" y="1457184"/>
                    <a:pt x="560514" y="1484621"/>
                  </a:cubicBezTo>
                  <a:cubicBezTo>
                    <a:pt x="553920" y="1512058"/>
                    <a:pt x="556118" y="1527422"/>
                    <a:pt x="558316" y="1540592"/>
                  </a:cubicBezTo>
                  <a:cubicBezTo>
                    <a:pt x="560514" y="1553762"/>
                    <a:pt x="561613" y="1564737"/>
                    <a:pt x="552821" y="1580102"/>
                  </a:cubicBezTo>
                  <a:cubicBezTo>
                    <a:pt x="544030" y="1596564"/>
                    <a:pt x="530842" y="1603149"/>
                    <a:pt x="522051" y="1606441"/>
                  </a:cubicBezTo>
                  <a:cubicBezTo>
                    <a:pt x="507765" y="1610831"/>
                    <a:pt x="495676" y="1607539"/>
                    <a:pt x="487983" y="1604246"/>
                  </a:cubicBezTo>
                  <a:cubicBezTo>
                    <a:pt x="474796" y="1596564"/>
                    <a:pt x="440728" y="1583394"/>
                    <a:pt x="422046" y="1591077"/>
                  </a:cubicBezTo>
                  <a:cubicBezTo>
                    <a:pt x="415453" y="1593271"/>
                    <a:pt x="412156" y="1598759"/>
                    <a:pt x="409958" y="1605344"/>
                  </a:cubicBezTo>
                  <a:cubicBezTo>
                    <a:pt x="404463" y="1626196"/>
                    <a:pt x="409958" y="1636073"/>
                    <a:pt x="414354" y="1644853"/>
                  </a:cubicBezTo>
                  <a:cubicBezTo>
                    <a:pt x="417651" y="1651438"/>
                    <a:pt x="420948" y="1658023"/>
                    <a:pt x="417651" y="1666803"/>
                  </a:cubicBezTo>
                  <a:cubicBezTo>
                    <a:pt x="416551" y="1671193"/>
                    <a:pt x="414354" y="1674485"/>
                    <a:pt x="412156" y="1678875"/>
                  </a:cubicBezTo>
                  <a:cubicBezTo>
                    <a:pt x="406661" y="1690948"/>
                    <a:pt x="402265" y="1698630"/>
                    <a:pt x="417651" y="1715092"/>
                  </a:cubicBezTo>
                  <a:cubicBezTo>
                    <a:pt x="437432" y="1735944"/>
                    <a:pt x="460509" y="1734847"/>
                    <a:pt x="485786" y="1732652"/>
                  </a:cubicBezTo>
                  <a:lnTo>
                    <a:pt x="495676" y="1732652"/>
                  </a:lnTo>
                  <a:cubicBezTo>
                    <a:pt x="516556" y="1731554"/>
                    <a:pt x="531941" y="1737042"/>
                    <a:pt x="539634" y="1746919"/>
                  </a:cubicBezTo>
                  <a:cubicBezTo>
                    <a:pt x="546228" y="1754602"/>
                    <a:pt x="547327" y="1765576"/>
                    <a:pt x="544030" y="1777649"/>
                  </a:cubicBezTo>
                  <a:cubicBezTo>
                    <a:pt x="539634" y="1793013"/>
                    <a:pt x="541832" y="1803988"/>
                    <a:pt x="544030" y="1813866"/>
                  </a:cubicBezTo>
                  <a:cubicBezTo>
                    <a:pt x="546228" y="1822646"/>
                    <a:pt x="548425" y="1831425"/>
                    <a:pt x="542931" y="1839108"/>
                  </a:cubicBezTo>
                  <a:cubicBezTo>
                    <a:pt x="537436" y="1846790"/>
                    <a:pt x="530842" y="1847888"/>
                    <a:pt x="525348" y="1848985"/>
                  </a:cubicBezTo>
                  <a:cubicBezTo>
                    <a:pt x="518754" y="1850083"/>
                    <a:pt x="514358" y="1851180"/>
                    <a:pt x="514358" y="1864350"/>
                  </a:cubicBezTo>
                  <a:cubicBezTo>
                    <a:pt x="514358" y="1874227"/>
                    <a:pt x="516556" y="1881910"/>
                    <a:pt x="518754" y="1888495"/>
                  </a:cubicBezTo>
                  <a:cubicBezTo>
                    <a:pt x="520952" y="1896177"/>
                    <a:pt x="523150" y="1902762"/>
                    <a:pt x="518754" y="1908249"/>
                  </a:cubicBezTo>
                  <a:cubicBezTo>
                    <a:pt x="515457" y="1912639"/>
                    <a:pt x="511061" y="1914834"/>
                    <a:pt x="501171" y="1915932"/>
                  </a:cubicBezTo>
                  <a:cubicBezTo>
                    <a:pt x="474796" y="1918127"/>
                    <a:pt x="449520" y="1936784"/>
                    <a:pt x="436333" y="1953246"/>
                  </a:cubicBezTo>
                  <a:cubicBezTo>
                    <a:pt x="428640" y="1963123"/>
                    <a:pt x="417651" y="1967513"/>
                    <a:pt x="406661" y="1973001"/>
                  </a:cubicBezTo>
                  <a:cubicBezTo>
                    <a:pt x="394572" y="1978488"/>
                    <a:pt x="383583" y="1982878"/>
                    <a:pt x="379188" y="1993853"/>
                  </a:cubicBezTo>
                  <a:cubicBezTo>
                    <a:pt x="378088" y="1998243"/>
                    <a:pt x="376990" y="2001535"/>
                    <a:pt x="379188" y="2004828"/>
                  </a:cubicBezTo>
                  <a:cubicBezTo>
                    <a:pt x="382484" y="2010315"/>
                    <a:pt x="392375" y="2013608"/>
                    <a:pt x="403365" y="2017998"/>
                  </a:cubicBezTo>
                  <a:cubicBezTo>
                    <a:pt x="407760" y="2019095"/>
                    <a:pt x="412156" y="2020193"/>
                    <a:pt x="415453" y="2022387"/>
                  </a:cubicBezTo>
                  <a:cubicBezTo>
                    <a:pt x="424244" y="2025680"/>
                    <a:pt x="430838" y="2032265"/>
                    <a:pt x="434135" y="2043240"/>
                  </a:cubicBezTo>
                  <a:cubicBezTo>
                    <a:pt x="437432" y="2057507"/>
                    <a:pt x="431937" y="2075067"/>
                    <a:pt x="420948" y="2084944"/>
                  </a:cubicBezTo>
                  <a:cubicBezTo>
                    <a:pt x="411057" y="2093724"/>
                    <a:pt x="403365" y="2093724"/>
                    <a:pt x="395672" y="2093724"/>
                  </a:cubicBezTo>
                  <a:cubicBezTo>
                    <a:pt x="390177" y="2093724"/>
                    <a:pt x="384682" y="2093724"/>
                    <a:pt x="376990" y="2095919"/>
                  </a:cubicBezTo>
                  <a:cubicBezTo>
                    <a:pt x="370396" y="2098114"/>
                    <a:pt x="364901" y="2102504"/>
                    <a:pt x="357209" y="2106894"/>
                  </a:cubicBezTo>
                  <a:cubicBezTo>
                    <a:pt x="341823" y="2116771"/>
                    <a:pt x="325339" y="2126648"/>
                    <a:pt x="302261" y="2128844"/>
                  </a:cubicBezTo>
                  <a:cubicBezTo>
                    <a:pt x="289074" y="2129941"/>
                    <a:pt x="278084" y="2135428"/>
                    <a:pt x="269293" y="2140916"/>
                  </a:cubicBezTo>
                  <a:cubicBezTo>
                    <a:pt x="259402" y="2146403"/>
                    <a:pt x="249512" y="2151891"/>
                    <a:pt x="239621" y="2144208"/>
                  </a:cubicBezTo>
                  <a:cubicBezTo>
                    <a:pt x="235225" y="2140916"/>
                    <a:pt x="233027" y="2136526"/>
                    <a:pt x="229730" y="2133233"/>
                  </a:cubicBezTo>
                  <a:cubicBezTo>
                    <a:pt x="223137" y="2125551"/>
                    <a:pt x="220939" y="2122259"/>
                    <a:pt x="209949" y="2124454"/>
                  </a:cubicBezTo>
                  <a:cubicBezTo>
                    <a:pt x="200059" y="2125551"/>
                    <a:pt x="192366" y="2118966"/>
                    <a:pt x="184673" y="2112381"/>
                  </a:cubicBezTo>
                  <a:cubicBezTo>
                    <a:pt x="174783" y="2103601"/>
                    <a:pt x="165991" y="2094821"/>
                    <a:pt x="148408" y="2101406"/>
                  </a:cubicBezTo>
                  <a:cubicBezTo>
                    <a:pt x="125330" y="2110186"/>
                    <a:pt x="114340" y="2117869"/>
                    <a:pt x="103351" y="2126648"/>
                  </a:cubicBezTo>
                  <a:cubicBezTo>
                    <a:pt x="97856" y="2129941"/>
                    <a:pt x="93461" y="2134331"/>
                    <a:pt x="87966" y="2137623"/>
                  </a:cubicBezTo>
                  <a:cubicBezTo>
                    <a:pt x="84669" y="2139818"/>
                    <a:pt x="82471" y="2140916"/>
                    <a:pt x="79175" y="2143111"/>
                  </a:cubicBezTo>
                  <a:cubicBezTo>
                    <a:pt x="63789" y="2151891"/>
                    <a:pt x="56096" y="2156281"/>
                    <a:pt x="68185" y="2182620"/>
                  </a:cubicBezTo>
                  <a:cubicBezTo>
                    <a:pt x="75877" y="2197985"/>
                    <a:pt x="81372" y="2199082"/>
                    <a:pt x="86867" y="2201277"/>
                  </a:cubicBezTo>
                  <a:cubicBezTo>
                    <a:pt x="95659" y="2203472"/>
                    <a:pt x="101154" y="2206765"/>
                    <a:pt x="105549" y="2226519"/>
                  </a:cubicBezTo>
                  <a:cubicBezTo>
                    <a:pt x="107747" y="2239689"/>
                    <a:pt x="107747" y="2247372"/>
                    <a:pt x="106648" y="2252859"/>
                  </a:cubicBezTo>
                  <a:cubicBezTo>
                    <a:pt x="106648" y="2260542"/>
                    <a:pt x="105549" y="2262736"/>
                    <a:pt x="118736" y="2279199"/>
                  </a:cubicBezTo>
                  <a:cubicBezTo>
                    <a:pt x="129726" y="2294564"/>
                    <a:pt x="130825" y="2304441"/>
                    <a:pt x="131924" y="2313221"/>
                  </a:cubicBezTo>
                  <a:cubicBezTo>
                    <a:pt x="133023" y="2320903"/>
                    <a:pt x="134122" y="2325293"/>
                    <a:pt x="141814" y="2334073"/>
                  </a:cubicBezTo>
                  <a:cubicBezTo>
                    <a:pt x="160496" y="2353828"/>
                    <a:pt x="171486" y="2403214"/>
                    <a:pt x="163793" y="2436139"/>
                  </a:cubicBezTo>
                  <a:cubicBezTo>
                    <a:pt x="157200" y="2465771"/>
                    <a:pt x="148408" y="2476746"/>
                    <a:pt x="131924" y="2487720"/>
                  </a:cubicBezTo>
                  <a:cubicBezTo>
                    <a:pt x="125330" y="2493208"/>
                    <a:pt x="123133" y="2499793"/>
                    <a:pt x="120935" y="2506378"/>
                  </a:cubicBezTo>
                  <a:cubicBezTo>
                    <a:pt x="118736" y="2511865"/>
                    <a:pt x="117638" y="2517353"/>
                    <a:pt x="113242" y="2523938"/>
                  </a:cubicBezTo>
                  <a:lnTo>
                    <a:pt x="109945" y="2527230"/>
                  </a:lnTo>
                  <a:cubicBezTo>
                    <a:pt x="103351" y="2534912"/>
                    <a:pt x="93461" y="2546985"/>
                    <a:pt x="94559" y="2554667"/>
                  </a:cubicBezTo>
                  <a:cubicBezTo>
                    <a:pt x="94559" y="2556862"/>
                    <a:pt x="95659" y="2559057"/>
                    <a:pt x="97856" y="2560154"/>
                  </a:cubicBezTo>
                  <a:cubicBezTo>
                    <a:pt x="103351" y="2564544"/>
                    <a:pt x="107747" y="2563447"/>
                    <a:pt x="113242" y="2561252"/>
                  </a:cubicBezTo>
                  <a:cubicBezTo>
                    <a:pt x="119835" y="2559057"/>
                    <a:pt x="128627" y="2556862"/>
                    <a:pt x="137419" y="2565642"/>
                  </a:cubicBezTo>
                  <a:cubicBezTo>
                    <a:pt x="144012" y="2573324"/>
                    <a:pt x="147309" y="2582104"/>
                    <a:pt x="144012" y="2589787"/>
                  </a:cubicBezTo>
                  <a:cubicBezTo>
                    <a:pt x="140715" y="2598566"/>
                    <a:pt x="131924" y="2602956"/>
                    <a:pt x="118736" y="2604054"/>
                  </a:cubicBezTo>
                  <a:cubicBezTo>
                    <a:pt x="100054" y="2605151"/>
                    <a:pt x="75877" y="2621613"/>
                    <a:pt x="63789" y="2638076"/>
                  </a:cubicBezTo>
                  <a:cubicBezTo>
                    <a:pt x="52800" y="2653440"/>
                    <a:pt x="42909" y="2663318"/>
                    <a:pt x="25326" y="2656733"/>
                  </a:cubicBezTo>
                  <a:cubicBezTo>
                    <a:pt x="18732" y="2653440"/>
                    <a:pt x="13238" y="2652343"/>
                    <a:pt x="9940" y="2653440"/>
                  </a:cubicBezTo>
                  <a:cubicBezTo>
                    <a:pt x="6644" y="2654538"/>
                    <a:pt x="5545" y="2656733"/>
                    <a:pt x="3347" y="2661123"/>
                  </a:cubicBezTo>
                  <a:cubicBezTo>
                    <a:pt x="50" y="2671000"/>
                    <a:pt x="-2148" y="2690755"/>
                    <a:pt x="3347" y="2699535"/>
                  </a:cubicBezTo>
                  <a:cubicBezTo>
                    <a:pt x="5545" y="2702827"/>
                    <a:pt x="7743" y="2703925"/>
                    <a:pt x="12138" y="2705022"/>
                  </a:cubicBezTo>
                  <a:lnTo>
                    <a:pt x="13238" y="2705022"/>
                  </a:lnTo>
                  <a:cubicBezTo>
                    <a:pt x="20930" y="2705022"/>
                    <a:pt x="28623" y="2700632"/>
                    <a:pt x="36315" y="2696242"/>
                  </a:cubicBezTo>
                  <a:cubicBezTo>
                    <a:pt x="45107" y="2690755"/>
                    <a:pt x="56096" y="2685267"/>
                    <a:pt x="65987" y="2694047"/>
                  </a:cubicBezTo>
                  <a:cubicBezTo>
                    <a:pt x="73680" y="2701730"/>
                    <a:pt x="71482" y="2709412"/>
                    <a:pt x="69284" y="2717095"/>
                  </a:cubicBezTo>
                  <a:cubicBezTo>
                    <a:pt x="67086" y="2723679"/>
                    <a:pt x="64888" y="2729167"/>
                    <a:pt x="70382" y="2736849"/>
                  </a:cubicBezTo>
                  <a:cubicBezTo>
                    <a:pt x="74779" y="2744532"/>
                    <a:pt x="82471" y="2745629"/>
                    <a:pt x="89065" y="2747824"/>
                  </a:cubicBezTo>
                  <a:cubicBezTo>
                    <a:pt x="95659" y="2748922"/>
                    <a:pt x="105549" y="2751116"/>
                    <a:pt x="105549" y="2764286"/>
                  </a:cubicBezTo>
                  <a:cubicBezTo>
                    <a:pt x="105549" y="2777456"/>
                    <a:pt x="91263" y="2787334"/>
                    <a:pt x="78075" y="2797211"/>
                  </a:cubicBezTo>
                  <a:cubicBezTo>
                    <a:pt x="71482" y="2802698"/>
                    <a:pt x="63789" y="2807088"/>
                    <a:pt x="60492" y="2812576"/>
                  </a:cubicBezTo>
                  <a:cubicBezTo>
                    <a:pt x="50601" y="2824648"/>
                    <a:pt x="48403" y="2842208"/>
                    <a:pt x="53898" y="2859768"/>
                  </a:cubicBezTo>
                  <a:cubicBezTo>
                    <a:pt x="58294" y="2872937"/>
                    <a:pt x="60492" y="2872937"/>
                    <a:pt x="78075" y="2875132"/>
                  </a:cubicBezTo>
                  <a:lnTo>
                    <a:pt x="80273" y="2875132"/>
                  </a:lnTo>
                  <a:cubicBezTo>
                    <a:pt x="100054" y="2878425"/>
                    <a:pt x="109945" y="2880620"/>
                    <a:pt x="111044" y="2904764"/>
                  </a:cubicBezTo>
                  <a:cubicBezTo>
                    <a:pt x="114340" y="2930006"/>
                    <a:pt x="118736" y="2934396"/>
                    <a:pt x="125330" y="2933299"/>
                  </a:cubicBezTo>
                  <a:cubicBezTo>
                    <a:pt x="129726" y="2933299"/>
                    <a:pt x="133023" y="2931104"/>
                    <a:pt x="136319" y="2930006"/>
                  </a:cubicBezTo>
                  <a:cubicBezTo>
                    <a:pt x="140715" y="2927811"/>
                    <a:pt x="146210" y="2925617"/>
                    <a:pt x="150606" y="2927811"/>
                  </a:cubicBezTo>
                  <a:cubicBezTo>
                    <a:pt x="155002" y="2930006"/>
                    <a:pt x="157200" y="2935494"/>
                    <a:pt x="158298" y="2938786"/>
                  </a:cubicBezTo>
                  <a:cubicBezTo>
                    <a:pt x="161596" y="2956346"/>
                    <a:pt x="156101" y="2961833"/>
                    <a:pt x="148408" y="2967321"/>
                  </a:cubicBezTo>
                  <a:cubicBezTo>
                    <a:pt x="147309" y="2968418"/>
                    <a:pt x="146210" y="2969516"/>
                    <a:pt x="144012" y="2970613"/>
                  </a:cubicBezTo>
                  <a:lnTo>
                    <a:pt x="140715" y="2972808"/>
                  </a:lnTo>
                  <a:cubicBezTo>
                    <a:pt x="133023" y="2980491"/>
                    <a:pt x="127528" y="2984881"/>
                    <a:pt x="126429" y="3003538"/>
                  </a:cubicBezTo>
                  <a:cubicBezTo>
                    <a:pt x="125330" y="3013415"/>
                    <a:pt x="129726" y="3018903"/>
                    <a:pt x="133023" y="3022195"/>
                  </a:cubicBezTo>
                  <a:cubicBezTo>
                    <a:pt x="138517" y="3026585"/>
                    <a:pt x="146210" y="3028780"/>
                    <a:pt x="153903" y="3027682"/>
                  </a:cubicBezTo>
                  <a:cubicBezTo>
                    <a:pt x="155002" y="3027682"/>
                    <a:pt x="157200" y="3026585"/>
                    <a:pt x="159398" y="3025487"/>
                  </a:cubicBezTo>
                  <a:cubicBezTo>
                    <a:pt x="169288" y="3022195"/>
                    <a:pt x="179179" y="3018903"/>
                    <a:pt x="185772" y="3023292"/>
                  </a:cubicBezTo>
                  <a:cubicBezTo>
                    <a:pt x="189069" y="3025487"/>
                    <a:pt x="191267" y="3029877"/>
                    <a:pt x="191267" y="3035365"/>
                  </a:cubicBezTo>
                  <a:cubicBezTo>
                    <a:pt x="192366" y="3044145"/>
                    <a:pt x="191267" y="3050730"/>
                    <a:pt x="189069" y="3055119"/>
                  </a:cubicBezTo>
                  <a:cubicBezTo>
                    <a:pt x="187970" y="3060607"/>
                    <a:pt x="186871" y="3063899"/>
                    <a:pt x="189069" y="3067192"/>
                  </a:cubicBezTo>
                  <a:cubicBezTo>
                    <a:pt x="193465" y="3073777"/>
                    <a:pt x="190168" y="3079264"/>
                    <a:pt x="189069" y="3082556"/>
                  </a:cubicBezTo>
                  <a:cubicBezTo>
                    <a:pt x="186871" y="3086946"/>
                    <a:pt x="183575" y="3091336"/>
                    <a:pt x="192366" y="3105604"/>
                  </a:cubicBezTo>
                  <a:cubicBezTo>
                    <a:pt x="195663" y="3111091"/>
                    <a:pt x="198960" y="3116579"/>
                    <a:pt x="201158" y="3120968"/>
                  </a:cubicBezTo>
                  <a:cubicBezTo>
                    <a:pt x="211048" y="3138528"/>
                    <a:pt x="217642" y="3149503"/>
                    <a:pt x="205554" y="3160478"/>
                  </a:cubicBezTo>
                  <a:cubicBezTo>
                    <a:pt x="198960" y="3167063"/>
                    <a:pt x="190168" y="3165965"/>
                    <a:pt x="183575" y="3163770"/>
                  </a:cubicBezTo>
                  <a:cubicBezTo>
                    <a:pt x="175882" y="3161575"/>
                    <a:pt x="171486" y="3161575"/>
                    <a:pt x="165991" y="3167063"/>
                  </a:cubicBezTo>
                  <a:cubicBezTo>
                    <a:pt x="161596" y="3172550"/>
                    <a:pt x="158298" y="3179135"/>
                    <a:pt x="153903" y="3184622"/>
                  </a:cubicBezTo>
                  <a:cubicBezTo>
                    <a:pt x="147309" y="3195597"/>
                    <a:pt x="141814" y="3205475"/>
                    <a:pt x="131924" y="3205475"/>
                  </a:cubicBezTo>
                  <a:cubicBezTo>
                    <a:pt x="122033" y="3205475"/>
                    <a:pt x="105549" y="3214255"/>
                    <a:pt x="100054" y="3238399"/>
                  </a:cubicBezTo>
                  <a:cubicBezTo>
                    <a:pt x="97856" y="3250471"/>
                    <a:pt x="93461" y="3258154"/>
                    <a:pt x="89065" y="3264738"/>
                  </a:cubicBezTo>
                  <a:cubicBezTo>
                    <a:pt x="83570" y="3273519"/>
                    <a:pt x="80273" y="3281201"/>
                    <a:pt x="80273" y="3297663"/>
                  </a:cubicBezTo>
                  <a:cubicBezTo>
                    <a:pt x="80273" y="3328393"/>
                    <a:pt x="87966" y="3360220"/>
                    <a:pt x="102252" y="3384364"/>
                  </a:cubicBezTo>
                  <a:cubicBezTo>
                    <a:pt x="107747" y="3395339"/>
                    <a:pt x="115440" y="3400827"/>
                    <a:pt x="120935" y="3406314"/>
                  </a:cubicBezTo>
                  <a:cubicBezTo>
                    <a:pt x="128627" y="3412899"/>
                    <a:pt x="136319" y="3419484"/>
                    <a:pt x="137419" y="3432654"/>
                  </a:cubicBezTo>
                  <a:cubicBezTo>
                    <a:pt x="137419" y="3435946"/>
                    <a:pt x="138517" y="3440336"/>
                    <a:pt x="138517" y="3443629"/>
                  </a:cubicBezTo>
                  <a:cubicBezTo>
                    <a:pt x="139617" y="3456798"/>
                    <a:pt x="139617" y="3463383"/>
                    <a:pt x="158298" y="3467773"/>
                  </a:cubicBezTo>
                  <a:cubicBezTo>
                    <a:pt x="167091" y="3471066"/>
                    <a:pt x="173684" y="3473260"/>
                    <a:pt x="179179" y="3475455"/>
                  </a:cubicBezTo>
                  <a:cubicBezTo>
                    <a:pt x="190168" y="3479846"/>
                    <a:pt x="195663" y="3482041"/>
                    <a:pt x="206652" y="3479846"/>
                  </a:cubicBezTo>
                  <a:lnTo>
                    <a:pt x="211048" y="3478748"/>
                  </a:lnTo>
                  <a:cubicBezTo>
                    <a:pt x="222038" y="3477651"/>
                    <a:pt x="231928" y="3475455"/>
                    <a:pt x="238522" y="3482041"/>
                  </a:cubicBezTo>
                  <a:cubicBezTo>
                    <a:pt x="242918" y="3486430"/>
                    <a:pt x="244017" y="3491918"/>
                    <a:pt x="242918" y="3500697"/>
                  </a:cubicBezTo>
                  <a:cubicBezTo>
                    <a:pt x="241819" y="3513867"/>
                    <a:pt x="238522" y="3518258"/>
                    <a:pt x="236324" y="3521550"/>
                  </a:cubicBezTo>
                  <a:cubicBezTo>
                    <a:pt x="234126" y="3524842"/>
                    <a:pt x="231928" y="3527037"/>
                    <a:pt x="231928" y="3535817"/>
                  </a:cubicBezTo>
                  <a:cubicBezTo>
                    <a:pt x="231928" y="3556669"/>
                    <a:pt x="225335" y="3593983"/>
                    <a:pt x="202256" y="3603861"/>
                  </a:cubicBezTo>
                  <a:cubicBezTo>
                    <a:pt x="184673" y="3611544"/>
                    <a:pt x="179179" y="3614836"/>
                    <a:pt x="174783" y="3637883"/>
                  </a:cubicBezTo>
                  <a:cubicBezTo>
                    <a:pt x="172585" y="3649956"/>
                    <a:pt x="169288" y="3655443"/>
                    <a:pt x="165991" y="3660930"/>
                  </a:cubicBezTo>
                  <a:cubicBezTo>
                    <a:pt x="162694" y="3667515"/>
                    <a:pt x="160496" y="3671905"/>
                    <a:pt x="161596" y="3683977"/>
                  </a:cubicBezTo>
                  <a:cubicBezTo>
                    <a:pt x="163793" y="3702635"/>
                    <a:pt x="159398" y="3714707"/>
                    <a:pt x="156101" y="3722389"/>
                  </a:cubicBezTo>
                  <a:cubicBezTo>
                    <a:pt x="164892" y="3727877"/>
                    <a:pt x="175882" y="3730072"/>
                    <a:pt x="185772" y="3731169"/>
                  </a:cubicBezTo>
                  <a:cubicBezTo>
                    <a:pt x="203356" y="3733364"/>
                    <a:pt x="223137" y="3735559"/>
                    <a:pt x="238522" y="3758606"/>
                  </a:cubicBezTo>
                  <a:cubicBezTo>
                    <a:pt x="264897" y="3794823"/>
                    <a:pt x="268193" y="3820065"/>
                    <a:pt x="271491" y="3848600"/>
                  </a:cubicBezTo>
                  <a:lnTo>
                    <a:pt x="271491" y="3850795"/>
                  </a:lnTo>
                  <a:cubicBezTo>
                    <a:pt x="273688" y="3865062"/>
                    <a:pt x="276985" y="3866160"/>
                    <a:pt x="284678" y="3869452"/>
                  </a:cubicBezTo>
                  <a:cubicBezTo>
                    <a:pt x="291272" y="3871647"/>
                    <a:pt x="300063" y="3876037"/>
                    <a:pt x="308855" y="3887012"/>
                  </a:cubicBezTo>
                  <a:cubicBezTo>
                    <a:pt x="320943" y="3900182"/>
                    <a:pt x="320943" y="3910059"/>
                    <a:pt x="322042" y="3915547"/>
                  </a:cubicBezTo>
                  <a:cubicBezTo>
                    <a:pt x="322042" y="3919936"/>
                    <a:pt x="323141" y="3921034"/>
                    <a:pt x="327537" y="3923228"/>
                  </a:cubicBezTo>
                  <a:cubicBezTo>
                    <a:pt x="329735" y="3924326"/>
                    <a:pt x="331933" y="3923228"/>
                    <a:pt x="333032" y="3923228"/>
                  </a:cubicBezTo>
                  <a:cubicBezTo>
                    <a:pt x="340724" y="3918839"/>
                    <a:pt x="346219" y="3899084"/>
                    <a:pt x="348417" y="3888110"/>
                  </a:cubicBezTo>
                  <a:cubicBezTo>
                    <a:pt x="349516" y="3881524"/>
                    <a:pt x="352813" y="3878232"/>
                    <a:pt x="357209" y="3876037"/>
                  </a:cubicBezTo>
                  <a:cubicBezTo>
                    <a:pt x="364901" y="3872745"/>
                    <a:pt x="372593" y="3878232"/>
                    <a:pt x="381386" y="3883719"/>
                  </a:cubicBezTo>
                  <a:cubicBezTo>
                    <a:pt x="387979" y="3888110"/>
                    <a:pt x="395672" y="3892499"/>
                    <a:pt x="402265" y="3893597"/>
                  </a:cubicBezTo>
                  <a:cubicBezTo>
                    <a:pt x="418749" y="3896889"/>
                    <a:pt x="424244" y="3915547"/>
                    <a:pt x="429739" y="3934203"/>
                  </a:cubicBezTo>
                  <a:cubicBezTo>
                    <a:pt x="431937" y="3942984"/>
                    <a:pt x="434135" y="3951763"/>
                    <a:pt x="437432" y="3958348"/>
                  </a:cubicBezTo>
                  <a:cubicBezTo>
                    <a:pt x="438530" y="3960543"/>
                    <a:pt x="439630" y="3961640"/>
                    <a:pt x="440728" y="3961640"/>
                  </a:cubicBezTo>
                  <a:cubicBezTo>
                    <a:pt x="441828" y="3961640"/>
                    <a:pt x="446223" y="3959446"/>
                    <a:pt x="450619" y="3957251"/>
                  </a:cubicBezTo>
                  <a:cubicBezTo>
                    <a:pt x="461609" y="3950666"/>
                    <a:pt x="478093" y="3941886"/>
                    <a:pt x="505567" y="3945178"/>
                  </a:cubicBezTo>
                  <a:lnTo>
                    <a:pt x="513260" y="3946276"/>
                  </a:lnTo>
                  <a:cubicBezTo>
                    <a:pt x="555019" y="3951763"/>
                    <a:pt x="567108" y="3952861"/>
                    <a:pt x="576998" y="3935301"/>
                  </a:cubicBezTo>
                  <a:cubicBezTo>
                    <a:pt x="582493" y="3927619"/>
                    <a:pt x="590186" y="3922131"/>
                    <a:pt x="600076" y="3921034"/>
                  </a:cubicBezTo>
                  <a:cubicBezTo>
                    <a:pt x="615462" y="3918839"/>
                    <a:pt x="634144" y="3926521"/>
                    <a:pt x="650628" y="3940789"/>
                  </a:cubicBezTo>
                  <a:cubicBezTo>
                    <a:pt x="667112" y="3953959"/>
                    <a:pt x="671508" y="3962738"/>
                    <a:pt x="677003" y="3971518"/>
                  </a:cubicBezTo>
                  <a:cubicBezTo>
                    <a:pt x="679201" y="3974810"/>
                    <a:pt x="680299" y="3978103"/>
                    <a:pt x="683597" y="3982493"/>
                  </a:cubicBezTo>
                  <a:cubicBezTo>
                    <a:pt x="689091" y="3990175"/>
                    <a:pt x="693487" y="3993468"/>
                    <a:pt x="701180" y="3996760"/>
                  </a:cubicBezTo>
                  <a:cubicBezTo>
                    <a:pt x="705576" y="3998955"/>
                    <a:pt x="711070" y="4002247"/>
                    <a:pt x="716565" y="4006638"/>
                  </a:cubicBezTo>
                  <a:cubicBezTo>
                    <a:pt x="729752" y="4016515"/>
                    <a:pt x="734148" y="4015417"/>
                    <a:pt x="759424" y="4011027"/>
                  </a:cubicBezTo>
                  <a:lnTo>
                    <a:pt x="771513" y="4008833"/>
                  </a:lnTo>
                  <a:cubicBezTo>
                    <a:pt x="795689" y="4003345"/>
                    <a:pt x="809976" y="4009930"/>
                    <a:pt x="822064" y="4014320"/>
                  </a:cubicBezTo>
                  <a:cubicBezTo>
                    <a:pt x="828657" y="4017612"/>
                    <a:pt x="835251" y="4019808"/>
                    <a:pt x="841845" y="4019808"/>
                  </a:cubicBezTo>
                  <a:cubicBezTo>
                    <a:pt x="863824" y="4018710"/>
                    <a:pt x="879209" y="4035172"/>
                    <a:pt x="897892" y="4054926"/>
                  </a:cubicBezTo>
                  <a:lnTo>
                    <a:pt x="903386" y="4060414"/>
                  </a:lnTo>
                  <a:cubicBezTo>
                    <a:pt x="913277" y="4071389"/>
                    <a:pt x="922068" y="4070292"/>
                    <a:pt x="931959" y="4068096"/>
                  </a:cubicBezTo>
                  <a:cubicBezTo>
                    <a:pt x="940750" y="4066999"/>
                    <a:pt x="950641" y="4065901"/>
                    <a:pt x="960531" y="4072487"/>
                  </a:cubicBezTo>
                  <a:cubicBezTo>
                    <a:pt x="966026" y="4076876"/>
                    <a:pt x="969323" y="4080169"/>
                    <a:pt x="969323" y="4085657"/>
                  </a:cubicBezTo>
                  <a:cubicBezTo>
                    <a:pt x="970422" y="4094436"/>
                    <a:pt x="963829" y="4102119"/>
                    <a:pt x="952839" y="4113094"/>
                  </a:cubicBezTo>
                  <a:cubicBezTo>
                    <a:pt x="948443" y="4117483"/>
                    <a:pt x="944047" y="4122971"/>
                    <a:pt x="938552" y="4130653"/>
                  </a:cubicBezTo>
                  <a:cubicBezTo>
                    <a:pt x="928662" y="4143823"/>
                    <a:pt x="926464" y="4151506"/>
                    <a:pt x="923167" y="4159187"/>
                  </a:cubicBezTo>
                  <a:cubicBezTo>
                    <a:pt x="920969" y="4167968"/>
                    <a:pt x="917673" y="4175650"/>
                    <a:pt x="906683" y="4187722"/>
                  </a:cubicBezTo>
                  <a:cubicBezTo>
                    <a:pt x="894594" y="4199795"/>
                    <a:pt x="888001" y="4203087"/>
                    <a:pt x="882506" y="4204185"/>
                  </a:cubicBezTo>
                  <a:cubicBezTo>
                    <a:pt x="878110" y="4205282"/>
                    <a:pt x="874813" y="4206380"/>
                    <a:pt x="870418" y="4212964"/>
                  </a:cubicBezTo>
                  <a:cubicBezTo>
                    <a:pt x="867121" y="4217355"/>
                    <a:pt x="863824" y="4222842"/>
                    <a:pt x="860527" y="4228330"/>
                  </a:cubicBezTo>
                  <a:cubicBezTo>
                    <a:pt x="853934" y="4239304"/>
                    <a:pt x="847340" y="4250279"/>
                    <a:pt x="833053" y="4263448"/>
                  </a:cubicBezTo>
                  <a:cubicBezTo>
                    <a:pt x="811074" y="4279911"/>
                    <a:pt x="806678" y="4283204"/>
                    <a:pt x="791294" y="4322713"/>
                  </a:cubicBezTo>
                  <a:lnTo>
                    <a:pt x="787997" y="4330395"/>
                  </a:lnTo>
                  <a:cubicBezTo>
                    <a:pt x="774809" y="4365515"/>
                    <a:pt x="766018" y="4386367"/>
                    <a:pt x="766018" y="4414902"/>
                  </a:cubicBezTo>
                  <a:cubicBezTo>
                    <a:pt x="766018" y="4435753"/>
                    <a:pt x="759424" y="4445631"/>
                    <a:pt x="751731" y="4456606"/>
                  </a:cubicBezTo>
                  <a:cubicBezTo>
                    <a:pt x="748434" y="4460995"/>
                    <a:pt x="745138" y="4466483"/>
                    <a:pt x="741841" y="4473068"/>
                  </a:cubicBezTo>
                  <a:cubicBezTo>
                    <a:pt x="737445" y="4482945"/>
                    <a:pt x="736346" y="4495018"/>
                    <a:pt x="735247" y="4508188"/>
                  </a:cubicBezTo>
                  <a:cubicBezTo>
                    <a:pt x="734148" y="4521357"/>
                    <a:pt x="733049" y="4536722"/>
                    <a:pt x="727555" y="4554282"/>
                  </a:cubicBezTo>
                  <a:cubicBezTo>
                    <a:pt x="720961" y="4572939"/>
                    <a:pt x="713268" y="4579524"/>
                    <a:pt x="706674" y="4586109"/>
                  </a:cubicBezTo>
                  <a:cubicBezTo>
                    <a:pt x="701180" y="4590499"/>
                    <a:pt x="696783" y="4594889"/>
                    <a:pt x="692388" y="4604766"/>
                  </a:cubicBezTo>
                  <a:cubicBezTo>
                    <a:pt x="682497" y="4626716"/>
                    <a:pt x="674805" y="4650861"/>
                    <a:pt x="670409" y="4678298"/>
                  </a:cubicBezTo>
                  <a:cubicBezTo>
                    <a:pt x="668211" y="4691467"/>
                    <a:pt x="671508" y="4699149"/>
                    <a:pt x="675904" y="4709027"/>
                  </a:cubicBezTo>
                  <a:cubicBezTo>
                    <a:pt x="680299" y="4717807"/>
                    <a:pt x="683597" y="4727684"/>
                    <a:pt x="684695" y="4741952"/>
                  </a:cubicBezTo>
                  <a:cubicBezTo>
                    <a:pt x="685794" y="4758414"/>
                    <a:pt x="679201" y="4770486"/>
                    <a:pt x="673706" y="4781461"/>
                  </a:cubicBezTo>
                  <a:cubicBezTo>
                    <a:pt x="669310" y="4791338"/>
                    <a:pt x="663815" y="4800118"/>
                    <a:pt x="663815" y="4813288"/>
                  </a:cubicBezTo>
                  <a:cubicBezTo>
                    <a:pt x="663815" y="4836335"/>
                    <a:pt x="657222" y="4847310"/>
                    <a:pt x="649529" y="4861577"/>
                  </a:cubicBezTo>
                  <a:cubicBezTo>
                    <a:pt x="647331" y="4865967"/>
                    <a:pt x="645133" y="4869259"/>
                    <a:pt x="642935" y="4874747"/>
                  </a:cubicBezTo>
                  <a:cubicBezTo>
                    <a:pt x="636341" y="4889014"/>
                    <a:pt x="638539" y="4897794"/>
                    <a:pt x="645133" y="4916451"/>
                  </a:cubicBezTo>
                  <a:cubicBezTo>
                    <a:pt x="647331" y="4924134"/>
                    <a:pt x="650628" y="4932913"/>
                    <a:pt x="653925" y="4943888"/>
                  </a:cubicBezTo>
                  <a:cubicBezTo>
                    <a:pt x="659420" y="4965838"/>
                    <a:pt x="656123" y="4983398"/>
                    <a:pt x="648430" y="4998762"/>
                  </a:cubicBezTo>
                  <a:cubicBezTo>
                    <a:pt x="671508" y="4998762"/>
                    <a:pt x="685794" y="5007543"/>
                    <a:pt x="702278" y="5013030"/>
                  </a:cubicBezTo>
                  <a:close/>
                </a:path>
              </a:pathLst>
            </a:custGeom>
            <a:solidFill>
              <a:srgbClr val="ECE8E4"/>
            </a:solidFill>
            <a:ln w="54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DK" sz="2400"/>
            </a:p>
          </p:txBody>
        </p:sp>
        <p:sp>
          <p:nvSpPr>
            <p:cNvPr id="470" name="Freeform 469">
              <a:extLst>
                <a:ext uri="{FF2B5EF4-FFF2-40B4-BE49-F238E27FC236}">
                  <a16:creationId xmlns:a16="http://schemas.microsoft.com/office/drawing/2014/main" id="{89DDD5C7-58D0-7261-F4D3-A3E56C941D55}"/>
                </a:ext>
              </a:extLst>
            </p:cNvPr>
            <p:cNvSpPr/>
            <p:nvPr/>
          </p:nvSpPr>
          <p:spPr>
            <a:xfrm>
              <a:off x="10207416" y="7649458"/>
              <a:ext cx="70823" cy="109748"/>
            </a:xfrm>
            <a:custGeom>
              <a:avLst/>
              <a:gdLst>
                <a:gd name="connsiteX0" fmla="*/ 31493 w 70823"/>
                <a:gd name="connsiteY0" fmla="*/ 12072 h 109748"/>
                <a:gd name="connsiteX1" fmla="*/ 12811 w 70823"/>
                <a:gd name="connsiteY1" fmla="*/ 0 h 109748"/>
                <a:gd name="connsiteX2" fmla="*/ 8415 w 70823"/>
                <a:gd name="connsiteY2" fmla="*/ 14267 h 109748"/>
                <a:gd name="connsiteX3" fmla="*/ 4020 w 70823"/>
                <a:gd name="connsiteY3" fmla="*/ 26340 h 109748"/>
                <a:gd name="connsiteX4" fmla="*/ 8415 w 70823"/>
                <a:gd name="connsiteY4" fmla="*/ 80116 h 109748"/>
                <a:gd name="connsiteX5" fmla="*/ 11712 w 70823"/>
                <a:gd name="connsiteY5" fmla="*/ 87799 h 109748"/>
                <a:gd name="connsiteX6" fmla="*/ 51274 w 70823"/>
                <a:gd name="connsiteY6" fmla="*/ 107553 h 109748"/>
                <a:gd name="connsiteX7" fmla="*/ 66660 w 70823"/>
                <a:gd name="connsiteY7" fmla="*/ 109748 h 109748"/>
                <a:gd name="connsiteX8" fmla="*/ 68857 w 70823"/>
                <a:gd name="connsiteY8" fmla="*/ 109748 h 109748"/>
                <a:gd name="connsiteX9" fmla="*/ 64462 w 70823"/>
                <a:gd name="connsiteY9" fmla="*/ 68044 h 109748"/>
                <a:gd name="connsiteX10" fmla="*/ 33691 w 70823"/>
                <a:gd name="connsiteY10" fmla="*/ 36217 h 109748"/>
                <a:gd name="connsiteX11" fmla="*/ 33691 w 70823"/>
                <a:gd name="connsiteY11" fmla="*/ 24145 h 109748"/>
                <a:gd name="connsiteX12" fmla="*/ 31493 w 70823"/>
                <a:gd name="connsiteY12" fmla="*/ 12072 h 109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0823" h="109748">
                  <a:moveTo>
                    <a:pt x="31493" y="12072"/>
                  </a:moveTo>
                  <a:cubicBezTo>
                    <a:pt x="27097" y="5487"/>
                    <a:pt x="18306" y="2195"/>
                    <a:pt x="12811" y="0"/>
                  </a:cubicBezTo>
                  <a:cubicBezTo>
                    <a:pt x="11712" y="4390"/>
                    <a:pt x="9514" y="8780"/>
                    <a:pt x="8415" y="14267"/>
                  </a:cubicBezTo>
                  <a:cubicBezTo>
                    <a:pt x="7316" y="18657"/>
                    <a:pt x="6218" y="21950"/>
                    <a:pt x="4020" y="26340"/>
                  </a:cubicBezTo>
                  <a:cubicBezTo>
                    <a:pt x="-3673" y="49387"/>
                    <a:pt x="723" y="61459"/>
                    <a:pt x="8415" y="80116"/>
                  </a:cubicBezTo>
                  <a:lnTo>
                    <a:pt x="11712" y="87799"/>
                  </a:lnTo>
                  <a:cubicBezTo>
                    <a:pt x="18306" y="102066"/>
                    <a:pt x="33691" y="104261"/>
                    <a:pt x="51274" y="107553"/>
                  </a:cubicBezTo>
                  <a:cubicBezTo>
                    <a:pt x="56769" y="108651"/>
                    <a:pt x="62264" y="108651"/>
                    <a:pt x="66660" y="109748"/>
                  </a:cubicBezTo>
                  <a:cubicBezTo>
                    <a:pt x="67759" y="109748"/>
                    <a:pt x="67759" y="109748"/>
                    <a:pt x="68857" y="109748"/>
                  </a:cubicBezTo>
                  <a:cubicBezTo>
                    <a:pt x="71055" y="97676"/>
                    <a:pt x="73253" y="75727"/>
                    <a:pt x="64462" y="68044"/>
                  </a:cubicBezTo>
                  <a:cubicBezTo>
                    <a:pt x="47978" y="57069"/>
                    <a:pt x="34790" y="48290"/>
                    <a:pt x="33691" y="36217"/>
                  </a:cubicBezTo>
                  <a:cubicBezTo>
                    <a:pt x="32592" y="31827"/>
                    <a:pt x="33691" y="28534"/>
                    <a:pt x="33691" y="24145"/>
                  </a:cubicBezTo>
                  <a:cubicBezTo>
                    <a:pt x="33691" y="21950"/>
                    <a:pt x="34790" y="17559"/>
                    <a:pt x="31493" y="12072"/>
                  </a:cubicBezTo>
                  <a:close/>
                </a:path>
              </a:pathLst>
            </a:custGeom>
            <a:solidFill>
              <a:srgbClr val="ECE8E4"/>
            </a:solidFill>
            <a:ln w="54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DK" sz="2400"/>
            </a:p>
          </p:txBody>
        </p:sp>
        <p:sp>
          <p:nvSpPr>
            <p:cNvPr id="471" name="Freeform 470">
              <a:extLst>
                <a:ext uri="{FF2B5EF4-FFF2-40B4-BE49-F238E27FC236}">
                  <a16:creationId xmlns:a16="http://schemas.microsoft.com/office/drawing/2014/main" id="{94798C03-63F7-14AE-4730-DCAAD160850C}"/>
                </a:ext>
              </a:extLst>
            </p:cNvPr>
            <p:cNvSpPr/>
            <p:nvPr/>
          </p:nvSpPr>
          <p:spPr>
            <a:xfrm>
              <a:off x="8569220" y="5641589"/>
              <a:ext cx="333821" cy="480599"/>
            </a:xfrm>
            <a:custGeom>
              <a:avLst/>
              <a:gdLst>
                <a:gd name="connsiteX0" fmla="*/ 266331 w 333821"/>
                <a:gd name="connsiteY0" fmla="*/ 400055 h 480599"/>
                <a:gd name="connsiteX1" fmla="*/ 300398 w 333821"/>
                <a:gd name="connsiteY1" fmla="*/ 358351 h 480599"/>
                <a:gd name="connsiteX2" fmla="*/ 323476 w 333821"/>
                <a:gd name="connsiteY2" fmla="*/ 300184 h 480599"/>
                <a:gd name="connsiteX3" fmla="*/ 328971 w 333821"/>
                <a:gd name="connsiteY3" fmla="*/ 280429 h 480599"/>
                <a:gd name="connsiteX4" fmla="*/ 333366 w 333821"/>
                <a:gd name="connsiteY4" fmla="*/ 263967 h 480599"/>
                <a:gd name="connsiteX5" fmla="*/ 332268 w 333821"/>
                <a:gd name="connsiteY5" fmla="*/ 254090 h 480599"/>
                <a:gd name="connsiteX6" fmla="*/ 313586 w 333821"/>
                <a:gd name="connsiteY6" fmla="*/ 254090 h 480599"/>
                <a:gd name="connsiteX7" fmla="*/ 310289 w 333821"/>
                <a:gd name="connsiteY7" fmla="*/ 254090 h 480599"/>
                <a:gd name="connsiteX8" fmla="*/ 277320 w 333821"/>
                <a:gd name="connsiteY8" fmla="*/ 248602 h 480599"/>
                <a:gd name="connsiteX9" fmla="*/ 257539 w 333821"/>
                <a:gd name="connsiteY9" fmla="*/ 240920 h 480599"/>
                <a:gd name="connsiteX10" fmla="*/ 231164 w 333821"/>
                <a:gd name="connsiteY10" fmla="*/ 206898 h 480599"/>
                <a:gd name="connsiteX11" fmla="*/ 230066 w 333821"/>
                <a:gd name="connsiteY11" fmla="*/ 197021 h 480599"/>
                <a:gd name="connsiteX12" fmla="*/ 216878 w 333821"/>
                <a:gd name="connsiteY12" fmla="*/ 177266 h 480599"/>
                <a:gd name="connsiteX13" fmla="*/ 195998 w 333821"/>
                <a:gd name="connsiteY13" fmla="*/ 152024 h 480599"/>
                <a:gd name="connsiteX14" fmla="*/ 172920 w 333821"/>
                <a:gd name="connsiteY14" fmla="*/ 59835 h 480599"/>
                <a:gd name="connsiteX15" fmla="*/ 180613 w 333821"/>
                <a:gd name="connsiteY15" fmla="*/ 26911 h 480599"/>
                <a:gd name="connsiteX16" fmla="*/ 155337 w 333821"/>
                <a:gd name="connsiteY16" fmla="*/ 19228 h 480599"/>
                <a:gd name="connsiteX17" fmla="*/ 142150 w 333821"/>
                <a:gd name="connsiteY17" fmla="*/ 9351 h 480599"/>
                <a:gd name="connsiteX18" fmla="*/ 124566 w 333821"/>
                <a:gd name="connsiteY18" fmla="*/ 571 h 480599"/>
                <a:gd name="connsiteX19" fmla="*/ 77311 w 333821"/>
                <a:gd name="connsiteY19" fmla="*/ 69713 h 480599"/>
                <a:gd name="connsiteX20" fmla="*/ 71817 w 333821"/>
                <a:gd name="connsiteY20" fmla="*/ 87272 h 480599"/>
                <a:gd name="connsiteX21" fmla="*/ 65223 w 333821"/>
                <a:gd name="connsiteY21" fmla="*/ 109222 h 480599"/>
                <a:gd name="connsiteX22" fmla="*/ 50937 w 333821"/>
                <a:gd name="connsiteY22" fmla="*/ 128976 h 480599"/>
                <a:gd name="connsiteX23" fmla="*/ 43244 w 333821"/>
                <a:gd name="connsiteY23" fmla="*/ 146537 h 480599"/>
                <a:gd name="connsiteX24" fmla="*/ 43244 w 333821"/>
                <a:gd name="connsiteY24" fmla="*/ 148731 h 480599"/>
                <a:gd name="connsiteX25" fmla="*/ 6979 w 333821"/>
                <a:gd name="connsiteY25" fmla="*/ 199216 h 480599"/>
                <a:gd name="connsiteX26" fmla="*/ 385 w 333821"/>
                <a:gd name="connsiteY26" fmla="*/ 205800 h 480599"/>
                <a:gd name="connsiteX27" fmla="*/ 25661 w 333821"/>
                <a:gd name="connsiteY27" fmla="*/ 258479 h 480599"/>
                <a:gd name="connsiteX28" fmla="*/ 34453 w 333821"/>
                <a:gd name="connsiteY28" fmla="*/ 270552 h 480599"/>
                <a:gd name="connsiteX29" fmla="*/ 43244 w 333821"/>
                <a:gd name="connsiteY29" fmla="*/ 280429 h 480599"/>
                <a:gd name="connsiteX30" fmla="*/ 54234 w 333821"/>
                <a:gd name="connsiteY30" fmla="*/ 290307 h 480599"/>
                <a:gd name="connsiteX31" fmla="*/ 60827 w 333821"/>
                <a:gd name="connsiteY31" fmla="*/ 319939 h 480599"/>
                <a:gd name="connsiteX32" fmla="*/ 60827 w 333821"/>
                <a:gd name="connsiteY32" fmla="*/ 332011 h 480599"/>
                <a:gd name="connsiteX33" fmla="*/ 60827 w 333821"/>
                <a:gd name="connsiteY33" fmla="*/ 342986 h 480599"/>
                <a:gd name="connsiteX34" fmla="*/ 55332 w 333821"/>
                <a:gd name="connsiteY34" fmla="*/ 369326 h 480599"/>
                <a:gd name="connsiteX35" fmla="*/ 37750 w 333821"/>
                <a:gd name="connsiteY35" fmla="*/ 409933 h 480599"/>
                <a:gd name="connsiteX36" fmla="*/ 61927 w 333821"/>
                <a:gd name="connsiteY36" fmla="*/ 431882 h 480599"/>
                <a:gd name="connsiteX37" fmla="*/ 76213 w 333821"/>
                <a:gd name="connsiteY37" fmla="*/ 446149 h 480599"/>
                <a:gd name="connsiteX38" fmla="*/ 91598 w 333821"/>
                <a:gd name="connsiteY38" fmla="*/ 459319 h 480599"/>
                <a:gd name="connsiteX39" fmla="*/ 128962 w 333821"/>
                <a:gd name="connsiteY39" fmla="*/ 480171 h 480599"/>
                <a:gd name="connsiteX40" fmla="*/ 158634 w 333821"/>
                <a:gd name="connsiteY40" fmla="*/ 468099 h 480599"/>
                <a:gd name="connsiteX41" fmla="*/ 198196 w 333821"/>
                <a:gd name="connsiteY41" fmla="*/ 448345 h 480599"/>
                <a:gd name="connsiteX42" fmla="*/ 236659 w 333821"/>
                <a:gd name="connsiteY42" fmla="*/ 462612 h 480599"/>
                <a:gd name="connsiteX43" fmla="*/ 249847 w 333821"/>
                <a:gd name="connsiteY43" fmla="*/ 476879 h 480599"/>
                <a:gd name="connsiteX44" fmla="*/ 253143 w 333821"/>
                <a:gd name="connsiteY44" fmla="*/ 446149 h 480599"/>
                <a:gd name="connsiteX45" fmla="*/ 258638 w 333821"/>
                <a:gd name="connsiteY45" fmla="*/ 416517 h 480599"/>
                <a:gd name="connsiteX46" fmla="*/ 266331 w 333821"/>
                <a:gd name="connsiteY46" fmla="*/ 400055 h 480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333821" h="480599">
                  <a:moveTo>
                    <a:pt x="266331" y="400055"/>
                  </a:moveTo>
                  <a:cubicBezTo>
                    <a:pt x="271826" y="372618"/>
                    <a:pt x="279518" y="367130"/>
                    <a:pt x="300398" y="358351"/>
                  </a:cubicBezTo>
                  <a:cubicBezTo>
                    <a:pt x="319080" y="350668"/>
                    <a:pt x="323476" y="316647"/>
                    <a:pt x="323476" y="300184"/>
                  </a:cubicBezTo>
                  <a:cubicBezTo>
                    <a:pt x="323476" y="288112"/>
                    <a:pt x="326773" y="283722"/>
                    <a:pt x="328971" y="280429"/>
                  </a:cubicBezTo>
                  <a:cubicBezTo>
                    <a:pt x="331169" y="277137"/>
                    <a:pt x="333366" y="273844"/>
                    <a:pt x="333366" y="263967"/>
                  </a:cubicBezTo>
                  <a:cubicBezTo>
                    <a:pt x="334466" y="258479"/>
                    <a:pt x="333366" y="255187"/>
                    <a:pt x="332268" y="254090"/>
                  </a:cubicBezTo>
                  <a:cubicBezTo>
                    <a:pt x="330070" y="251895"/>
                    <a:pt x="321278" y="252992"/>
                    <a:pt x="313586" y="254090"/>
                  </a:cubicBezTo>
                  <a:lnTo>
                    <a:pt x="310289" y="254090"/>
                  </a:lnTo>
                  <a:cubicBezTo>
                    <a:pt x="297101" y="256285"/>
                    <a:pt x="289409" y="254090"/>
                    <a:pt x="277320" y="248602"/>
                  </a:cubicBezTo>
                  <a:cubicBezTo>
                    <a:pt x="271826" y="246407"/>
                    <a:pt x="265232" y="244212"/>
                    <a:pt x="257539" y="240920"/>
                  </a:cubicBezTo>
                  <a:cubicBezTo>
                    <a:pt x="232264" y="234335"/>
                    <a:pt x="231164" y="221165"/>
                    <a:pt x="231164" y="206898"/>
                  </a:cubicBezTo>
                  <a:cubicBezTo>
                    <a:pt x="231164" y="203605"/>
                    <a:pt x="231164" y="200313"/>
                    <a:pt x="230066" y="197021"/>
                  </a:cubicBezTo>
                  <a:cubicBezTo>
                    <a:pt x="228966" y="188241"/>
                    <a:pt x="224571" y="183851"/>
                    <a:pt x="216878" y="177266"/>
                  </a:cubicBezTo>
                  <a:cubicBezTo>
                    <a:pt x="210285" y="171779"/>
                    <a:pt x="202592" y="164096"/>
                    <a:pt x="195998" y="152024"/>
                  </a:cubicBezTo>
                  <a:cubicBezTo>
                    <a:pt x="181712" y="126781"/>
                    <a:pt x="172920" y="91662"/>
                    <a:pt x="172920" y="59835"/>
                  </a:cubicBezTo>
                  <a:cubicBezTo>
                    <a:pt x="172920" y="44470"/>
                    <a:pt x="176217" y="34593"/>
                    <a:pt x="180613" y="26911"/>
                  </a:cubicBezTo>
                  <a:cubicBezTo>
                    <a:pt x="172920" y="24716"/>
                    <a:pt x="160832" y="21423"/>
                    <a:pt x="155337" y="19228"/>
                  </a:cubicBezTo>
                  <a:cubicBezTo>
                    <a:pt x="149842" y="18131"/>
                    <a:pt x="146545" y="13741"/>
                    <a:pt x="142150" y="9351"/>
                  </a:cubicBezTo>
                  <a:cubicBezTo>
                    <a:pt x="135556" y="2766"/>
                    <a:pt x="131160" y="-1624"/>
                    <a:pt x="124566" y="571"/>
                  </a:cubicBezTo>
                  <a:cubicBezTo>
                    <a:pt x="110280" y="3864"/>
                    <a:pt x="87202" y="44470"/>
                    <a:pt x="77311" y="69713"/>
                  </a:cubicBezTo>
                  <a:cubicBezTo>
                    <a:pt x="72916" y="80688"/>
                    <a:pt x="71817" y="83980"/>
                    <a:pt x="71817" y="87272"/>
                  </a:cubicBezTo>
                  <a:cubicBezTo>
                    <a:pt x="70718" y="91662"/>
                    <a:pt x="70718" y="96052"/>
                    <a:pt x="65223" y="109222"/>
                  </a:cubicBezTo>
                  <a:cubicBezTo>
                    <a:pt x="60827" y="121294"/>
                    <a:pt x="55332" y="125684"/>
                    <a:pt x="50937" y="128976"/>
                  </a:cubicBezTo>
                  <a:cubicBezTo>
                    <a:pt x="46541" y="133367"/>
                    <a:pt x="44343" y="134464"/>
                    <a:pt x="43244" y="146537"/>
                  </a:cubicBezTo>
                  <a:lnTo>
                    <a:pt x="43244" y="148731"/>
                  </a:lnTo>
                  <a:cubicBezTo>
                    <a:pt x="41046" y="175071"/>
                    <a:pt x="38848" y="183851"/>
                    <a:pt x="6979" y="199216"/>
                  </a:cubicBezTo>
                  <a:cubicBezTo>
                    <a:pt x="2583" y="201411"/>
                    <a:pt x="385" y="203605"/>
                    <a:pt x="385" y="205800"/>
                  </a:cubicBezTo>
                  <a:cubicBezTo>
                    <a:pt x="-2912" y="218970"/>
                    <a:pt x="15771" y="244212"/>
                    <a:pt x="25661" y="258479"/>
                  </a:cubicBezTo>
                  <a:cubicBezTo>
                    <a:pt x="30057" y="263967"/>
                    <a:pt x="32255" y="268357"/>
                    <a:pt x="34453" y="270552"/>
                  </a:cubicBezTo>
                  <a:cubicBezTo>
                    <a:pt x="36650" y="274942"/>
                    <a:pt x="39948" y="277137"/>
                    <a:pt x="43244" y="280429"/>
                  </a:cubicBezTo>
                  <a:cubicBezTo>
                    <a:pt x="46541" y="282624"/>
                    <a:pt x="50937" y="285916"/>
                    <a:pt x="54234" y="290307"/>
                  </a:cubicBezTo>
                  <a:cubicBezTo>
                    <a:pt x="60827" y="297989"/>
                    <a:pt x="60827" y="306769"/>
                    <a:pt x="60827" y="319939"/>
                  </a:cubicBezTo>
                  <a:cubicBezTo>
                    <a:pt x="60827" y="323231"/>
                    <a:pt x="60827" y="327621"/>
                    <a:pt x="60827" y="332011"/>
                  </a:cubicBezTo>
                  <a:cubicBezTo>
                    <a:pt x="60827" y="336401"/>
                    <a:pt x="60827" y="340791"/>
                    <a:pt x="60827" y="342986"/>
                  </a:cubicBezTo>
                  <a:cubicBezTo>
                    <a:pt x="60827" y="353961"/>
                    <a:pt x="60827" y="357253"/>
                    <a:pt x="55332" y="369326"/>
                  </a:cubicBezTo>
                  <a:cubicBezTo>
                    <a:pt x="50937" y="380300"/>
                    <a:pt x="41046" y="402250"/>
                    <a:pt x="37750" y="409933"/>
                  </a:cubicBezTo>
                  <a:cubicBezTo>
                    <a:pt x="46541" y="416517"/>
                    <a:pt x="55332" y="424200"/>
                    <a:pt x="61927" y="431882"/>
                  </a:cubicBezTo>
                  <a:cubicBezTo>
                    <a:pt x="67421" y="437370"/>
                    <a:pt x="71817" y="442857"/>
                    <a:pt x="76213" y="446149"/>
                  </a:cubicBezTo>
                  <a:cubicBezTo>
                    <a:pt x="82806" y="450539"/>
                    <a:pt x="87202" y="456026"/>
                    <a:pt x="91598" y="459319"/>
                  </a:cubicBezTo>
                  <a:cubicBezTo>
                    <a:pt x="103686" y="470294"/>
                    <a:pt x="111379" y="476879"/>
                    <a:pt x="128962" y="480171"/>
                  </a:cubicBezTo>
                  <a:cubicBezTo>
                    <a:pt x="139952" y="482366"/>
                    <a:pt x="148743" y="475782"/>
                    <a:pt x="158634" y="468099"/>
                  </a:cubicBezTo>
                  <a:cubicBezTo>
                    <a:pt x="168524" y="460417"/>
                    <a:pt x="180613" y="450539"/>
                    <a:pt x="198196" y="448345"/>
                  </a:cubicBezTo>
                  <a:cubicBezTo>
                    <a:pt x="221274" y="445052"/>
                    <a:pt x="227868" y="451637"/>
                    <a:pt x="236659" y="462612"/>
                  </a:cubicBezTo>
                  <a:cubicBezTo>
                    <a:pt x="239956" y="467001"/>
                    <a:pt x="244352" y="472489"/>
                    <a:pt x="249847" y="476879"/>
                  </a:cubicBezTo>
                  <a:cubicBezTo>
                    <a:pt x="252045" y="470294"/>
                    <a:pt x="254243" y="460417"/>
                    <a:pt x="253143" y="446149"/>
                  </a:cubicBezTo>
                  <a:cubicBezTo>
                    <a:pt x="252045" y="429687"/>
                    <a:pt x="255341" y="424200"/>
                    <a:pt x="258638" y="416517"/>
                  </a:cubicBezTo>
                  <a:cubicBezTo>
                    <a:pt x="261935" y="415420"/>
                    <a:pt x="264133" y="409933"/>
                    <a:pt x="266331" y="400055"/>
                  </a:cubicBezTo>
                  <a:close/>
                </a:path>
              </a:pathLst>
            </a:custGeom>
            <a:solidFill>
              <a:srgbClr val="ECE8E4"/>
            </a:solidFill>
            <a:ln w="5493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DK" sz="2400"/>
            </a:p>
          </p:txBody>
        </p:sp>
      </p:grpSp>
      <p:grpSp>
        <p:nvGrpSpPr>
          <p:cNvPr id="585" name="Group 584">
            <a:extLst>
              <a:ext uri="{FF2B5EF4-FFF2-40B4-BE49-F238E27FC236}">
                <a16:creationId xmlns:a16="http://schemas.microsoft.com/office/drawing/2014/main" id="{9F8CC96F-3DF3-E64E-BDBD-E3E6D1DC90BF}"/>
              </a:ext>
            </a:extLst>
          </p:cNvPr>
          <p:cNvGrpSpPr>
            <a:grpSpLocks/>
          </p:cNvGrpSpPr>
          <p:nvPr/>
        </p:nvGrpSpPr>
        <p:grpSpPr>
          <a:xfrm>
            <a:off x="2595210" y="4472254"/>
            <a:ext cx="801382" cy="174373"/>
            <a:chOff x="996882" y="2920466"/>
            <a:chExt cx="601036" cy="130780"/>
          </a:xfrm>
        </p:grpSpPr>
        <p:grpSp>
          <p:nvGrpSpPr>
            <p:cNvPr id="586" name="Group 585">
              <a:extLst>
                <a:ext uri="{FF2B5EF4-FFF2-40B4-BE49-F238E27FC236}">
                  <a16:creationId xmlns:a16="http://schemas.microsoft.com/office/drawing/2014/main" id="{F9854072-489C-DF44-9820-EFFAAB937C47}"/>
                </a:ext>
              </a:extLst>
            </p:cNvPr>
            <p:cNvGrpSpPr/>
            <p:nvPr/>
          </p:nvGrpSpPr>
          <p:grpSpPr>
            <a:xfrm>
              <a:off x="1499770" y="2920466"/>
              <a:ext cx="98148" cy="130780"/>
              <a:chOff x="2265548" y="3181564"/>
              <a:chExt cx="71521" cy="95300"/>
            </a:xfrm>
            <a:solidFill>
              <a:srgbClr val="4099DA"/>
            </a:solidFill>
          </p:grpSpPr>
          <p:sp>
            <p:nvSpPr>
              <p:cNvPr id="588" name="Freeform: Shape 902">
                <a:extLst>
                  <a:ext uri="{FF2B5EF4-FFF2-40B4-BE49-F238E27FC236}">
                    <a16:creationId xmlns:a16="http://schemas.microsoft.com/office/drawing/2014/main" id="{A2623169-875F-EC4D-B4AB-E2DD5269A2CF}"/>
                  </a:ext>
                </a:extLst>
              </p:cNvPr>
              <p:cNvSpPr/>
              <p:nvPr/>
            </p:nvSpPr>
            <p:spPr>
              <a:xfrm>
                <a:off x="2294459" y="3214588"/>
                <a:ext cx="8908" cy="8909"/>
              </a:xfrm>
              <a:custGeom>
                <a:avLst/>
                <a:gdLst>
                  <a:gd name="connsiteX0" fmla="*/ 8909 w 8908"/>
                  <a:gd name="connsiteY0" fmla="*/ 4455 h 8909"/>
                  <a:gd name="connsiteX1" fmla="*/ 4454 w 8908"/>
                  <a:gd name="connsiteY1" fmla="*/ 8909 h 8909"/>
                  <a:gd name="connsiteX2" fmla="*/ 0 w 8908"/>
                  <a:gd name="connsiteY2" fmla="*/ 4455 h 8909"/>
                  <a:gd name="connsiteX3" fmla="*/ 4454 w 8908"/>
                  <a:gd name="connsiteY3" fmla="*/ 0 h 8909"/>
                  <a:gd name="connsiteX4" fmla="*/ 8909 w 8908"/>
                  <a:gd name="connsiteY4" fmla="*/ 4455 h 8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9">
                    <a:moveTo>
                      <a:pt x="8909" y="4455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5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2017"/>
                      <a:pt x="8909" y="4455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589" name="Freeform: Shape 903">
                <a:extLst>
                  <a:ext uri="{FF2B5EF4-FFF2-40B4-BE49-F238E27FC236}">
                    <a16:creationId xmlns:a16="http://schemas.microsoft.com/office/drawing/2014/main" id="{F259087D-1B4A-FD40-B96C-3068542252D9}"/>
                  </a:ext>
                </a:extLst>
              </p:cNvPr>
              <p:cNvSpPr/>
              <p:nvPr/>
            </p:nvSpPr>
            <p:spPr>
              <a:xfrm>
                <a:off x="2287231" y="3181564"/>
                <a:ext cx="14623" cy="29572"/>
              </a:xfrm>
              <a:custGeom>
                <a:avLst/>
                <a:gdLst>
                  <a:gd name="connsiteX0" fmla="*/ 0 w 14623"/>
                  <a:gd name="connsiteY0" fmla="*/ 163 h 29572"/>
                  <a:gd name="connsiteX1" fmla="*/ 4370 w 14623"/>
                  <a:gd name="connsiteY1" fmla="*/ 22518 h 29572"/>
                  <a:gd name="connsiteX2" fmla="*/ 14624 w 14623"/>
                  <a:gd name="connsiteY2" fmla="*/ 29410 h 29572"/>
                  <a:gd name="connsiteX3" fmla="*/ 10253 w 14623"/>
                  <a:gd name="connsiteY3" fmla="*/ 7054 h 29572"/>
                  <a:gd name="connsiteX4" fmla="*/ 0 w 14623"/>
                  <a:gd name="connsiteY4" fmla="*/ 163 h 29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2">
                    <a:moveTo>
                      <a:pt x="0" y="163"/>
                    </a:moveTo>
                    <a:lnTo>
                      <a:pt x="4370" y="22518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590" name="Freeform: Shape 904">
                <a:extLst>
                  <a:ext uri="{FF2B5EF4-FFF2-40B4-BE49-F238E27FC236}">
                    <a16:creationId xmlns:a16="http://schemas.microsoft.com/office/drawing/2014/main" id="{70B4A000-1A2F-0444-9CAA-F31EB94F012A}"/>
                  </a:ext>
                </a:extLst>
              </p:cNvPr>
              <p:cNvSpPr/>
              <p:nvPr/>
            </p:nvSpPr>
            <p:spPr>
              <a:xfrm>
                <a:off x="2270285" y="3220471"/>
                <a:ext cx="22294" cy="27398"/>
              </a:xfrm>
              <a:custGeom>
                <a:avLst/>
                <a:gdLst>
                  <a:gd name="connsiteX0" fmla="*/ 2154 w 22294"/>
                  <a:gd name="connsiteY0" fmla="*/ 27398 h 27398"/>
                  <a:gd name="connsiteX1" fmla="*/ 19299 w 22294"/>
                  <a:gd name="connsiteY1" fmla="*/ 12355 h 27398"/>
                  <a:gd name="connsiteX2" fmla="*/ 20140 w 22294"/>
                  <a:gd name="connsiteY2" fmla="*/ 0 h 27398"/>
                  <a:gd name="connsiteX3" fmla="*/ 2995 w 22294"/>
                  <a:gd name="connsiteY3" fmla="*/ 14960 h 27398"/>
                  <a:gd name="connsiteX4" fmla="*/ 2154 w 22294"/>
                  <a:gd name="connsiteY4" fmla="*/ 27398 h 27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8">
                    <a:moveTo>
                      <a:pt x="2154" y="27398"/>
                    </a:moveTo>
                    <a:lnTo>
                      <a:pt x="19299" y="12355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8"/>
                      <a:pt x="-1039" y="23785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591" name="Freeform: Shape 905">
                <a:extLst>
                  <a:ext uri="{FF2B5EF4-FFF2-40B4-BE49-F238E27FC236}">
                    <a16:creationId xmlns:a16="http://schemas.microsoft.com/office/drawing/2014/main" id="{DB577E83-0633-784C-97AE-15821C137AFE}"/>
                  </a:ext>
                </a:extLst>
              </p:cNvPr>
              <p:cNvSpPr/>
              <p:nvPr/>
            </p:nvSpPr>
            <p:spPr>
              <a:xfrm>
                <a:off x="2304376" y="3219772"/>
                <a:ext cx="32693" cy="13662"/>
              </a:xfrm>
              <a:custGeom>
                <a:avLst/>
                <a:gdLst>
                  <a:gd name="connsiteX0" fmla="*/ 32693 w 32693"/>
                  <a:gd name="connsiteY0" fmla="*/ 7675 h 13662"/>
                  <a:gd name="connsiteX1" fmla="*/ 11094 w 32693"/>
                  <a:gd name="connsiteY1" fmla="*/ 448 h 13662"/>
                  <a:gd name="connsiteX2" fmla="*/ 0 w 32693"/>
                  <a:gd name="connsiteY2" fmla="*/ 5994 h 13662"/>
                  <a:gd name="connsiteX3" fmla="*/ 21599 w 32693"/>
                  <a:gd name="connsiteY3" fmla="*/ 13222 h 13662"/>
                  <a:gd name="connsiteX4" fmla="*/ 32693 w 32693"/>
                  <a:gd name="connsiteY4" fmla="*/ 7675 h 13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62">
                    <a:moveTo>
                      <a:pt x="32693" y="7675"/>
                    </a:moveTo>
                    <a:lnTo>
                      <a:pt x="11094" y="448"/>
                    </a:lnTo>
                    <a:cubicBezTo>
                      <a:pt x="6555" y="-1065"/>
                      <a:pt x="1513" y="1372"/>
                      <a:pt x="0" y="5994"/>
                    </a:cubicBezTo>
                    <a:lnTo>
                      <a:pt x="21599" y="13222"/>
                    </a:lnTo>
                    <a:cubicBezTo>
                      <a:pt x="26222" y="14735"/>
                      <a:pt x="31180" y="12214"/>
                      <a:pt x="32693" y="7675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592" name="Freeform: Shape 906">
                <a:extLst>
                  <a:ext uri="{FF2B5EF4-FFF2-40B4-BE49-F238E27FC236}">
                    <a16:creationId xmlns:a16="http://schemas.microsoft.com/office/drawing/2014/main" id="{87826BAD-E2F3-274A-BE77-B717AE1CCC1C}"/>
                  </a:ext>
                </a:extLst>
              </p:cNvPr>
              <p:cNvSpPr/>
              <p:nvPr/>
            </p:nvSpPr>
            <p:spPr>
              <a:xfrm>
                <a:off x="2293114" y="3228099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2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2"/>
                      <a:pt x="420" y="21872"/>
                      <a:pt x="0" y="33555"/>
                    </a:cubicBezTo>
                    <a:cubicBezTo>
                      <a:pt x="1765" y="35067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593" name="Freeform: Shape 907">
                <a:extLst>
                  <a:ext uri="{FF2B5EF4-FFF2-40B4-BE49-F238E27FC236}">
                    <a16:creationId xmlns:a16="http://schemas.microsoft.com/office/drawing/2014/main" id="{05337390-9B55-F040-B852-1A99B1DCFA13}"/>
                  </a:ext>
                </a:extLst>
              </p:cNvPr>
              <p:cNvSpPr/>
              <p:nvPr/>
            </p:nvSpPr>
            <p:spPr>
              <a:xfrm>
                <a:off x="2265548" y="3269721"/>
                <a:ext cx="66646" cy="7143"/>
              </a:xfrm>
              <a:custGeom>
                <a:avLst/>
                <a:gdLst>
                  <a:gd name="connsiteX0" fmla="*/ 0 w 66646"/>
                  <a:gd name="connsiteY0" fmla="*/ 0 h 7143"/>
                  <a:gd name="connsiteX1" fmla="*/ 66647 w 66646"/>
                  <a:gd name="connsiteY1" fmla="*/ 0 h 7143"/>
                  <a:gd name="connsiteX2" fmla="*/ 66647 w 66646"/>
                  <a:gd name="connsiteY2" fmla="*/ 7144 h 7143"/>
                  <a:gd name="connsiteX3" fmla="*/ 0 w 66646"/>
                  <a:gd name="connsiteY3" fmla="*/ 7144 h 7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646" h="7143">
                    <a:moveTo>
                      <a:pt x="0" y="0"/>
                    </a:moveTo>
                    <a:lnTo>
                      <a:pt x="66647" y="0"/>
                    </a:lnTo>
                    <a:lnTo>
                      <a:pt x="66647" y="7144"/>
                    </a:lnTo>
                    <a:lnTo>
                      <a:pt x="0" y="7144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</p:grpSp>
        <p:sp>
          <p:nvSpPr>
            <p:cNvPr id="587" name="TextBox 586">
              <a:extLst>
                <a:ext uri="{FF2B5EF4-FFF2-40B4-BE49-F238E27FC236}">
                  <a16:creationId xmlns:a16="http://schemas.microsoft.com/office/drawing/2014/main" id="{646C4EF1-845B-2547-9AA7-101B2613445A}"/>
                </a:ext>
              </a:extLst>
            </p:cNvPr>
            <p:cNvSpPr txBox="1"/>
            <p:nvPr/>
          </p:nvSpPr>
          <p:spPr>
            <a:xfrm>
              <a:off x="996882" y="2940227"/>
              <a:ext cx="465272" cy="9608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2400"/>
                </a:spcBef>
              </a:pPr>
              <a:r>
                <a:rPr lang="en-US" sz="867">
                  <a:solidFill>
                    <a:srgbClr val="4099DA"/>
                  </a:solidFill>
                </a:rPr>
                <a:t>Inchincoosh</a:t>
              </a:r>
            </a:p>
          </p:txBody>
        </p:sp>
      </p:grpSp>
      <p:grpSp>
        <p:nvGrpSpPr>
          <p:cNvPr id="594" name="Group 593">
            <a:extLst>
              <a:ext uri="{FF2B5EF4-FFF2-40B4-BE49-F238E27FC236}">
                <a16:creationId xmlns:a16="http://schemas.microsoft.com/office/drawing/2014/main" id="{D2578839-0F0D-BD4C-8100-69CD81B78C03}"/>
              </a:ext>
            </a:extLst>
          </p:cNvPr>
          <p:cNvGrpSpPr>
            <a:grpSpLocks/>
          </p:cNvGrpSpPr>
          <p:nvPr/>
        </p:nvGrpSpPr>
        <p:grpSpPr>
          <a:xfrm>
            <a:off x="3405547" y="4465734"/>
            <a:ext cx="666020" cy="174373"/>
            <a:chOff x="1499770" y="2920466"/>
            <a:chExt cx="499515" cy="130780"/>
          </a:xfrm>
        </p:grpSpPr>
        <p:grpSp>
          <p:nvGrpSpPr>
            <p:cNvPr id="595" name="Group 594">
              <a:extLst>
                <a:ext uri="{FF2B5EF4-FFF2-40B4-BE49-F238E27FC236}">
                  <a16:creationId xmlns:a16="http://schemas.microsoft.com/office/drawing/2014/main" id="{692FD394-F94B-A040-AD68-96A66EF1B4E3}"/>
                </a:ext>
              </a:extLst>
            </p:cNvPr>
            <p:cNvGrpSpPr/>
            <p:nvPr/>
          </p:nvGrpSpPr>
          <p:grpSpPr>
            <a:xfrm>
              <a:off x="1499770" y="2920466"/>
              <a:ext cx="98148" cy="130780"/>
              <a:chOff x="2265548" y="3181564"/>
              <a:chExt cx="71521" cy="95300"/>
            </a:xfrm>
            <a:solidFill>
              <a:srgbClr val="4099DA"/>
            </a:solidFill>
          </p:grpSpPr>
          <p:sp>
            <p:nvSpPr>
              <p:cNvPr id="597" name="Freeform: Shape 902">
                <a:extLst>
                  <a:ext uri="{FF2B5EF4-FFF2-40B4-BE49-F238E27FC236}">
                    <a16:creationId xmlns:a16="http://schemas.microsoft.com/office/drawing/2014/main" id="{4EAEE8F2-7627-4D45-8958-C064B282EB8F}"/>
                  </a:ext>
                </a:extLst>
              </p:cNvPr>
              <p:cNvSpPr/>
              <p:nvPr/>
            </p:nvSpPr>
            <p:spPr>
              <a:xfrm>
                <a:off x="2294459" y="3214588"/>
                <a:ext cx="8908" cy="8909"/>
              </a:xfrm>
              <a:custGeom>
                <a:avLst/>
                <a:gdLst>
                  <a:gd name="connsiteX0" fmla="*/ 8909 w 8908"/>
                  <a:gd name="connsiteY0" fmla="*/ 4455 h 8909"/>
                  <a:gd name="connsiteX1" fmla="*/ 4454 w 8908"/>
                  <a:gd name="connsiteY1" fmla="*/ 8909 h 8909"/>
                  <a:gd name="connsiteX2" fmla="*/ 0 w 8908"/>
                  <a:gd name="connsiteY2" fmla="*/ 4455 h 8909"/>
                  <a:gd name="connsiteX3" fmla="*/ 4454 w 8908"/>
                  <a:gd name="connsiteY3" fmla="*/ 0 h 8909"/>
                  <a:gd name="connsiteX4" fmla="*/ 8909 w 8908"/>
                  <a:gd name="connsiteY4" fmla="*/ 4455 h 8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9">
                    <a:moveTo>
                      <a:pt x="8909" y="4455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5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2017"/>
                      <a:pt x="8909" y="4455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598" name="Freeform: Shape 903">
                <a:extLst>
                  <a:ext uri="{FF2B5EF4-FFF2-40B4-BE49-F238E27FC236}">
                    <a16:creationId xmlns:a16="http://schemas.microsoft.com/office/drawing/2014/main" id="{F16C2BE0-4AE4-5243-8A4C-0AF2370E4BD7}"/>
                  </a:ext>
                </a:extLst>
              </p:cNvPr>
              <p:cNvSpPr/>
              <p:nvPr/>
            </p:nvSpPr>
            <p:spPr>
              <a:xfrm>
                <a:off x="2287231" y="3181564"/>
                <a:ext cx="14623" cy="29572"/>
              </a:xfrm>
              <a:custGeom>
                <a:avLst/>
                <a:gdLst>
                  <a:gd name="connsiteX0" fmla="*/ 0 w 14623"/>
                  <a:gd name="connsiteY0" fmla="*/ 163 h 29572"/>
                  <a:gd name="connsiteX1" fmla="*/ 4370 w 14623"/>
                  <a:gd name="connsiteY1" fmla="*/ 22518 h 29572"/>
                  <a:gd name="connsiteX2" fmla="*/ 14624 w 14623"/>
                  <a:gd name="connsiteY2" fmla="*/ 29410 h 29572"/>
                  <a:gd name="connsiteX3" fmla="*/ 10253 w 14623"/>
                  <a:gd name="connsiteY3" fmla="*/ 7054 h 29572"/>
                  <a:gd name="connsiteX4" fmla="*/ 0 w 14623"/>
                  <a:gd name="connsiteY4" fmla="*/ 163 h 29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2">
                    <a:moveTo>
                      <a:pt x="0" y="163"/>
                    </a:moveTo>
                    <a:lnTo>
                      <a:pt x="4370" y="22518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599" name="Freeform: Shape 904">
                <a:extLst>
                  <a:ext uri="{FF2B5EF4-FFF2-40B4-BE49-F238E27FC236}">
                    <a16:creationId xmlns:a16="http://schemas.microsoft.com/office/drawing/2014/main" id="{9CA69090-D653-BA43-84CD-7BD728F266CF}"/>
                  </a:ext>
                </a:extLst>
              </p:cNvPr>
              <p:cNvSpPr/>
              <p:nvPr/>
            </p:nvSpPr>
            <p:spPr>
              <a:xfrm>
                <a:off x="2270285" y="3220471"/>
                <a:ext cx="22294" cy="27398"/>
              </a:xfrm>
              <a:custGeom>
                <a:avLst/>
                <a:gdLst>
                  <a:gd name="connsiteX0" fmla="*/ 2154 w 22294"/>
                  <a:gd name="connsiteY0" fmla="*/ 27398 h 27398"/>
                  <a:gd name="connsiteX1" fmla="*/ 19299 w 22294"/>
                  <a:gd name="connsiteY1" fmla="*/ 12355 h 27398"/>
                  <a:gd name="connsiteX2" fmla="*/ 20140 w 22294"/>
                  <a:gd name="connsiteY2" fmla="*/ 0 h 27398"/>
                  <a:gd name="connsiteX3" fmla="*/ 2995 w 22294"/>
                  <a:gd name="connsiteY3" fmla="*/ 14960 h 27398"/>
                  <a:gd name="connsiteX4" fmla="*/ 2154 w 22294"/>
                  <a:gd name="connsiteY4" fmla="*/ 27398 h 27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8">
                    <a:moveTo>
                      <a:pt x="2154" y="27398"/>
                    </a:moveTo>
                    <a:lnTo>
                      <a:pt x="19299" y="12355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8"/>
                      <a:pt x="-1039" y="23785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600" name="Freeform: Shape 905">
                <a:extLst>
                  <a:ext uri="{FF2B5EF4-FFF2-40B4-BE49-F238E27FC236}">
                    <a16:creationId xmlns:a16="http://schemas.microsoft.com/office/drawing/2014/main" id="{35B8BCC8-2C6A-FF48-BA76-13455BEE8AB6}"/>
                  </a:ext>
                </a:extLst>
              </p:cNvPr>
              <p:cNvSpPr/>
              <p:nvPr/>
            </p:nvSpPr>
            <p:spPr>
              <a:xfrm>
                <a:off x="2304376" y="3219772"/>
                <a:ext cx="32693" cy="13662"/>
              </a:xfrm>
              <a:custGeom>
                <a:avLst/>
                <a:gdLst>
                  <a:gd name="connsiteX0" fmla="*/ 32693 w 32693"/>
                  <a:gd name="connsiteY0" fmla="*/ 7675 h 13662"/>
                  <a:gd name="connsiteX1" fmla="*/ 11094 w 32693"/>
                  <a:gd name="connsiteY1" fmla="*/ 448 h 13662"/>
                  <a:gd name="connsiteX2" fmla="*/ 0 w 32693"/>
                  <a:gd name="connsiteY2" fmla="*/ 5994 h 13662"/>
                  <a:gd name="connsiteX3" fmla="*/ 21599 w 32693"/>
                  <a:gd name="connsiteY3" fmla="*/ 13222 h 13662"/>
                  <a:gd name="connsiteX4" fmla="*/ 32693 w 32693"/>
                  <a:gd name="connsiteY4" fmla="*/ 7675 h 13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62">
                    <a:moveTo>
                      <a:pt x="32693" y="7675"/>
                    </a:moveTo>
                    <a:lnTo>
                      <a:pt x="11094" y="448"/>
                    </a:lnTo>
                    <a:cubicBezTo>
                      <a:pt x="6555" y="-1065"/>
                      <a:pt x="1513" y="1372"/>
                      <a:pt x="0" y="5994"/>
                    </a:cubicBezTo>
                    <a:lnTo>
                      <a:pt x="21599" y="13222"/>
                    </a:lnTo>
                    <a:cubicBezTo>
                      <a:pt x="26222" y="14735"/>
                      <a:pt x="31180" y="12214"/>
                      <a:pt x="32693" y="7675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601" name="Freeform: Shape 906">
                <a:extLst>
                  <a:ext uri="{FF2B5EF4-FFF2-40B4-BE49-F238E27FC236}">
                    <a16:creationId xmlns:a16="http://schemas.microsoft.com/office/drawing/2014/main" id="{122A9D20-9746-7541-8FB1-8193F373A1CC}"/>
                  </a:ext>
                </a:extLst>
              </p:cNvPr>
              <p:cNvSpPr/>
              <p:nvPr/>
            </p:nvSpPr>
            <p:spPr>
              <a:xfrm>
                <a:off x="2293114" y="3228099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2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2"/>
                      <a:pt x="420" y="21872"/>
                      <a:pt x="0" y="33555"/>
                    </a:cubicBezTo>
                    <a:cubicBezTo>
                      <a:pt x="1765" y="35067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602" name="Freeform: Shape 907">
                <a:extLst>
                  <a:ext uri="{FF2B5EF4-FFF2-40B4-BE49-F238E27FC236}">
                    <a16:creationId xmlns:a16="http://schemas.microsoft.com/office/drawing/2014/main" id="{0F7374BB-6BD6-C447-A68F-58DD526D1BB6}"/>
                  </a:ext>
                </a:extLst>
              </p:cNvPr>
              <p:cNvSpPr/>
              <p:nvPr/>
            </p:nvSpPr>
            <p:spPr>
              <a:xfrm>
                <a:off x="2265548" y="3269721"/>
                <a:ext cx="66646" cy="7143"/>
              </a:xfrm>
              <a:custGeom>
                <a:avLst/>
                <a:gdLst>
                  <a:gd name="connsiteX0" fmla="*/ 0 w 66646"/>
                  <a:gd name="connsiteY0" fmla="*/ 0 h 7143"/>
                  <a:gd name="connsiteX1" fmla="*/ 66647 w 66646"/>
                  <a:gd name="connsiteY1" fmla="*/ 0 h 7143"/>
                  <a:gd name="connsiteX2" fmla="*/ 66647 w 66646"/>
                  <a:gd name="connsiteY2" fmla="*/ 7144 h 7143"/>
                  <a:gd name="connsiteX3" fmla="*/ 0 w 66646"/>
                  <a:gd name="connsiteY3" fmla="*/ 7144 h 7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646" h="7143">
                    <a:moveTo>
                      <a:pt x="0" y="0"/>
                    </a:moveTo>
                    <a:lnTo>
                      <a:pt x="66647" y="0"/>
                    </a:lnTo>
                    <a:lnTo>
                      <a:pt x="66647" y="7144"/>
                    </a:lnTo>
                    <a:lnTo>
                      <a:pt x="0" y="7144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</p:grpSp>
        <p:sp>
          <p:nvSpPr>
            <p:cNvPr id="596" name="TextBox 595">
              <a:extLst>
                <a:ext uri="{FF2B5EF4-FFF2-40B4-BE49-F238E27FC236}">
                  <a16:creationId xmlns:a16="http://schemas.microsoft.com/office/drawing/2014/main" id="{B57FDA38-062A-E64F-9466-46D9D21A11AD}"/>
                </a:ext>
              </a:extLst>
            </p:cNvPr>
            <p:cNvSpPr txBox="1"/>
            <p:nvPr/>
          </p:nvSpPr>
          <p:spPr>
            <a:xfrm>
              <a:off x="1616969" y="2948177"/>
              <a:ext cx="382316" cy="9608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2400"/>
                </a:spcBef>
              </a:pPr>
              <a:r>
                <a:rPr lang="en-US" sz="867">
                  <a:solidFill>
                    <a:srgbClr val="4099DA"/>
                  </a:solidFill>
                </a:rPr>
                <a:t>Kilgarvan</a:t>
              </a:r>
            </a:p>
          </p:txBody>
        </p:sp>
      </p:grpSp>
      <p:grpSp>
        <p:nvGrpSpPr>
          <p:cNvPr id="603" name="Group 602">
            <a:extLst>
              <a:ext uri="{FF2B5EF4-FFF2-40B4-BE49-F238E27FC236}">
                <a16:creationId xmlns:a16="http://schemas.microsoft.com/office/drawing/2014/main" id="{3898E268-B23F-8E4B-A125-4382BAF88045}"/>
              </a:ext>
            </a:extLst>
          </p:cNvPr>
          <p:cNvGrpSpPr>
            <a:grpSpLocks/>
          </p:cNvGrpSpPr>
          <p:nvPr/>
        </p:nvGrpSpPr>
        <p:grpSpPr>
          <a:xfrm>
            <a:off x="2608250" y="4679687"/>
            <a:ext cx="801382" cy="174373"/>
            <a:chOff x="996882" y="2920466"/>
            <a:chExt cx="601036" cy="130780"/>
          </a:xfrm>
        </p:grpSpPr>
        <p:grpSp>
          <p:nvGrpSpPr>
            <p:cNvPr id="604" name="Group 603">
              <a:extLst>
                <a:ext uri="{FF2B5EF4-FFF2-40B4-BE49-F238E27FC236}">
                  <a16:creationId xmlns:a16="http://schemas.microsoft.com/office/drawing/2014/main" id="{6934375F-F85F-E447-8AFA-806B29FC12B2}"/>
                </a:ext>
              </a:extLst>
            </p:cNvPr>
            <p:cNvGrpSpPr/>
            <p:nvPr/>
          </p:nvGrpSpPr>
          <p:grpSpPr>
            <a:xfrm>
              <a:off x="1499770" y="2920466"/>
              <a:ext cx="98148" cy="130780"/>
              <a:chOff x="2265548" y="3181564"/>
              <a:chExt cx="71521" cy="95300"/>
            </a:xfrm>
            <a:solidFill>
              <a:srgbClr val="4099DA"/>
            </a:solidFill>
          </p:grpSpPr>
          <p:sp>
            <p:nvSpPr>
              <p:cNvPr id="606" name="Freeform: Shape 902">
                <a:extLst>
                  <a:ext uri="{FF2B5EF4-FFF2-40B4-BE49-F238E27FC236}">
                    <a16:creationId xmlns:a16="http://schemas.microsoft.com/office/drawing/2014/main" id="{C08F624D-FED0-0D48-A2CB-879C55E5AED2}"/>
                  </a:ext>
                </a:extLst>
              </p:cNvPr>
              <p:cNvSpPr/>
              <p:nvPr/>
            </p:nvSpPr>
            <p:spPr>
              <a:xfrm>
                <a:off x="2294459" y="3214588"/>
                <a:ext cx="8908" cy="8909"/>
              </a:xfrm>
              <a:custGeom>
                <a:avLst/>
                <a:gdLst>
                  <a:gd name="connsiteX0" fmla="*/ 8909 w 8908"/>
                  <a:gd name="connsiteY0" fmla="*/ 4455 h 8909"/>
                  <a:gd name="connsiteX1" fmla="*/ 4454 w 8908"/>
                  <a:gd name="connsiteY1" fmla="*/ 8909 h 8909"/>
                  <a:gd name="connsiteX2" fmla="*/ 0 w 8908"/>
                  <a:gd name="connsiteY2" fmla="*/ 4455 h 8909"/>
                  <a:gd name="connsiteX3" fmla="*/ 4454 w 8908"/>
                  <a:gd name="connsiteY3" fmla="*/ 0 h 8909"/>
                  <a:gd name="connsiteX4" fmla="*/ 8909 w 8908"/>
                  <a:gd name="connsiteY4" fmla="*/ 4455 h 8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9">
                    <a:moveTo>
                      <a:pt x="8909" y="4455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5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2017"/>
                      <a:pt x="8909" y="4455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607" name="Freeform: Shape 903">
                <a:extLst>
                  <a:ext uri="{FF2B5EF4-FFF2-40B4-BE49-F238E27FC236}">
                    <a16:creationId xmlns:a16="http://schemas.microsoft.com/office/drawing/2014/main" id="{C996FD8B-A359-3A47-B29E-7D8A65D15901}"/>
                  </a:ext>
                </a:extLst>
              </p:cNvPr>
              <p:cNvSpPr/>
              <p:nvPr/>
            </p:nvSpPr>
            <p:spPr>
              <a:xfrm>
                <a:off x="2287231" y="3181564"/>
                <a:ext cx="14623" cy="29572"/>
              </a:xfrm>
              <a:custGeom>
                <a:avLst/>
                <a:gdLst>
                  <a:gd name="connsiteX0" fmla="*/ 0 w 14623"/>
                  <a:gd name="connsiteY0" fmla="*/ 163 h 29572"/>
                  <a:gd name="connsiteX1" fmla="*/ 4370 w 14623"/>
                  <a:gd name="connsiteY1" fmla="*/ 22518 h 29572"/>
                  <a:gd name="connsiteX2" fmla="*/ 14624 w 14623"/>
                  <a:gd name="connsiteY2" fmla="*/ 29410 h 29572"/>
                  <a:gd name="connsiteX3" fmla="*/ 10253 w 14623"/>
                  <a:gd name="connsiteY3" fmla="*/ 7054 h 29572"/>
                  <a:gd name="connsiteX4" fmla="*/ 0 w 14623"/>
                  <a:gd name="connsiteY4" fmla="*/ 163 h 29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2">
                    <a:moveTo>
                      <a:pt x="0" y="163"/>
                    </a:moveTo>
                    <a:lnTo>
                      <a:pt x="4370" y="22518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608" name="Freeform: Shape 904">
                <a:extLst>
                  <a:ext uri="{FF2B5EF4-FFF2-40B4-BE49-F238E27FC236}">
                    <a16:creationId xmlns:a16="http://schemas.microsoft.com/office/drawing/2014/main" id="{55B95DC6-1A7E-7646-A2AF-6F49379F1A5A}"/>
                  </a:ext>
                </a:extLst>
              </p:cNvPr>
              <p:cNvSpPr/>
              <p:nvPr/>
            </p:nvSpPr>
            <p:spPr>
              <a:xfrm>
                <a:off x="2270285" y="3220471"/>
                <a:ext cx="22294" cy="27398"/>
              </a:xfrm>
              <a:custGeom>
                <a:avLst/>
                <a:gdLst>
                  <a:gd name="connsiteX0" fmla="*/ 2154 w 22294"/>
                  <a:gd name="connsiteY0" fmla="*/ 27398 h 27398"/>
                  <a:gd name="connsiteX1" fmla="*/ 19299 w 22294"/>
                  <a:gd name="connsiteY1" fmla="*/ 12355 h 27398"/>
                  <a:gd name="connsiteX2" fmla="*/ 20140 w 22294"/>
                  <a:gd name="connsiteY2" fmla="*/ 0 h 27398"/>
                  <a:gd name="connsiteX3" fmla="*/ 2995 w 22294"/>
                  <a:gd name="connsiteY3" fmla="*/ 14960 h 27398"/>
                  <a:gd name="connsiteX4" fmla="*/ 2154 w 22294"/>
                  <a:gd name="connsiteY4" fmla="*/ 27398 h 27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8">
                    <a:moveTo>
                      <a:pt x="2154" y="27398"/>
                    </a:moveTo>
                    <a:lnTo>
                      <a:pt x="19299" y="12355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8"/>
                      <a:pt x="-1039" y="23785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609" name="Freeform: Shape 905">
                <a:extLst>
                  <a:ext uri="{FF2B5EF4-FFF2-40B4-BE49-F238E27FC236}">
                    <a16:creationId xmlns:a16="http://schemas.microsoft.com/office/drawing/2014/main" id="{B97722BC-B8C0-9C42-B93D-290E49B8A219}"/>
                  </a:ext>
                </a:extLst>
              </p:cNvPr>
              <p:cNvSpPr/>
              <p:nvPr/>
            </p:nvSpPr>
            <p:spPr>
              <a:xfrm>
                <a:off x="2304376" y="3219772"/>
                <a:ext cx="32693" cy="13662"/>
              </a:xfrm>
              <a:custGeom>
                <a:avLst/>
                <a:gdLst>
                  <a:gd name="connsiteX0" fmla="*/ 32693 w 32693"/>
                  <a:gd name="connsiteY0" fmla="*/ 7675 h 13662"/>
                  <a:gd name="connsiteX1" fmla="*/ 11094 w 32693"/>
                  <a:gd name="connsiteY1" fmla="*/ 448 h 13662"/>
                  <a:gd name="connsiteX2" fmla="*/ 0 w 32693"/>
                  <a:gd name="connsiteY2" fmla="*/ 5994 h 13662"/>
                  <a:gd name="connsiteX3" fmla="*/ 21599 w 32693"/>
                  <a:gd name="connsiteY3" fmla="*/ 13222 h 13662"/>
                  <a:gd name="connsiteX4" fmla="*/ 32693 w 32693"/>
                  <a:gd name="connsiteY4" fmla="*/ 7675 h 13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62">
                    <a:moveTo>
                      <a:pt x="32693" y="7675"/>
                    </a:moveTo>
                    <a:lnTo>
                      <a:pt x="11094" y="448"/>
                    </a:lnTo>
                    <a:cubicBezTo>
                      <a:pt x="6555" y="-1065"/>
                      <a:pt x="1513" y="1372"/>
                      <a:pt x="0" y="5994"/>
                    </a:cubicBezTo>
                    <a:lnTo>
                      <a:pt x="21599" y="13222"/>
                    </a:lnTo>
                    <a:cubicBezTo>
                      <a:pt x="26222" y="14735"/>
                      <a:pt x="31180" y="12214"/>
                      <a:pt x="32693" y="7675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610" name="Freeform: Shape 906">
                <a:extLst>
                  <a:ext uri="{FF2B5EF4-FFF2-40B4-BE49-F238E27FC236}">
                    <a16:creationId xmlns:a16="http://schemas.microsoft.com/office/drawing/2014/main" id="{A3CCFDD3-58D8-D641-8A28-E35188AA70B1}"/>
                  </a:ext>
                </a:extLst>
              </p:cNvPr>
              <p:cNvSpPr/>
              <p:nvPr/>
            </p:nvSpPr>
            <p:spPr>
              <a:xfrm>
                <a:off x="2293114" y="3228099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2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2"/>
                      <a:pt x="420" y="21872"/>
                      <a:pt x="0" y="33555"/>
                    </a:cubicBezTo>
                    <a:cubicBezTo>
                      <a:pt x="1765" y="35067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611" name="Freeform: Shape 907">
                <a:extLst>
                  <a:ext uri="{FF2B5EF4-FFF2-40B4-BE49-F238E27FC236}">
                    <a16:creationId xmlns:a16="http://schemas.microsoft.com/office/drawing/2014/main" id="{A556E33F-C9C1-104B-8519-82141FF392C8}"/>
                  </a:ext>
                </a:extLst>
              </p:cNvPr>
              <p:cNvSpPr/>
              <p:nvPr/>
            </p:nvSpPr>
            <p:spPr>
              <a:xfrm>
                <a:off x="2265548" y="3269721"/>
                <a:ext cx="66646" cy="7143"/>
              </a:xfrm>
              <a:custGeom>
                <a:avLst/>
                <a:gdLst>
                  <a:gd name="connsiteX0" fmla="*/ 0 w 66646"/>
                  <a:gd name="connsiteY0" fmla="*/ 0 h 7143"/>
                  <a:gd name="connsiteX1" fmla="*/ 66647 w 66646"/>
                  <a:gd name="connsiteY1" fmla="*/ 0 h 7143"/>
                  <a:gd name="connsiteX2" fmla="*/ 66647 w 66646"/>
                  <a:gd name="connsiteY2" fmla="*/ 7144 h 7143"/>
                  <a:gd name="connsiteX3" fmla="*/ 0 w 66646"/>
                  <a:gd name="connsiteY3" fmla="*/ 7144 h 7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646" h="7143">
                    <a:moveTo>
                      <a:pt x="0" y="0"/>
                    </a:moveTo>
                    <a:lnTo>
                      <a:pt x="66647" y="0"/>
                    </a:lnTo>
                    <a:lnTo>
                      <a:pt x="66647" y="7144"/>
                    </a:lnTo>
                    <a:lnTo>
                      <a:pt x="0" y="7144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</p:grpSp>
        <p:sp>
          <p:nvSpPr>
            <p:cNvPr id="605" name="TextBox 604">
              <a:extLst>
                <a:ext uri="{FF2B5EF4-FFF2-40B4-BE49-F238E27FC236}">
                  <a16:creationId xmlns:a16="http://schemas.microsoft.com/office/drawing/2014/main" id="{A3AEBD05-3AAE-1841-A0DE-979C4D7F9EA4}"/>
                </a:ext>
              </a:extLst>
            </p:cNvPr>
            <p:cNvSpPr txBox="1"/>
            <p:nvPr/>
          </p:nvSpPr>
          <p:spPr>
            <a:xfrm>
              <a:off x="996882" y="2940227"/>
              <a:ext cx="479699" cy="9608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2400"/>
                </a:spcBef>
              </a:pPr>
              <a:r>
                <a:rPr lang="en-US" sz="867">
                  <a:solidFill>
                    <a:srgbClr val="4099DA"/>
                  </a:solidFill>
                </a:rPr>
                <a:t>Sillahertane</a:t>
              </a:r>
            </a:p>
          </p:txBody>
        </p:sp>
      </p:grpSp>
      <p:grpSp>
        <p:nvGrpSpPr>
          <p:cNvPr id="612" name="Group 611">
            <a:extLst>
              <a:ext uri="{FF2B5EF4-FFF2-40B4-BE49-F238E27FC236}">
                <a16:creationId xmlns:a16="http://schemas.microsoft.com/office/drawing/2014/main" id="{F0FAC726-B624-8A44-8DA7-819DAF79A46A}"/>
              </a:ext>
            </a:extLst>
          </p:cNvPr>
          <p:cNvGrpSpPr>
            <a:grpSpLocks/>
          </p:cNvGrpSpPr>
          <p:nvPr/>
        </p:nvGrpSpPr>
        <p:grpSpPr>
          <a:xfrm>
            <a:off x="3454930" y="4650727"/>
            <a:ext cx="458459" cy="345533"/>
            <a:chOff x="1497359" y="2920466"/>
            <a:chExt cx="343844" cy="259150"/>
          </a:xfrm>
        </p:grpSpPr>
        <p:grpSp>
          <p:nvGrpSpPr>
            <p:cNvPr id="613" name="Group 612">
              <a:extLst>
                <a:ext uri="{FF2B5EF4-FFF2-40B4-BE49-F238E27FC236}">
                  <a16:creationId xmlns:a16="http://schemas.microsoft.com/office/drawing/2014/main" id="{8651F57B-4F2A-B34C-BA23-BCFA88954EA7}"/>
                </a:ext>
              </a:extLst>
            </p:cNvPr>
            <p:cNvGrpSpPr/>
            <p:nvPr/>
          </p:nvGrpSpPr>
          <p:grpSpPr>
            <a:xfrm>
              <a:off x="1499770" y="2920466"/>
              <a:ext cx="98148" cy="130780"/>
              <a:chOff x="2265548" y="3181564"/>
              <a:chExt cx="71521" cy="95300"/>
            </a:xfrm>
            <a:solidFill>
              <a:srgbClr val="4099DA"/>
            </a:solidFill>
          </p:grpSpPr>
          <p:sp>
            <p:nvSpPr>
              <p:cNvPr id="615" name="Freeform: Shape 902">
                <a:extLst>
                  <a:ext uri="{FF2B5EF4-FFF2-40B4-BE49-F238E27FC236}">
                    <a16:creationId xmlns:a16="http://schemas.microsoft.com/office/drawing/2014/main" id="{A9A40306-1484-204B-8498-2FE852A1719B}"/>
                  </a:ext>
                </a:extLst>
              </p:cNvPr>
              <p:cNvSpPr/>
              <p:nvPr/>
            </p:nvSpPr>
            <p:spPr>
              <a:xfrm>
                <a:off x="2294459" y="3214588"/>
                <a:ext cx="8908" cy="8909"/>
              </a:xfrm>
              <a:custGeom>
                <a:avLst/>
                <a:gdLst>
                  <a:gd name="connsiteX0" fmla="*/ 8909 w 8908"/>
                  <a:gd name="connsiteY0" fmla="*/ 4455 h 8909"/>
                  <a:gd name="connsiteX1" fmla="*/ 4454 w 8908"/>
                  <a:gd name="connsiteY1" fmla="*/ 8909 h 8909"/>
                  <a:gd name="connsiteX2" fmla="*/ 0 w 8908"/>
                  <a:gd name="connsiteY2" fmla="*/ 4455 h 8909"/>
                  <a:gd name="connsiteX3" fmla="*/ 4454 w 8908"/>
                  <a:gd name="connsiteY3" fmla="*/ 0 h 8909"/>
                  <a:gd name="connsiteX4" fmla="*/ 8909 w 8908"/>
                  <a:gd name="connsiteY4" fmla="*/ 4455 h 8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9">
                    <a:moveTo>
                      <a:pt x="8909" y="4455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5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2017"/>
                      <a:pt x="8909" y="4455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616" name="Freeform: Shape 903">
                <a:extLst>
                  <a:ext uri="{FF2B5EF4-FFF2-40B4-BE49-F238E27FC236}">
                    <a16:creationId xmlns:a16="http://schemas.microsoft.com/office/drawing/2014/main" id="{51252FE8-3FE9-F941-A78F-C6EA332CB573}"/>
                  </a:ext>
                </a:extLst>
              </p:cNvPr>
              <p:cNvSpPr/>
              <p:nvPr/>
            </p:nvSpPr>
            <p:spPr>
              <a:xfrm>
                <a:off x="2287231" y="3181564"/>
                <a:ext cx="14623" cy="29572"/>
              </a:xfrm>
              <a:custGeom>
                <a:avLst/>
                <a:gdLst>
                  <a:gd name="connsiteX0" fmla="*/ 0 w 14623"/>
                  <a:gd name="connsiteY0" fmla="*/ 163 h 29572"/>
                  <a:gd name="connsiteX1" fmla="*/ 4370 w 14623"/>
                  <a:gd name="connsiteY1" fmla="*/ 22518 h 29572"/>
                  <a:gd name="connsiteX2" fmla="*/ 14624 w 14623"/>
                  <a:gd name="connsiteY2" fmla="*/ 29410 h 29572"/>
                  <a:gd name="connsiteX3" fmla="*/ 10253 w 14623"/>
                  <a:gd name="connsiteY3" fmla="*/ 7054 h 29572"/>
                  <a:gd name="connsiteX4" fmla="*/ 0 w 14623"/>
                  <a:gd name="connsiteY4" fmla="*/ 163 h 29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2">
                    <a:moveTo>
                      <a:pt x="0" y="163"/>
                    </a:moveTo>
                    <a:lnTo>
                      <a:pt x="4370" y="22518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617" name="Freeform: Shape 904">
                <a:extLst>
                  <a:ext uri="{FF2B5EF4-FFF2-40B4-BE49-F238E27FC236}">
                    <a16:creationId xmlns:a16="http://schemas.microsoft.com/office/drawing/2014/main" id="{EBCF3E70-329E-DB45-BA53-9C55F270DADC}"/>
                  </a:ext>
                </a:extLst>
              </p:cNvPr>
              <p:cNvSpPr/>
              <p:nvPr/>
            </p:nvSpPr>
            <p:spPr>
              <a:xfrm>
                <a:off x="2270285" y="3220471"/>
                <a:ext cx="22294" cy="27398"/>
              </a:xfrm>
              <a:custGeom>
                <a:avLst/>
                <a:gdLst>
                  <a:gd name="connsiteX0" fmla="*/ 2154 w 22294"/>
                  <a:gd name="connsiteY0" fmla="*/ 27398 h 27398"/>
                  <a:gd name="connsiteX1" fmla="*/ 19299 w 22294"/>
                  <a:gd name="connsiteY1" fmla="*/ 12355 h 27398"/>
                  <a:gd name="connsiteX2" fmla="*/ 20140 w 22294"/>
                  <a:gd name="connsiteY2" fmla="*/ 0 h 27398"/>
                  <a:gd name="connsiteX3" fmla="*/ 2995 w 22294"/>
                  <a:gd name="connsiteY3" fmla="*/ 14960 h 27398"/>
                  <a:gd name="connsiteX4" fmla="*/ 2154 w 22294"/>
                  <a:gd name="connsiteY4" fmla="*/ 27398 h 27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8">
                    <a:moveTo>
                      <a:pt x="2154" y="27398"/>
                    </a:moveTo>
                    <a:lnTo>
                      <a:pt x="19299" y="12355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8"/>
                      <a:pt x="-1039" y="23785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618" name="Freeform: Shape 905">
                <a:extLst>
                  <a:ext uri="{FF2B5EF4-FFF2-40B4-BE49-F238E27FC236}">
                    <a16:creationId xmlns:a16="http://schemas.microsoft.com/office/drawing/2014/main" id="{4E0FBB73-EDB8-8042-BE25-2D0AA2052EF7}"/>
                  </a:ext>
                </a:extLst>
              </p:cNvPr>
              <p:cNvSpPr/>
              <p:nvPr/>
            </p:nvSpPr>
            <p:spPr>
              <a:xfrm>
                <a:off x="2304376" y="3219772"/>
                <a:ext cx="32693" cy="13662"/>
              </a:xfrm>
              <a:custGeom>
                <a:avLst/>
                <a:gdLst>
                  <a:gd name="connsiteX0" fmla="*/ 32693 w 32693"/>
                  <a:gd name="connsiteY0" fmla="*/ 7675 h 13662"/>
                  <a:gd name="connsiteX1" fmla="*/ 11094 w 32693"/>
                  <a:gd name="connsiteY1" fmla="*/ 448 h 13662"/>
                  <a:gd name="connsiteX2" fmla="*/ 0 w 32693"/>
                  <a:gd name="connsiteY2" fmla="*/ 5994 h 13662"/>
                  <a:gd name="connsiteX3" fmla="*/ 21599 w 32693"/>
                  <a:gd name="connsiteY3" fmla="*/ 13222 h 13662"/>
                  <a:gd name="connsiteX4" fmla="*/ 32693 w 32693"/>
                  <a:gd name="connsiteY4" fmla="*/ 7675 h 13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62">
                    <a:moveTo>
                      <a:pt x="32693" y="7675"/>
                    </a:moveTo>
                    <a:lnTo>
                      <a:pt x="11094" y="448"/>
                    </a:lnTo>
                    <a:cubicBezTo>
                      <a:pt x="6555" y="-1065"/>
                      <a:pt x="1513" y="1372"/>
                      <a:pt x="0" y="5994"/>
                    </a:cubicBezTo>
                    <a:lnTo>
                      <a:pt x="21599" y="13222"/>
                    </a:lnTo>
                    <a:cubicBezTo>
                      <a:pt x="26222" y="14735"/>
                      <a:pt x="31180" y="12214"/>
                      <a:pt x="32693" y="7675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619" name="Freeform: Shape 906">
                <a:extLst>
                  <a:ext uri="{FF2B5EF4-FFF2-40B4-BE49-F238E27FC236}">
                    <a16:creationId xmlns:a16="http://schemas.microsoft.com/office/drawing/2014/main" id="{4F7D250D-3260-5F4F-B14D-D8307C7D4D25}"/>
                  </a:ext>
                </a:extLst>
              </p:cNvPr>
              <p:cNvSpPr/>
              <p:nvPr/>
            </p:nvSpPr>
            <p:spPr>
              <a:xfrm>
                <a:off x="2293114" y="3228099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2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2"/>
                      <a:pt x="420" y="21872"/>
                      <a:pt x="0" y="33555"/>
                    </a:cubicBezTo>
                    <a:cubicBezTo>
                      <a:pt x="1765" y="35067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620" name="Freeform: Shape 907">
                <a:extLst>
                  <a:ext uri="{FF2B5EF4-FFF2-40B4-BE49-F238E27FC236}">
                    <a16:creationId xmlns:a16="http://schemas.microsoft.com/office/drawing/2014/main" id="{5E8AC292-85DA-1D4E-993B-C6ED55751E42}"/>
                  </a:ext>
                </a:extLst>
              </p:cNvPr>
              <p:cNvSpPr/>
              <p:nvPr/>
            </p:nvSpPr>
            <p:spPr>
              <a:xfrm>
                <a:off x="2265548" y="3269721"/>
                <a:ext cx="66646" cy="7143"/>
              </a:xfrm>
              <a:custGeom>
                <a:avLst/>
                <a:gdLst>
                  <a:gd name="connsiteX0" fmla="*/ 0 w 66646"/>
                  <a:gd name="connsiteY0" fmla="*/ 0 h 7143"/>
                  <a:gd name="connsiteX1" fmla="*/ 66647 w 66646"/>
                  <a:gd name="connsiteY1" fmla="*/ 0 h 7143"/>
                  <a:gd name="connsiteX2" fmla="*/ 66647 w 66646"/>
                  <a:gd name="connsiteY2" fmla="*/ 7144 h 7143"/>
                  <a:gd name="connsiteX3" fmla="*/ 0 w 66646"/>
                  <a:gd name="connsiteY3" fmla="*/ 7144 h 7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646" h="7143">
                    <a:moveTo>
                      <a:pt x="0" y="0"/>
                    </a:moveTo>
                    <a:lnTo>
                      <a:pt x="66647" y="0"/>
                    </a:lnTo>
                    <a:lnTo>
                      <a:pt x="66647" y="7144"/>
                    </a:lnTo>
                    <a:lnTo>
                      <a:pt x="0" y="7144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</p:grpSp>
        <p:sp>
          <p:nvSpPr>
            <p:cNvPr id="614" name="TextBox 613">
              <a:extLst>
                <a:ext uri="{FF2B5EF4-FFF2-40B4-BE49-F238E27FC236}">
                  <a16:creationId xmlns:a16="http://schemas.microsoft.com/office/drawing/2014/main" id="{EF466BC5-29DA-FE4C-A6DF-54EEBEE849DF}"/>
                </a:ext>
              </a:extLst>
            </p:cNvPr>
            <p:cNvSpPr txBox="1"/>
            <p:nvPr/>
          </p:nvSpPr>
          <p:spPr>
            <a:xfrm>
              <a:off x="1497359" y="3083532"/>
              <a:ext cx="343844" cy="9608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2400"/>
                </a:spcBef>
              </a:pPr>
              <a:r>
                <a:rPr lang="en-US" sz="867">
                  <a:solidFill>
                    <a:srgbClr val="4099DA"/>
                  </a:solidFill>
                </a:rPr>
                <a:t>Gneeves</a:t>
              </a:r>
            </a:p>
          </p:txBody>
        </p:sp>
      </p:grpSp>
      <p:grpSp>
        <p:nvGrpSpPr>
          <p:cNvPr id="621" name="Group 620">
            <a:extLst>
              <a:ext uri="{FF2B5EF4-FFF2-40B4-BE49-F238E27FC236}">
                <a16:creationId xmlns:a16="http://schemas.microsoft.com/office/drawing/2014/main" id="{3AAD3CD5-198A-D345-8EDA-C4A11D2522AE}"/>
              </a:ext>
            </a:extLst>
          </p:cNvPr>
          <p:cNvGrpSpPr>
            <a:grpSpLocks/>
          </p:cNvGrpSpPr>
          <p:nvPr/>
        </p:nvGrpSpPr>
        <p:grpSpPr>
          <a:xfrm>
            <a:off x="2504691" y="3978982"/>
            <a:ext cx="1032304" cy="174373"/>
            <a:chOff x="823690" y="2920466"/>
            <a:chExt cx="774228" cy="130780"/>
          </a:xfrm>
        </p:grpSpPr>
        <p:grpSp>
          <p:nvGrpSpPr>
            <p:cNvPr id="622" name="Group 621">
              <a:extLst>
                <a:ext uri="{FF2B5EF4-FFF2-40B4-BE49-F238E27FC236}">
                  <a16:creationId xmlns:a16="http://schemas.microsoft.com/office/drawing/2014/main" id="{E31B29C2-EC10-654C-B8EE-F058ABEBD2A9}"/>
                </a:ext>
              </a:extLst>
            </p:cNvPr>
            <p:cNvGrpSpPr/>
            <p:nvPr/>
          </p:nvGrpSpPr>
          <p:grpSpPr>
            <a:xfrm>
              <a:off x="1499770" y="2920466"/>
              <a:ext cx="98148" cy="130780"/>
              <a:chOff x="2265548" y="3181564"/>
              <a:chExt cx="71521" cy="95300"/>
            </a:xfrm>
            <a:solidFill>
              <a:srgbClr val="4099DA"/>
            </a:solidFill>
          </p:grpSpPr>
          <p:sp>
            <p:nvSpPr>
              <p:cNvPr id="624" name="Freeform: Shape 902">
                <a:extLst>
                  <a:ext uri="{FF2B5EF4-FFF2-40B4-BE49-F238E27FC236}">
                    <a16:creationId xmlns:a16="http://schemas.microsoft.com/office/drawing/2014/main" id="{7280FB29-DD25-C44E-8D4A-FC5F90890D97}"/>
                  </a:ext>
                </a:extLst>
              </p:cNvPr>
              <p:cNvSpPr/>
              <p:nvPr/>
            </p:nvSpPr>
            <p:spPr>
              <a:xfrm>
                <a:off x="2294459" y="3214588"/>
                <a:ext cx="8908" cy="8909"/>
              </a:xfrm>
              <a:custGeom>
                <a:avLst/>
                <a:gdLst>
                  <a:gd name="connsiteX0" fmla="*/ 8909 w 8908"/>
                  <a:gd name="connsiteY0" fmla="*/ 4455 h 8909"/>
                  <a:gd name="connsiteX1" fmla="*/ 4454 w 8908"/>
                  <a:gd name="connsiteY1" fmla="*/ 8909 h 8909"/>
                  <a:gd name="connsiteX2" fmla="*/ 0 w 8908"/>
                  <a:gd name="connsiteY2" fmla="*/ 4455 h 8909"/>
                  <a:gd name="connsiteX3" fmla="*/ 4454 w 8908"/>
                  <a:gd name="connsiteY3" fmla="*/ 0 h 8909"/>
                  <a:gd name="connsiteX4" fmla="*/ 8909 w 8908"/>
                  <a:gd name="connsiteY4" fmla="*/ 4455 h 8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9">
                    <a:moveTo>
                      <a:pt x="8909" y="4455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5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2017"/>
                      <a:pt x="8909" y="4455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625" name="Freeform: Shape 903">
                <a:extLst>
                  <a:ext uri="{FF2B5EF4-FFF2-40B4-BE49-F238E27FC236}">
                    <a16:creationId xmlns:a16="http://schemas.microsoft.com/office/drawing/2014/main" id="{450FDC05-4264-6C4D-A51C-D72862343058}"/>
                  </a:ext>
                </a:extLst>
              </p:cNvPr>
              <p:cNvSpPr/>
              <p:nvPr/>
            </p:nvSpPr>
            <p:spPr>
              <a:xfrm>
                <a:off x="2287231" y="3181564"/>
                <a:ext cx="14623" cy="29572"/>
              </a:xfrm>
              <a:custGeom>
                <a:avLst/>
                <a:gdLst>
                  <a:gd name="connsiteX0" fmla="*/ 0 w 14623"/>
                  <a:gd name="connsiteY0" fmla="*/ 163 h 29572"/>
                  <a:gd name="connsiteX1" fmla="*/ 4370 w 14623"/>
                  <a:gd name="connsiteY1" fmla="*/ 22518 h 29572"/>
                  <a:gd name="connsiteX2" fmla="*/ 14624 w 14623"/>
                  <a:gd name="connsiteY2" fmla="*/ 29410 h 29572"/>
                  <a:gd name="connsiteX3" fmla="*/ 10253 w 14623"/>
                  <a:gd name="connsiteY3" fmla="*/ 7054 h 29572"/>
                  <a:gd name="connsiteX4" fmla="*/ 0 w 14623"/>
                  <a:gd name="connsiteY4" fmla="*/ 163 h 29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2">
                    <a:moveTo>
                      <a:pt x="0" y="163"/>
                    </a:moveTo>
                    <a:lnTo>
                      <a:pt x="4370" y="22518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626" name="Freeform: Shape 904">
                <a:extLst>
                  <a:ext uri="{FF2B5EF4-FFF2-40B4-BE49-F238E27FC236}">
                    <a16:creationId xmlns:a16="http://schemas.microsoft.com/office/drawing/2014/main" id="{62014097-0246-6944-B6A7-947CAF2E4C61}"/>
                  </a:ext>
                </a:extLst>
              </p:cNvPr>
              <p:cNvSpPr/>
              <p:nvPr/>
            </p:nvSpPr>
            <p:spPr>
              <a:xfrm>
                <a:off x="2270285" y="3220471"/>
                <a:ext cx="22294" cy="27398"/>
              </a:xfrm>
              <a:custGeom>
                <a:avLst/>
                <a:gdLst>
                  <a:gd name="connsiteX0" fmla="*/ 2154 w 22294"/>
                  <a:gd name="connsiteY0" fmla="*/ 27398 h 27398"/>
                  <a:gd name="connsiteX1" fmla="*/ 19299 w 22294"/>
                  <a:gd name="connsiteY1" fmla="*/ 12355 h 27398"/>
                  <a:gd name="connsiteX2" fmla="*/ 20140 w 22294"/>
                  <a:gd name="connsiteY2" fmla="*/ 0 h 27398"/>
                  <a:gd name="connsiteX3" fmla="*/ 2995 w 22294"/>
                  <a:gd name="connsiteY3" fmla="*/ 14960 h 27398"/>
                  <a:gd name="connsiteX4" fmla="*/ 2154 w 22294"/>
                  <a:gd name="connsiteY4" fmla="*/ 27398 h 27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8">
                    <a:moveTo>
                      <a:pt x="2154" y="27398"/>
                    </a:moveTo>
                    <a:lnTo>
                      <a:pt x="19299" y="12355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8"/>
                      <a:pt x="-1039" y="23785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627" name="Freeform: Shape 905">
                <a:extLst>
                  <a:ext uri="{FF2B5EF4-FFF2-40B4-BE49-F238E27FC236}">
                    <a16:creationId xmlns:a16="http://schemas.microsoft.com/office/drawing/2014/main" id="{4413E990-5AE5-CD4B-BFE7-6C04FE2DBEAB}"/>
                  </a:ext>
                </a:extLst>
              </p:cNvPr>
              <p:cNvSpPr/>
              <p:nvPr/>
            </p:nvSpPr>
            <p:spPr>
              <a:xfrm>
                <a:off x="2304376" y="3219772"/>
                <a:ext cx="32693" cy="13662"/>
              </a:xfrm>
              <a:custGeom>
                <a:avLst/>
                <a:gdLst>
                  <a:gd name="connsiteX0" fmla="*/ 32693 w 32693"/>
                  <a:gd name="connsiteY0" fmla="*/ 7675 h 13662"/>
                  <a:gd name="connsiteX1" fmla="*/ 11094 w 32693"/>
                  <a:gd name="connsiteY1" fmla="*/ 448 h 13662"/>
                  <a:gd name="connsiteX2" fmla="*/ 0 w 32693"/>
                  <a:gd name="connsiteY2" fmla="*/ 5994 h 13662"/>
                  <a:gd name="connsiteX3" fmla="*/ 21599 w 32693"/>
                  <a:gd name="connsiteY3" fmla="*/ 13222 h 13662"/>
                  <a:gd name="connsiteX4" fmla="*/ 32693 w 32693"/>
                  <a:gd name="connsiteY4" fmla="*/ 7675 h 13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62">
                    <a:moveTo>
                      <a:pt x="32693" y="7675"/>
                    </a:moveTo>
                    <a:lnTo>
                      <a:pt x="11094" y="448"/>
                    </a:lnTo>
                    <a:cubicBezTo>
                      <a:pt x="6555" y="-1065"/>
                      <a:pt x="1513" y="1372"/>
                      <a:pt x="0" y="5994"/>
                    </a:cubicBezTo>
                    <a:lnTo>
                      <a:pt x="21599" y="13222"/>
                    </a:lnTo>
                    <a:cubicBezTo>
                      <a:pt x="26222" y="14735"/>
                      <a:pt x="31180" y="12214"/>
                      <a:pt x="32693" y="7675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628" name="Freeform: Shape 906">
                <a:extLst>
                  <a:ext uri="{FF2B5EF4-FFF2-40B4-BE49-F238E27FC236}">
                    <a16:creationId xmlns:a16="http://schemas.microsoft.com/office/drawing/2014/main" id="{EAC29647-62D3-E849-B578-87C1EEE2BA0D}"/>
                  </a:ext>
                </a:extLst>
              </p:cNvPr>
              <p:cNvSpPr/>
              <p:nvPr/>
            </p:nvSpPr>
            <p:spPr>
              <a:xfrm>
                <a:off x="2293114" y="3228099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2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2"/>
                      <a:pt x="420" y="21872"/>
                      <a:pt x="0" y="33555"/>
                    </a:cubicBezTo>
                    <a:cubicBezTo>
                      <a:pt x="1765" y="35067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629" name="Freeform: Shape 907">
                <a:extLst>
                  <a:ext uri="{FF2B5EF4-FFF2-40B4-BE49-F238E27FC236}">
                    <a16:creationId xmlns:a16="http://schemas.microsoft.com/office/drawing/2014/main" id="{3953C45D-A221-1742-88AF-7FB1194C9A47}"/>
                  </a:ext>
                </a:extLst>
              </p:cNvPr>
              <p:cNvSpPr/>
              <p:nvPr/>
            </p:nvSpPr>
            <p:spPr>
              <a:xfrm>
                <a:off x="2265548" y="3269721"/>
                <a:ext cx="66646" cy="7143"/>
              </a:xfrm>
              <a:custGeom>
                <a:avLst/>
                <a:gdLst>
                  <a:gd name="connsiteX0" fmla="*/ 0 w 66646"/>
                  <a:gd name="connsiteY0" fmla="*/ 0 h 7143"/>
                  <a:gd name="connsiteX1" fmla="*/ 66647 w 66646"/>
                  <a:gd name="connsiteY1" fmla="*/ 0 h 7143"/>
                  <a:gd name="connsiteX2" fmla="*/ 66647 w 66646"/>
                  <a:gd name="connsiteY2" fmla="*/ 7144 h 7143"/>
                  <a:gd name="connsiteX3" fmla="*/ 0 w 66646"/>
                  <a:gd name="connsiteY3" fmla="*/ 7144 h 7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646" h="7143">
                    <a:moveTo>
                      <a:pt x="0" y="0"/>
                    </a:moveTo>
                    <a:lnTo>
                      <a:pt x="66647" y="0"/>
                    </a:lnTo>
                    <a:lnTo>
                      <a:pt x="66647" y="7144"/>
                    </a:lnTo>
                    <a:lnTo>
                      <a:pt x="0" y="7144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</p:grpSp>
        <p:sp>
          <p:nvSpPr>
            <p:cNvPr id="623" name="TextBox 622">
              <a:extLst>
                <a:ext uri="{FF2B5EF4-FFF2-40B4-BE49-F238E27FC236}">
                  <a16:creationId xmlns:a16="http://schemas.microsoft.com/office/drawing/2014/main" id="{CA6AA501-290C-9C43-8EC9-475EBD53CE06}"/>
                </a:ext>
              </a:extLst>
            </p:cNvPr>
            <p:cNvSpPr txBox="1"/>
            <p:nvPr/>
          </p:nvSpPr>
          <p:spPr>
            <a:xfrm>
              <a:off x="823690" y="2940227"/>
              <a:ext cx="617958" cy="9608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>
                <a:lnSpc>
                  <a:spcPct val="96000"/>
                </a:lnSpc>
                <a:spcBef>
                  <a:spcPts val="2400"/>
                </a:spcBef>
              </a:pPr>
              <a:r>
                <a:rPr lang="en-US" sz="867">
                  <a:solidFill>
                    <a:srgbClr val="4099DA"/>
                  </a:solidFill>
                </a:rPr>
                <a:t>Booltiagh 1 &amp; 2</a:t>
              </a:r>
            </a:p>
          </p:txBody>
        </p:sp>
      </p:grpSp>
      <p:grpSp>
        <p:nvGrpSpPr>
          <p:cNvPr id="630" name="Group 629">
            <a:extLst>
              <a:ext uri="{FF2B5EF4-FFF2-40B4-BE49-F238E27FC236}">
                <a16:creationId xmlns:a16="http://schemas.microsoft.com/office/drawing/2014/main" id="{539799F2-7C4B-BB43-BE86-3B483EF70E48}"/>
              </a:ext>
            </a:extLst>
          </p:cNvPr>
          <p:cNvGrpSpPr>
            <a:grpSpLocks/>
          </p:cNvGrpSpPr>
          <p:nvPr/>
        </p:nvGrpSpPr>
        <p:grpSpPr>
          <a:xfrm>
            <a:off x="3546660" y="3980276"/>
            <a:ext cx="130864" cy="174373"/>
            <a:chOff x="2265548" y="3181564"/>
            <a:chExt cx="71521" cy="95300"/>
          </a:xfrm>
          <a:solidFill>
            <a:srgbClr val="4099DA"/>
          </a:solidFill>
        </p:grpSpPr>
        <p:sp>
          <p:nvSpPr>
            <p:cNvPr id="631" name="Freeform: Shape 902">
              <a:extLst>
                <a:ext uri="{FF2B5EF4-FFF2-40B4-BE49-F238E27FC236}">
                  <a16:creationId xmlns:a16="http://schemas.microsoft.com/office/drawing/2014/main" id="{17F2724A-0026-3D4F-B415-0E162C44D6CA}"/>
                </a:ext>
              </a:extLst>
            </p:cNvPr>
            <p:cNvSpPr/>
            <p:nvPr/>
          </p:nvSpPr>
          <p:spPr>
            <a:xfrm>
              <a:off x="2294459" y="3214588"/>
              <a:ext cx="8908" cy="8909"/>
            </a:xfrm>
            <a:custGeom>
              <a:avLst/>
              <a:gdLst>
                <a:gd name="connsiteX0" fmla="*/ 8909 w 8908"/>
                <a:gd name="connsiteY0" fmla="*/ 4455 h 8909"/>
                <a:gd name="connsiteX1" fmla="*/ 4454 w 8908"/>
                <a:gd name="connsiteY1" fmla="*/ 8909 h 8909"/>
                <a:gd name="connsiteX2" fmla="*/ 0 w 8908"/>
                <a:gd name="connsiteY2" fmla="*/ 4455 h 8909"/>
                <a:gd name="connsiteX3" fmla="*/ 4454 w 8908"/>
                <a:gd name="connsiteY3" fmla="*/ 0 h 8909"/>
                <a:gd name="connsiteX4" fmla="*/ 8909 w 8908"/>
                <a:gd name="connsiteY4" fmla="*/ 4455 h 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08" h="8909">
                  <a:moveTo>
                    <a:pt x="8909" y="4455"/>
                  </a:moveTo>
                  <a:cubicBezTo>
                    <a:pt x="8909" y="6892"/>
                    <a:pt x="6892" y="8909"/>
                    <a:pt x="4454" y="8909"/>
                  </a:cubicBezTo>
                  <a:cubicBezTo>
                    <a:pt x="2017" y="8909"/>
                    <a:pt x="0" y="6892"/>
                    <a:pt x="0" y="4455"/>
                  </a:cubicBezTo>
                  <a:cubicBezTo>
                    <a:pt x="0" y="1933"/>
                    <a:pt x="2017" y="0"/>
                    <a:pt x="4454" y="0"/>
                  </a:cubicBezTo>
                  <a:cubicBezTo>
                    <a:pt x="6892" y="0"/>
                    <a:pt x="8909" y="2017"/>
                    <a:pt x="8909" y="4455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67"/>
            </a:p>
          </p:txBody>
        </p:sp>
        <p:sp>
          <p:nvSpPr>
            <p:cNvPr id="632" name="Freeform: Shape 903">
              <a:extLst>
                <a:ext uri="{FF2B5EF4-FFF2-40B4-BE49-F238E27FC236}">
                  <a16:creationId xmlns:a16="http://schemas.microsoft.com/office/drawing/2014/main" id="{E16608C7-A6B4-FF4F-B7CC-BB4346F0AF01}"/>
                </a:ext>
              </a:extLst>
            </p:cNvPr>
            <p:cNvSpPr/>
            <p:nvPr/>
          </p:nvSpPr>
          <p:spPr>
            <a:xfrm>
              <a:off x="2287231" y="3181564"/>
              <a:ext cx="14623" cy="29572"/>
            </a:xfrm>
            <a:custGeom>
              <a:avLst/>
              <a:gdLst>
                <a:gd name="connsiteX0" fmla="*/ 0 w 14623"/>
                <a:gd name="connsiteY0" fmla="*/ 163 h 29572"/>
                <a:gd name="connsiteX1" fmla="*/ 4370 w 14623"/>
                <a:gd name="connsiteY1" fmla="*/ 22518 h 29572"/>
                <a:gd name="connsiteX2" fmla="*/ 14624 w 14623"/>
                <a:gd name="connsiteY2" fmla="*/ 29410 h 29572"/>
                <a:gd name="connsiteX3" fmla="*/ 10253 w 14623"/>
                <a:gd name="connsiteY3" fmla="*/ 7054 h 29572"/>
                <a:gd name="connsiteX4" fmla="*/ 0 w 14623"/>
                <a:gd name="connsiteY4" fmla="*/ 163 h 29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23" h="29572">
                  <a:moveTo>
                    <a:pt x="0" y="163"/>
                  </a:moveTo>
                  <a:lnTo>
                    <a:pt x="4370" y="22518"/>
                  </a:lnTo>
                  <a:cubicBezTo>
                    <a:pt x="5295" y="27225"/>
                    <a:pt x="9917" y="30335"/>
                    <a:pt x="14624" y="29410"/>
                  </a:cubicBezTo>
                  <a:lnTo>
                    <a:pt x="10253" y="7054"/>
                  </a:lnTo>
                  <a:cubicBezTo>
                    <a:pt x="9413" y="2348"/>
                    <a:pt x="4791" y="-762"/>
                    <a:pt x="0" y="163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67"/>
            </a:p>
          </p:txBody>
        </p:sp>
        <p:sp>
          <p:nvSpPr>
            <p:cNvPr id="633" name="Freeform: Shape 904">
              <a:extLst>
                <a:ext uri="{FF2B5EF4-FFF2-40B4-BE49-F238E27FC236}">
                  <a16:creationId xmlns:a16="http://schemas.microsoft.com/office/drawing/2014/main" id="{FB54386F-D54C-4349-856D-AB336A0E9BAB}"/>
                </a:ext>
              </a:extLst>
            </p:cNvPr>
            <p:cNvSpPr/>
            <p:nvPr/>
          </p:nvSpPr>
          <p:spPr>
            <a:xfrm>
              <a:off x="2270285" y="3220471"/>
              <a:ext cx="22294" cy="27398"/>
            </a:xfrm>
            <a:custGeom>
              <a:avLst/>
              <a:gdLst>
                <a:gd name="connsiteX0" fmla="*/ 2154 w 22294"/>
                <a:gd name="connsiteY0" fmla="*/ 27398 h 27398"/>
                <a:gd name="connsiteX1" fmla="*/ 19299 w 22294"/>
                <a:gd name="connsiteY1" fmla="*/ 12355 h 27398"/>
                <a:gd name="connsiteX2" fmla="*/ 20140 w 22294"/>
                <a:gd name="connsiteY2" fmla="*/ 0 h 27398"/>
                <a:gd name="connsiteX3" fmla="*/ 2995 w 22294"/>
                <a:gd name="connsiteY3" fmla="*/ 14960 h 27398"/>
                <a:gd name="connsiteX4" fmla="*/ 2154 w 22294"/>
                <a:gd name="connsiteY4" fmla="*/ 27398 h 27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294" h="27398">
                  <a:moveTo>
                    <a:pt x="2154" y="27398"/>
                  </a:moveTo>
                  <a:lnTo>
                    <a:pt x="19299" y="12355"/>
                  </a:lnTo>
                  <a:cubicBezTo>
                    <a:pt x="22913" y="9161"/>
                    <a:pt x="23334" y="3614"/>
                    <a:pt x="20140" y="0"/>
                  </a:cubicBezTo>
                  <a:lnTo>
                    <a:pt x="2995" y="14960"/>
                  </a:lnTo>
                  <a:cubicBezTo>
                    <a:pt x="-619" y="18238"/>
                    <a:pt x="-1039" y="23785"/>
                    <a:pt x="2154" y="27398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67"/>
            </a:p>
          </p:txBody>
        </p:sp>
        <p:sp>
          <p:nvSpPr>
            <p:cNvPr id="634" name="Freeform: Shape 905">
              <a:extLst>
                <a:ext uri="{FF2B5EF4-FFF2-40B4-BE49-F238E27FC236}">
                  <a16:creationId xmlns:a16="http://schemas.microsoft.com/office/drawing/2014/main" id="{840AB12C-252C-114C-855E-2D35C8A53F15}"/>
                </a:ext>
              </a:extLst>
            </p:cNvPr>
            <p:cNvSpPr/>
            <p:nvPr/>
          </p:nvSpPr>
          <p:spPr>
            <a:xfrm>
              <a:off x="2304376" y="3219772"/>
              <a:ext cx="32693" cy="13662"/>
            </a:xfrm>
            <a:custGeom>
              <a:avLst/>
              <a:gdLst>
                <a:gd name="connsiteX0" fmla="*/ 32693 w 32693"/>
                <a:gd name="connsiteY0" fmla="*/ 7675 h 13662"/>
                <a:gd name="connsiteX1" fmla="*/ 11094 w 32693"/>
                <a:gd name="connsiteY1" fmla="*/ 448 h 13662"/>
                <a:gd name="connsiteX2" fmla="*/ 0 w 32693"/>
                <a:gd name="connsiteY2" fmla="*/ 5994 h 13662"/>
                <a:gd name="connsiteX3" fmla="*/ 21599 w 32693"/>
                <a:gd name="connsiteY3" fmla="*/ 13222 h 13662"/>
                <a:gd name="connsiteX4" fmla="*/ 32693 w 32693"/>
                <a:gd name="connsiteY4" fmla="*/ 7675 h 13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693" h="13662">
                  <a:moveTo>
                    <a:pt x="32693" y="7675"/>
                  </a:moveTo>
                  <a:lnTo>
                    <a:pt x="11094" y="448"/>
                  </a:lnTo>
                  <a:cubicBezTo>
                    <a:pt x="6555" y="-1065"/>
                    <a:pt x="1513" y="1372"/>
                    <a:pt x="0" y="5994"/>
                  </a:cubicBezTo>
                  <a:lnTo>
                    <a:pt x="21599" y="13222"/>
                  </a:lnTo>
                  <a:cubicBezTo>
                    <a:pt x="26222" y="14735"/>
                    <a:pt x="31180" y="12214"/>
                    <a:pt x="32693" y="7675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67"/>
            </a:p>
          </p:txBody>
        </p:sp>
        <p:sp>
          <p:nvSpPr>
            <p:cNvPr id="635" name="Freeform: Shape 906">
              <a:extLst>
                <a:ext uri="{FF2B5EF4-FFF2-40B4-BE49-F238E27FC236}">
                  <a16:creationId xmlns:a16="http://schemas.microsoft.com/office/drawing/2014/main" id="{21C78061-029C-3C49-B065-1160165986EE}"/>
                </a:ext>
              </a:extLst>
            </p:cNvPr>
            <p:cNvSpPr/>
            <p:nvPr/>
          </p:nvSpPr>
          <p:spPr>
            <a:xfrm>
              <a:off x="2293114" y="3228099"/>
              <a:ext cx="11514" cy="36075"/>
            </a:xfrm>
            <a:custGeom>
              <a:avLst/>
              <a:gdLst>
                <a:gd name="connsiteX0" fmla="*/ 5799 w 11514"/>
                <a:gd name="connsiteY0" fmla="*/ 36076 h 36075"/>
                <a:gd name="connsiteX1" fmla="*/ 11514 w 11514"/>
                <a:gd name="connsiteY1" fmla="*/ 33807 h 36075"/>
                <a:gd name="connsiteX2" fmla="*/ 9497 w 11514"/>
                <a:gd name="connsiteY2" fmla="*/ 3467 h 36075"/>
                <a:gd name="connsiteX3" fmla="*/ 2017 w 11514"/>
                <a:gd name="connsiteY3" fmla="*/ 3467 h 36075"/>
                <a:gd name="connsiteX4" fmla="*/ 0 w 11514"/>
                <a:gd name="connsiteY4" fmla="*/ 33555 h 36075"/>
                <a:gd name="connsiteX5" fmla="*/ 5799 w 11514"/>
                <a:gd name="connsiteY5" fmla="*/ 36076 h 3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514" h="36075">
                  <a:moveTo>
                    <a:pt x="5799" y="36076"/>
                  </a:moveTo>
                  <a:cubicBezTo>
                    <a:pt x="7732" y="36076"/>
                    <a:pt x="9749" y="35320"/>
                    <a:pt x="11514" y="33807"/>
                  </a:cubicBezTo>
                  <a:cubicBezTo>
                    <a:pt x="11094" y="22041"/>
                    <a:pt x="10253" y="6492"/>
                    <a:pt x="9497" y="3467"/>
                  </a:cubicBezTo>
                  <a:cubicBezTo>
                    <a:pt x="8320" y="-1156"/>
                    <a:pt x="3194" y="-1156"/>
                    <a:pt x="2017" y="3467"/>
                  </a:cubicBezTo>
                  <a:cubicBezTo>
                    <a:pt x="1261" y="6492"/>
                    <a:pt x="420" y="21872"/>
                    <a:pt x="0" y="33555"/>
                  </a:cubicBezTo>
                  <a:cubicBezTo>
                    <a:pt x="1765" y="35067"/>
                    <a:pt x="3782" y="36076"/>
                    <a:pt x="5799" y="36076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67"/>
            </a:p>
          </p:txBody>
        </p:sp>
        <p:sp>
          <p:nvSpPr>
            <p:cNvPr id="636" name="Freeform: Shape 907">
              <a:extLst>
                <a:ext uri="{FF2B5EF4-FFF2-40B4-BE49-F238E27FC236}">
                  <a16:creationId xmlns:a16="http://schemas.microsoft.com/office/drawing/2014/main" id="{6E8F9679-1D17-7A4E-BDDB-4EFF1AC2995D}"/>
                </a:ext>
              </a:extLst>
            </p:cNvPr>
            <p:cNvSpPr/>
            <p:nvPr/>
          </p:nvSpPr>
          <p:spPr>
            <a:xfrm>
              <a:off x="2265548" y="3269721"/>
              <a:ext cx="66646" cy="7143"/>
            </a:xfrm>
            <a:custGeom>
              <a:avLst/>
              <a:gdLst>
                <a:gd name="connsiteX0" fmla="*/ 0 w 66646"/>
                <a:gd name="connsiteY0" fmla="*/ 0 h 7143"/>
                <a:gd name="connsiteX1" fmla="*/ 66647 w 66646"/>
                <a:gd name="connsiteY1" fmla="*/ 0 h 7143"/>
                <a:gd name="connsiteX2" fmla="*/ 66647 w 66646"/>
                <a:gd name="connsiteY2" fmla="*/ 7144 h 7143"/>
                <a:gd name="connsiteX3" fmla="*/ 0 w 66646"/>
                <a:gd name="connsiteY3" fmla="*/ 7144 h 7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46" h="7143">
                  <a:moveTo>
                    <a:pt x="0" y="0"/>
                  </a:moveTo>
                  <a:lnTo>
                    <a:pt x="66647" y="0"/>
                  </a:lnTo>
                  <a:lnTo>
                    <a:pt x="66647" y="7144"/>
                  </a:lnTo>
                  <a:lnTo>
                    <a:pt x="0" y="7144"/>
                  </a:lnTo>
                  <a:close/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67"/>
            </a:p>
          </p:txBody>
        </p:sp>
      </p:grpSp>
      <p:grpSp>
        <p:nvGrpSpPr>
          <p:cNvPr id="637" name="Group 636">
            <a:extLst>
              <a:ext uri="{FF2B5EF4-FFF2-40B4-BE49-F238E27FC236}">
                <a16:creationId xmlns:a16="http://schemas.microsoft.com/office/drawing/2014/main" id="{CB1BB596-CE4B-4249-921F-2F035ADFA80C}"/>
              </a:ext>
            </a:extLst>
          </p:cNvPr>
          <p:cNvGrpSpPr>
            <a:grpSpLocks/>
          </p:cNvGrpSpPr>
          <p:nvPr/>
        </p:nvGrpSpPr>
        <p:grpSpPr>
          <a:xfrm>
            <a:off x="4394139" y="4105008"/>
            <a:ext cx="892766" cy="174373"/>
            <a:chOff x="1499770" y="2920466"/>
            <a:chExt cx="669575" cy="130780"/>
          </a:xfrm>
        </p:grpSpPr>
        <p:grpSp>
          <p:nvGrpSpPr>
            <p:cNvPr id="638" name="Group 637">
              <a:extLst>
                <a:ext uri="{FF2B5EF4-FFF2-40B4-BE49-F238E27FC236}">
                  <a16:creationId xmlns:a16="http://schemas.microsoft.com/office/drawing/2014/main" id="{D3F335C0-571B-D84D-9BF9-66741BD25975}"/>
                </a:ext>
              </a:extLst>
            </p:cNvPr>
            <p:cNvGrpSpPr/>
            <p:nvPr/>
          </p:nvGrpSpPr>
          <p:grpSpPr>
            <a:xfrm>
              <a:off x="1499770" y="2920466"/>
              <a:ext cx="98148" cy="130780"/>
              <a:chOff x="2265548" y="3181564"/>
              <a:chExt cx="71521" cy="95300"/>
            </a:xfrm>
            <a:solidFill>
              <a:srgbClr val="4099DA"/>
            </a:solidFill>
          </p:grpSpPr>
          <p:sp>
            <p:nvSpPr>
              <p:cNvPr id="640" name="Freeform: Shape 902">
                <a:extLst>
                  <a:ext uri="{FF2B5EF4-FFF2-40B4-BE49-F238E27FC236}">
                    <a16:creationId xmlns:a16="http://schemas.microsoft.com/office/drawing/2014/main" id="{DE077578-50EE-374B-BB2C-6D2602E8ECA9}"/>
                  </a:ext>
                </a:extLst>
              </p:cNvPr>
              <p:cNvSpPr/>
              <p:nvPr/>
            </p:nvSpPr>
            <p:spPr>
              <a:xfrm>
                <a:off x="2294459" y="3214588"/>
                <a:ext cx="8908" cy="8909"/>
              </a:xfrm>
              <a:custGeom>
                <a:avLst/>
                <a:gdLst>
                  <a:gd name="connsiteX0" fmla="*/ 8909 w 8908"/>
                  <a:gd name="connsiteY0" fmla="*/ 4455 h 8909"/>
                  <a:gd name="connsiteX1" fmla="*/ 4454 w 8908"/>
                  <a:gd name="connsiteY1" fmla="*/ 8909 h 8909"/>
                  <a:gd name="connsiteX2" fmla="*/ 0 w 8908"/>
                  <a:gd name="connsiteY2" fmla="*/ 4455 h 8909"/>
                  <a:gd name="connsiteX3" fmla="*/ 4454 w 8908"/>
                  <a:gd name="connsiteY3" fmla="*/ 0 h 8909"/>
                  <a:gd name="connsiteX4" fmla="*/ 8909 w 8908"/>
                  <a:gd name="connsiteY4" fmla="*/ 4455 h 8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9">
                    <a:moveTo>
                      <a:pt x="8909" y="4455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5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2017"/>
                      <a:pt x="8909" y="4455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641" name="Freeform: Shape 903">
                <a:extLst>
                  <a:ext uri="{FF2B5EF4-FFF2-40B4-BE49-F238E27FC236}">
                    <a16:creationId xmlns:a16="http://schemas.microsoft.com/office/drawing/2014/main" id="{B8153627-92E5-0948-BDFD-DC921E472217}"/>
                  </a:ext>
                </a:extLst>
              </p:cNvPr>
              <p:cNvSpPr/>
              <p:nvPr/>
            </p:nvSpPr>
            <p:spPr>
              <a:xfrm>
                <a:off x="2287231" y="3181564"/>
                <a:ext cx="14623" cy="29572"/>
              </a:xfrm>
              <a:custGeom>
                <a:avLst/>
                <a:gdLst>
                  <a:gd name="connsiteX0" fmla="*/ 0 w 14623"/>
                  <a:gd name="connsiteY0" fmla="*/ 163 h 29572"/>
                  <a:gd name="connsiteX1" fmla="*/ 4370 w 14623"/>
                  <a:gd name="connsiteY1" fmla="*/ 22518 h 29572"/>
                  <a:gd name="connsiteX2" fmla="*/ 14624 w 14623"/>
                  <a:gd name="connsiteY2" fmla="*/ 29410 h 29572"/>
                  <a:gd name="connsiteX3" fmla="*/ 10253 w 14623"/>
                  <a:gd name="connsiteY3" fmla="*/ 7054 h 29572"/>
                  <a:gd name="connsiteX4" fmla="*/ 0 w 14623"/>
                  <a:gd name="connsiteY4" fmla="*/ 163 h 29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2">
                    <a:moveTo>
                      <a:pt x="0" y="163"/>
                    </a:moveTo>
                    <a:lnTo>
                      <a:pt x="4370" y="22518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642" name="Freeform: Shape 904">
                <a:extLst>
                  <a:ext uri="{FF2B5EF4-FFF2-40B4-BE49-F238E27FC236}">
                    <a16:creationId xmlns:a16="http://schemas.microsoft.com/office/drawing/2014/main" id="{5B66280C-4BEE-E243-8089-E028E799AFE0}"/>
                  </a:ext>
                </a:extLst>
              </p:cNvPr>
              <p:cNvSpPr/>
              <p:nvPr/>
            </p:nvSpPr>
            <p:spPr>
              <a:xfrm>
                <a:off x="2270285" y="3220471"/>
                <a:ext cx="22294" cy="27398"/>
              </a:xfrm>
              <a:custGeom>
                <a:avLst/>
                <a:gdLst>
                  <a:gd name="connsiteX0" fmla="*/ 2154 w 22294"/>
                  <a:gd name="connsiteY0" fmla="*/ 27398 h 27398"/>
                  <a:gd name="connsiteX1" fmla="*/ 19299 w 22294"/>
                  <a:gd name="connsiteY1" fmla="*/ 12355 h 27398"/>
                  <a:gd name="connsiteX2" fmla="*/ 20140 w 22294"/>
                  <a:gd name="connsiteY2" fmla="*/ 0 h 27398"/>
                  <a:gd name="connsiteX3" fmla="*/ 2995 w 22294"/>
                  <a:gd name="connsiteY3" fmla="*/ 14960 h 27398"/>
                  <a:gd name="connsiteX4" fmla="*/ 2154 w 22294"/>
                  <a:gd name="connsiteY4" fmla="*/ 27398 h 27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8">
                    <a:moveTo>
                      <a:pt x="2154" y="27398"/>
                    </a:moveTo>
                    <a:lnTo>
                      <a:pt x="19299" y="12355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8"/>
                      <a:pt x="-1039" y="23785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643" name="Freeform: Shape 905">
                <a:extLst>
                  <a:ext uri="{FF2B5EF4-FFF2-40B4-BE49-F238E27FC236}">
                    <a16:creationId xmlns:a16="http://schemas.microsoft.com/office/drawing/2014/main" id="{A7B41049-DACA-1748-8096-F9CA2E30344B}"/>
                  </a:ext>
                </a:extLst>
              </p:cNvPr>
              <p:cNvSpPr/>
              <p:nvPr/>
            </p:nvSpPr>
            <p:spPr>
              <a:xfrm>
                <a:off x="2304376" y="3219772"/>
                <a:ext cx="32693" cy="13662"/>
              </a:xfrm>
              <a:custGeom>
                <a:avLst/>
                <a:gdLst>
                  <a:gd name="connsiteX0" fmla="*/ 32693 w 32693"/>
                  <a:gd name="connsiteY0" fmla="*/ 7675 h 13662"/>
                  <a:gd name="connsiteX1" fmla="*/ 11094 w 32693"/>
                  <a:gd name="connsiteY1" fmla="*/ 448 h 13662"/>
                  <a:gd name="connsiteX2" fmla="*/ 0 w 32693"/>
                  <a:gd name="connsiteY2" fmla="*/ 5994 h 13662"/>
                  <a:gd name="connsiteX3" fmla="*/ 21599 w 32693"/>
                  <a:gd name="connsiteY3" fmla="*/ 13222 h 13662"/>
                  <a:gd name="connsiteX4" fmla="*/ 32693 w 32693"/>
                  <a:gd name="connsiteY4" fmla="*/ 7675 h 13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62">
                    <a:moveTo>
                      <a:pt x="32693" y="7675"/>
                    </a:moveTo>
                    <a:lnTo>
                      <a:pt x="11094" y="448"/>
                    </a:lnTo>
                    <a:cubicBezTo>
                      <a:pt x="6555" y="-1065"/>
                      <a:pt x="1513" y="1372"/>
                      <a:pt x="0" y="5994"/>
                    </a:cubicBezTo>
                    <a:lnTo>
                      <a:pt x="21599" y="13222"/>
                    </a:lnTo>
                    <a:cubicBezTo>
                      <a:pt x="26222" y="14735"/>
                      <a:pt x="31180" y="12214"/>
                      <a:pt x="32693" y="7675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644" name="Freeform: Shape 906">
                <a:extLst>
                  <a:ext uri="{FF2B5EF4-FFF2-40B4-BE49-F238E27FC236}">
                    <a16:creationId xmlns:a16="http://schemas.microsoft.com/office/drawing/2014/main" id="{65870420-931B-8042-860A-D5576FB5DE2D}"/>
                  </a:ext>
                </a:extLst>
              </p:cNvPr>
              <p:cNvSpPr/>
              <p:nvPr/>
            </p:nvSpPr>
            <p:spPr>
              <a:xfrm>
                <a:off x="2293114" y="3228099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2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2"/>
                      <a:pt x="420" y="21872"/>
                      <a:pt x="0" y="33555"/>
                    </a:cubicBezTo>
                    <a:cubicBezTo>
                      <a:pt x="1765" y="35067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645" name="Freeform: Shape 907">
                <a:extLst>
                  <a:ext uri="{FF2B5EF4-FFF2-40B4-BE49-F238E27FC236}">
                    <a16:creationId xmlns:a16="http://schemas.microsoft.com/office/drawing/2014/main" id="{178FE100-3722-DE4E-B8C3-97C685AA9533}"/>
                  </a:ext>
                </a:extLst>
              </p:cNvPr>
              <p:cNvSpPr/>
              <p:nvPr/>
            </p:nvSpPr>
            <p:spPr>
              <a:xfrm>
                <a:off x="2265548" y="3269721"/>
                <a:ext cx="66646" cy="7143"/>
              </a:xfrm>
              <a:custGeom>
                <a:avLst/>
                <a:gdLst>
                  <a:gd name="connsiteX0" fmla="*/ 0 w 66646"/>
                  <a:gd name="connsiteY0" fmla="*/ 0 h 7143"/>
                  <a:gd name="connsiteX1" fmla="*/ 66647 w 66646"/>
                  <a:gd name="connsiteY1" fmla="*/ 0 h 7143"/>
                  <a:gd name="connsiteX2" fmla="*/ 66647 w 66646"/>
                  <a:gd name="connsiteY2" fmla="*/ 7144 h 7143"/>
                  <a:gd name="connsiteX3" fmla="*/ 0 w 66646"/>
                  <a:gd name="connsiteY3" fmla="*/ 7144 h 7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646" h="7143">
                    <a:moveTo>
                      <a:pt x="0" y="0"/>
                    </a:moveTo>
                    <a:lnTo>
                      <a:pt x="66647" y="0"/>
                    </a:lnTo>
                    <a:lnTo>
                      <a:pt x="66647" y="7144"/>
                    </a:lnTo>
                    <a:lnTo>
                      <a:pt x="0" y="7144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</p:grpSp>
        <p:sp>
          <p:nvSpPr>
            <p:cNvPr id="639" name="TextBox 638">
              <a:extLst>
                <a:ext uri="{FF2B5EF4-FFF2-40B4-BE49-F238E27FC236}">
                  <a16:creationId xmlns:a16="http://schemas.microsoft.com/office/drawing/2014/main" id="{23D94550-E446-BB4D-A713-7A5E4CAD8164}"/>
                </a:ext>
              </a:extLst>
            </p:cNvPr>
            <p:cNvSpPr txBox="1"/>
            <p:nvPr/>
          </p:nvSpPr>
          <p:spPr>
            <a:xfrm>
              <a:off x="1648769" y="2940227"/>
              <a:ext cx="520576" cy="9608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2400"/>
                </a:spcBef>
              </a:pPr>
              <a:r>
                <a:rPr lang="en-US" sz="867">
                  <a:solidFill>
                    <a:srgbClr val="4099DA"/>
                  </a:solidFill>
                </a:rPr>
                <a:t>Lisheen 1 &amp; 2</a:t>
              </a:r>
            </a:p>
          </p:txBody>
        </p:sp>
      </p:grpSp>
      <p:grpSp>
        <p:nvGrpSpPr>
          <p:cNvPr id="646" name="Group 645">
            <a:extLst>
              <a:ext uri="{FF2B5EF4-FFF2-40B4-BE49-F238E27FC236}">
                <a16:creationId xmlns:a16="http://schemas.microsoft.com/office/drawing/2014/main" id="{35A1DF8E-B945-D14A-9E47-FED34D9C295E}"/>
              </a:ext>
            </a:extLst>
          </p:cNvPr>
          <p:cNvGrpSpPr>
            <a:grpSpLocks/>
          </p:cNvGrpSpPr>
          <p:nvPr/>
        </p:nvGrpSpPr>
        <p:grpSpPr>
          <a:xfrm>
            <a:off x="4252396" y="4105740"/>
            <a:ext cx="130864" cy="174373"/>
            <a:chOff x="2265548" y="3181564"/>
            <a:chExt cx="71521" cy="95300"/>
          </a:xfrm>
          <a:solidFill>
            <a:srgbClr val="4099DA"/>
          </a:solidFill>
        </p:grpSpPr>
        <p:sp>
          <p:nvSpPr>
            <p:cNvPr id="647" name="Freeform: Shape 902">
              <a:extLst>
                <a:ext uri="{FF2B5EF4-FFF2-40B4-BE49-F238E27FC236}">
                  <a16:creationId xmlns:a16="http://schemas.microsoft.com/office/drawing/2014/main" id="{9C5FDF36-985E-3148-B8BE-04661F6C21DB}"/>
                </a:ext>
              </a:extLst>
            </p:cNvPr>
            <p:cNvSpPr/>
            <p:nvPr/>
          </p:nvSpPr>
          <p:spPr>
            <a:xfrm>
              <a:off x="2294459" y="3214588"/>
              <a:ext cx="8908" cy="8909"/>
            </a:xfrm>
            <a:custGeom>
              <a:avLst/>
              <a:gdLst>
                <a:gd name="connsiteX0" fmla="*/ 8909 w 8908"/>
                <a:gd name="connsiteY0" fmla="*/ 4455 h 8909"/>
                <a:gd name="connsiteX1" fmla="*/ 4454 w 8908"/>
                <a:gd name="connsiteY1" fmla="*/ 8909 h 8909"/>
                <a:gd name="connsiteX2" fmla="*/ 0 w 8908"/>
                <a:gd name="connsiteY2" fmla="*/ 4455 h 8909"/>
                <a:gd name="connsiteX3" fmla="*/ 4454 w 8908"/>
                <a:gd name="connsiteY3" fmla="*/ 0 h 8909"/>
                <a:gd name="connsiteX4" fmla="*/ 8909 w 8908"/>
                <a:gd name="connsiteY4" fmla="*/ 4455 h 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08" h="8909">
                  <a:moveTo>
                    <a:pt x="8909" y="4455"/>
                  </a:moveTo>
                  <a:cubicBezTo>
                    <a:pt x="8909" y="6892"/>
                    <a:pt x="6892" y="8909"/>
                    <a:pt x="4454" y="8909"/>
                  </a:cubicBezTo>
                  <a:cubicBezTo>
                    <a:pt x="2017" y="8909"/>
                    <a:pt x="0" y="6892"/>
                    <a:pt x="0" y="4455"/>
                  </a:cubicBezTo>
                  <a:cubicBezTo>
                    <a:pt x="0" y="1933"/>
                    <a:pt x="2017" y="0"/>
                    <a:pt x="4454" y="0"/>
                  </a:cubicBezTo>
                  <a:cubicBezTo>
                    <a:pt x="6892" y="0"/>
                    <a:pt x="8909" y="2017"/>
                    <a:pt x="8909" y="4455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67"/>
            </a:p>
          </p:txBody>
        </p:sp>
        <p:sp>
          <p:nvSpPr>
            <p:cNvPr id="648" name="Freeform: Shape 903">
              <a:extLst>
                <a:ext uri="{FF2B5EF4-FFF2-40B4-BE49-F238E27FC236}">
                  <a16:creationId xmlns:a16="http://schemas.microsoft.com/office/drawing/2014/main" id="{C078CC05-98BE-A74D-B1B4-9E6C8243BC05}"/>
                </a:ext>
              </a:extLst>
            </p:cNvPr>
            <p:cNvSpPr/>
            <p:nvPr/>
          </p:nvSpPr>
          <p:spPr>
            <a:xfrm>
              <a:off x="2287231" y="3181564"/>
              <a:ext cx="14623" cy="29572"/>
            </a:xfrm>
            <a:custGeom>
              <a:avLst/>
              <a:gdLst>
                <a:gd name="connsiteX0" fmla="*/ 0 w 14623"/>
                <a:gd name="connsiteY0" fmla="*/ 163 h 29572"/>
                <a:gd name="connsiteX1" fmla="*/ 4370 w 14623"/>
                <a:gd name="connsiteY1" fmla="*/ 22518 h 29572"/>
                <a:gd name="connsiteX2" fmla="*/ 14624 w 14623"/>
                <a:gd name="connsiteY2" fmla="*/ 29410 h 29572"/>
                <a:gd name="connsiteX3" fmla="*/ 10253 w 14623"/>
                <a:gd name="connsiteY3" fmla="*/ 7054 h 29572"/>
                <a:gd name="connsiteX4" fmla="*/ 0 w 14623"/>
                <a:gd name="connsiteY4" fmla="*/ 163 h 29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23" h="29572">
                  <a:moveTo>
                    <a:pt x="0" y="163"/>
                  </a:moveTo>
                  <a:lnTo>
                    <a:pt x="4370" y="22518"/>
                  </a:lnTo>
                  <a:cubicBezTo>
                    <a:pt x="5295" y="27225"/>
                    <a:pt x="9917" y="30335"/>
                    <a:pt x="14624" y="29410"/>
                  </a:cubicBezTo>
                  <a:lnTo>
                    <a:pt x="10253" y="7054"/>
                  </a:lnTo>
                  <a:cubicBezTo>
                    <a:pt x="9413" y="2348"/>
                    <a:pt x="4791" y="-762"/>
                    <a:pt x="0" y="163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67"/>
            </a:p>
          </p:txBody>
        </p:sp>
        <p:sp>
          <p:nvSpPr>
            <p:cNvPr id="649" name="Freeform: Shape 904">
              <a:extLst>
                <a:ext uri="{FF2B5EF4-FFF2-40B4-BE49-F238E27FC236}">
                  <a16:creationId xmlns:a16="http://schemas.microsoft.com/office/drawing/2014/main" id="{25B4B577-32E8-5D4D-8D5C-674F233CCD39}"/>
                </a:ext>
              </a:extLst>
            </p:cNvPr>
            <p:cNvSpPr/>
            <p:nvPr/>
          </p:nvSpPr>
          <p:spPr>
            <a:xfrm>
              <a:off x="2270285" y="3220471"/>
              <a:ext cx="22294" cy="27398"/>
            </a:xfrm>
            <a:custGeom>
              <a:avLst/>
              <a:gdLst>
                <a:gd name="connsiteX0" fmla="*/ 2154 w 22294"/>
                <a:gd name="connsiteY0" fmla="*/ 27398 h 27398"/>
                <a:gd name="connsiteX1" fmla="*/ 19299 w 22294"/>
                <a:gd name="connsiteY1" fmla="*/ 12355 h 27398"/>
                <a:gd name="connsiteX2" fmla="*/ 20140 w 22294"/>
                <a:gd name="connsiteY2" fmla="*/ 0 h 27398"/>
                <a:gd name="connsiteX3" fmla="*/ 2995 w 22294"/>
                <a:gd name="connsiteY3" fmla="*/ 14960 h 27398"/>
                <a:gd name="connsiteX4" fmla="*/ 2154 w 22294"/>
                <a:gd name="connsiteY4" fmla="*/ 27398 h 27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294" h="27398">
                  <a:moveTo>
                    <a:pt x="2154" y="27398"/>
                  </a:moveTo>
                  <a:lnTo>
                    <a:pt x="19299" y="12355"/>
                  </a:lnTo>
                  <a:cubicBezTo>
                    <a:pt x="22913" y="9161"/>
                    <a:pt x="23334" y="3614"/>
                    <a:pt x="20140" y="0"/>
                  </a:cubicBezTo>
                  <a:lnTo>
                    <a:pt x="2995" y="14960"/>
                  </a:lnTo>
                  <a:cubicBezTo>
                    <a:pt x="-619" y="18238"/>
                    <a:pt x="-1039" y="23785"/>
                    <a:pt x="2154" y="27398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67"/>
            </a:p>
          </p:txBody>
        </p:sp>
        <p:sp>
          <p:nvSpPr>
            <p:cNvPr id="650" name="Freeform: Shape 905">
              <a:extLst>
                <a:ext uri="{FF2B5EF4-FFF2-40B4-BE49-F238E27FC236}">
                  <a16:creationId xmlns:a16="http://schemas.microsoft.com/office/drawing/2014/main" id="{2B5D66A7-D760-B643-A4ED-7CEB3E317421}"/>
                </a:ext>
              </a:extLst>
            </p:cNvPr>
            <p:cNvSpPr/>
            <p:nvPr/>
          </p:nvSpPr>
          <p:spPr>
            <a:xfrm>
              <a:off x="2304376" y="3219772"/>
              <a:ext cx="32693" cy="13662"/>
            </a:xfrm>
            <a:custGeom>
              <a:avLst/>
              <a:gdLst>
                <a:gd name="connsiteX0" fmla="*/ 32693 w 32693"/>
                <a:gd name="connsiteY0" fmla="*/ 7675 h 13662"/>
                <a:gd name="connsiteX1" fmla="*/ 11094 w 32693"/>
                <a:gd name="connsiteY1" fmla="*/ 448 h 13662"/>
                <a:gd name="connsiteX2" fmla="*/ 0 w 32693"/>
                <a:gd name="connsiteY2" fmla="*/ 5994 h 13662"/>
                <a:gd name="connsiteX3" fmla="*/ 21599 w 32693"/>
                <a:gd name="connsiteY3" fmla="*/ 13222 h 13662"/>
                <a:gd name="connsiteX4" fmla="*/ 32693 w 32693"/>
                <a:gd name="connsiteY4" fmla="*/ 7675 h 13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693" h="13662">
                  <a:moveTo>
                    <a:pt x="32693" y="7675"/>
                  </a:moveTo>
                  <a:lnTo>
                    <a:pt x="11094" y="448"/>
                  </a:lnTo>
                  <a:cubicBezTo>
                    <a:pt x="6555" y="-1065"/>
                    <a:pt x="1513" y="1372"/>
                    <a:pt x="0" y="5994"/>
                  </a:cubicBezTo>
                  <a:lnTo>
                    <a:pt x="21599" y="13222"/>
                  </a:lnTo>
                  <a:cubicBezTo>
                    <a:pt x="26222" y="14735"/>
                    <a:pt x="31180" y="12214"/>
                    <a:pt x="32693" y="7675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67"/>
            </a:p>
          </p:txBody>
        </p:sp>
        <p:sp>
          <p:nvSpPr>
            <p:cNvPr id="651" name="Freeform: Shape 906">
              <a:extLst>
                <a:ext uri="{FF2B5EF4-FFF2-40B4-BE49-F238E27FC236}">
                  <a16:creationId xmlns:a16="http://schemas.microsoft.com/office/drawing/2014/main" id="{456D7BC0-CCA9-7C4E-B9DC-B46D01337AF5}"/>
                </a:ext>
              </a:extLst>
            </p:cNvPr>
            <p:cNvSpPr/>
            <p:nvPr/>
          </p:nvSpPr>
          <p:spPr>
            <a:xfrm>
              <a:off x="2293114" y="3228099"/>
              <a:ext cx="11514" cy="36075"/>
            </a:xfrm>
            <a:custGeom>
              <a:avLst/>
              <a:gdLst>
                <a:gd name="connsiteX0" fmla="*/ 5799 w 11514"/>
                <a:gd name="connsiteY0" fmla="*/ 36076 h 36075"/>
                <a:gd name="connsiteX1" fmla="*/ 11514 w 11514"/>
                <a:gd name="connsiteY1" fmla="*/ 33807 h 36075"/>
                <a:gd name="connsiteX2" fmla="*/ 9497 w 11514"/>
                <a:gd name="connsiteY2" fmla="*/ 3467 h 36075"/>
                <a:gd name="connsiteX3" fmla="*/ 2017 w 11514"/>
                <a:gd name="connsiteY3" fmla="*/ 3467 h 36075"/>
                <a:gd name="connsiteX4" fmla="*/ 0 w 11514"/>
                <a:gd name="connsiteY4" fmla="*/ 33555 h 36075"/>
                <a:gd name="connsiteX5" fmla="*/ 5799 w 11514"/>
                <a:gd name="connsiteY5" fmla="*/ 36076 h 3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514" h="36075">
                  <a:moveTo>
                    <a:pt x="5799" y="36076"/>
                  </a:moveTo>
                  <a:cubicBezTo>
                    <a:pt x="7732" y="36076"/>
                    <a:pt x="9749" y="35320"/>
                    <a:pt x="11514" y="33807"/>
                  </a:cubicBezTo>
                  <a:cubicBezTo>
                    <a:pt x="11094" y="22041"/>
                    <a:pt x="10253" y="6492"/>
                    <a:pt x="9497" y="3467"/>
                  </a:cubicBezTo>
                  <a:cubicBezTo>
                    <a:pt x="8320" y="-1156"/>
                    <a:pt x="3194" y="-1156"/>
                    <a:pt x="2017" y="3467"/>
                  </a:cubicBezTo>
                  <a:cubicBezTo>
                    <a:pt x="1261" y="6492"/>
                    <a:pt x="420" y="21872"/>
                    <a:pt x="0" y="33555"/>
                  </a:cubicBezTo>
                  <a:cubicBezTo>
                    <a:pt x="1765" y="35067"/>
                    <a:pt x="3782" y="36076"/>
                    <a:pt x="5799" y="36076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67"/>
            </a:p>
          </p:txBody>
        </p:sp>
        <p:sp>
          <p:nvSpPr>
            <p:cNvPr id="652" name="Freeform: Shape 907">
              <a:extLst>
                <a:ext uri="{FF2B5EF4-FFF2-40B4-BE49-F238E27FC236}">
                  <a16:creationId xmlns:a16="http://schemas.microsoft.com/office/drawing/2014/main" id="{6116D69D-48E2-7745-9F15-577C6AA6C3D1}"/>
                </a:ext>
              </a:extLst>
            </p:cNvPr>
            <p:cNvSpPr/>
            <p:nvPr/>
          </p:nvSpPr>
          <p:spPr>
            <a:xfrm>
              <a:off x="2265548" y="3269721"/>
              <a:ext cx="66646" cy="7143"/>
            </a:xfrm>
            <a:custGeom>
              <a:avLst/>
              <a:gdLst>
                <a:gd name="connsiteX0" fmla="*/ 0 w 66646"/>
                <a:gd name="connsiteY0" fmla="*/ 0 h 7143"/>
                <a:gd name="connsiteX1" fmla="*/ 66647 w 66646"/>
                <a:gd name="connsiteY1" fmla="*/ 0 h 7143"/>
                <a:gd name="connsiteX2" fmla="*/ 66647 w 66646"/>
                <a:gd name="connsiteY2" fmla="*/ 7144 h 7143"/>
                <a:gd name="connsiteX3" fmla="*/ 0 w 66646"/>
                <a:gd name="connsiteY3" fmla="*/ 7144 h 7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46" h="7143">
                  <a:moveTo>
                    <a:pt x="0" y="0"/>
                  </a:moveTo>
                  <a:lnTo>
                    <a:pt x="66647" y="0"/>
                  </a:lnTo>
                  <a:lnTo>
                    <a:pt x="66647" y="7144"/>
                  </a:lnTo>
                  <a:lnTo>
                    <a:pt x="0" y="7144"/>
                  </a:lnTo>
                  <a:close/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67"/>
            </a:p>
          </p:txBody>
        </p:sp>
      </p:grpSp>
      <p:grpSp>
        <p:nvGrpSpPr>
          <p:cNvPr id="653" name="Group 652">
            <a:extLst>
              <a:ext uri="{FF2B5EF4-FFF2-40B4-BE49-F238E27FC236}">
                <a16:creationId xmlns:a16="http://schemas.microsoft.com/office/drawing/2014/main" id="{95E3D9FE-657F-E541-8A44-1C6E50F2CB7C}"/>
              </a:ext>
            </a:extLst>
          </p:cNvPr>
          <p:cNvGrpSpPr>
            <a:grpSpLocks/>
          </p:cNvGrpSpPr>
          <p:nvPr/>
        </p:nvGrpSpPr>
        <p:grpSpPr>
          <a:xfrm>
            <a:off x="4693421" y="4468286"/>
            <a:ext cx="793640" cy="174373"/>
            <a:chOff x="1499770" y="2920466"/>
            <a:chExt cx="595230" cy="130780"/>
          </a:xfrm>
        </p:grpSpPr>
        <p:grpSp>
          <p:nvGrpSpPr>
            <p:cNvPr id="654" name="Group 653">
              <a:extLst>
                <a:ext uri="{FF2B5EF4-FFF2-40B4-BE49-F238E27FC236}">
                  <a16:creationId xmlns:a16="http://schemas.microsoft.com/office/drawing/2014/main" id="{69E7FB1E-B1D0-7541-91BC-398ED9392614}"/>
                </a:ext>
              </a:extLst>
            </p:cNvPr>
            <p:cNvGrpSpPr/>
            <p:nvPr/>
          </p:nvGrpSpPr>
          <p:grpSpPr>
            <a:xfrm>
              <a:off x="1499770" y="2920466"/>
              <a:ext cx="98148" cy="130780"/>
              <a:chOff x="2265548" y="3181564"/>
              <a:chExt cx="71521" cy="95300"/>
            </a:xfrm>
            <a:solidFill>
              <a:srgbClr val="4099DA"/>
            </a:solidFill>
          </p:grpSpPr>
          <p:sp>
            <p:nvSpPr>
              <p:cNvPr id="656" name="Freeform: Shape 902">
                <a:extLst>
                  <a:ext uri="{FF2B5EF4-FFF2-40B4-BE49-F238E27FC236}">
                    <a16:creationId xmlns:a16="http://schemas.microsoft.com/office/drawing/2014/main" id="{9EFFEDB3-E1B0-D14B-B9C7-E64CEEE15E57}"/>
                  </a:ext>
                </a:extLst>
              </p:cNvPr>
              <p:cNvSpPr/>
              <p:nvPr/>
            </p:nvSpPr>
            <p:spPr>
              <a:xfrm>
                <a:off x="2294459" y="3214588"/>
                <a:ext cx="8908" cy="8909"/>
              </a:xfrm>
              <a:custGeom>
                <a:avLst/>
                <a:gdLst>
                  <a:gd name="connsiteX0" fmla="*/ 8909 w 8908"/>
                  <a:gd name="connsiteY0" fmla="*/ 4455 h 8909"/>
                  <a:gd name="connsiteX1" fmla="*/ 4454 w 8908"/>
                  <a:gd name="connsiteY1" fmla="*/ 8909 h 8909"/>
                  <a:gd name="connsiteX2" fmla="*/ 0 w 8908"/>
                  <a:gd name="connsiteY2" fmla="*/ 4455 h 8909"/>
                  <a:gd name="connsiteX3" fmla="*/ 4454 w 8908"/>
                  <a:gd name="connsiteY3" fmla="*/ 0 h 8909"/>
                  <a:gd name="connsiteX4" fmla="*/ 8909 w 8908"/>
                  <a:gd name="connsiteY4" fmla="*/ 4455 h 8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9">
                    <a:moveTo>
                      <a:pt x="8909" y="4455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5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2017"/>
                      <a:pt x="8909" y="4455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657" name="Freeform: Shape 903">
                <a:extLst>
                  <a:ext uri="{FF2B5EF4-FFF2-40B4-BE49-F238E27FC236}">
                    <a16:creationId xmlns:a16="http://schemas.microsoft.com/office/drawing/2014/main" id="{45BFB5B2-CBC1-FD44-93B2-FC73EF02675F}"/>
                  </a:ext>
                </a:extLst>
              </p:cNvPr>
              <p:cNvSpPr/>
              <p:nvPr/>
            </p:nvSpPr>
            <p:spPr>
              <a:xfrm>
                <a:off x="2287231" y="3181564"/>
                <a:ext cx="14623" cy="29572"/>
              </a:xfrm>
              <a:custGeom>
                <a:avLst/>
                <a:gdLst>
                  <a:gd name="connsiteX0" fmla="*/ 0 w 14623"/>
                  <a:gd name="connsiteY0" fmla="*/ 163 h 29572"/>
                  <a:gd name="connsiteX1" fmla="*/ 4370 w 14623"/>
                  <a:gd name="connsiteY1" fmla="*/ 22518 h 29572"/>
                  <a:gd name="connsiteX2" fmla="*/ 14624 w 14623"/>
                  <a:gd name="connsiteY2" fmla="*/ 29410 h 29572"/>
                  <a:gd name="connsiteX3" fmla="*/ 10253 w 14623"/>
                  <a:gd name="connsiteY3" fmla="*/ 7054 h 29572"/>
                  <a:gd name="connsiteX4" fmla="*/ 0 w 14623"/>
                  <a:gd name="connsiteY4" fmla="*/ 163 h 29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2">
                    <a:moveTo>
                      <a:pt x="0" y="163"/>
                    </a:moveTo>
                    <a:lnTo>
                      <a:pt x="4370" y="22518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658" name="Freeform: Shape 904">
                <a:extLst>
                  <a:ext uri="{FF2B5EF4-FFF2-40B4-BE49-F238E27FC236}">
                    <a16:creationId xmlns:a16="http://schemas.microsoft.com/office/drawing/2014/main" id="{14A28119-7CBB-2045-89CB-06CD640F7B86}"/>
                  </a:ext>
                </a:extLst>
              </p:cNvPr>
              <p:cNvSpPr/>
              <p:nvPr/>
            </p:nvSpPr>
            <p:spPr>
              <a:xfrm>
                <a:off x="2270285" y="3220471"/>
                <a:ext cx="22294" cy="27398"/>
              </a:xfrm>
              <a:custGeom>
                <a:avLst/>
                <a:gdLst>
                  <a:gd name="connsiteX0" fmla="*/ 2154 w 22294"/>
                  <a:gd name="connsiteY0" fmla="*/ 27398 h 27398"/>
                  <a:gd name="connsiteX1" fmla="*/ 19299 w 22294"/>
                  <a:gd name="connsiteY1" fmla="*/ 12355 h 27398"/>
                  <a:gd name="connsiteX2" fmla="*/ 20140 w 22294"/>
                  <a:gd name="connsiteY2" fmla="*/ 0 h 27398"/>
                  <a:gd name="connsiteX3" fmla="*/ 2995 w 22294"/>
                  <a:gd name="connsiteY3" fmla="*/ 14960 h 27398"/>
                  <a:gd name="connsiteX4" fmla="*/ 2154 w 22294"/>
                  <a:gd name="connsiteY4" fmla="*/ 27398 h 27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8">
                    <a:moveTo>
                      <a:pt x="2154" y="27398"/>
                    </a:moveTo>
                    <a:lnTo>
                      <a:pt x="19299" y="12355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8"/>
                      <a:pt x="-1039" y="23785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659" name="Freeform: Shape 905">
                <a:extLst>
                  <a:ext uri="{FF2B5EF4-FFF2-40B4-BE49-F238E27FC236}">
                    <a16:creationId xmlns:a16="http://schemas.microsoft.com/office/drawing/2014/main" id="{E6EF0763-1192-3844-9D0C-0D36A1994A9A}"/>
                  </a:ext>
                </a:extLst>
              </p:cNvPr>
              <p:cNvSpPr/>
              <p:nvPr/>
            </p:nvSpPr>
            <p:spPr>
              <a:xfrm>
                <a:off x="2304376" y="3219772"/>
                <a:ext cx="32693" cy="13662"/>
              </a:xfrm>
              <a:custGeom>
                <a:avLst/>
                <a:gdLst>
                  <a:gd name="connsiteX0" fmla="*/ 32693 w 32693"/>
                  <a:gd name="connsiteY0" fmla="*/ 7675 h 13662"/>
                  <a:gd name="connsiteX1" fmla="*/ 11094 w 32693"/>
                  <a:gd name="connsiteY1" fmla="*/ 448 h 13662"/>
                  <a:gd name="connsiteX2" fmla="*/ 0 w 32693"/>
                  <a:gd name="connsiteY2" fmla="*/ 5994 h 13662"/>
                  <a:gd name="connsiteX3" fmla="*/ 21599 w 32693"/>
                  <a:gd name="connsiteY3" fmla="*/ 13222 h 13662"/>
                  <a:gd name="connsiteX4" fmla="*/ 32693 w 32693"/>
                  <a:gd name="connsiteY4" fmla="*/ 7675 h 13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62">
                    <a:moveTo>
                      <a:pt x="32693" y="7675"/>
                    </a:moveTo>
                    <a:lnTo>
                      <a:pt x="11094" y="448"/>
                    </a:lnTo>
                    <a:cubicBezTo>
                      <a:pt x="6555" y="-1065"/>
                      <a:pt x="1513" y="1372"/>
                      <a:pt x="0" y="5994"/>
                    </a:cubicBezTo>
                    <a:lnTo>
                      <a:pt x="21599" y="13222"/>
                    </a:lnTo>
                    <a:cubicBezTo>
                      <a:pt x="26222" y="14735"/>
                      <a:pt x="31180" y="12214"/>
                      <a:pt x="32693" y="7675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660" name="Freeform: Shape 906">
                <a:extLst>
                  <a:ext uri="{FF2B5EF4-FFF2-40B4-BE49-F238E27FC236}">
                    <a16:creationId xmlns:a16="http://schemas.microsoft.com/office/drawing/2014/main" id="{8FDFFE48-230F-F445-A309-8F46973900D7}"/>
                  </a:ext>
                </a:extLst>
              </p:cNvPr>
              <p:cNvSpPr/>
              <p:nvPr/>
            </p:nvSpPr>
            <p:spPr>
              <a:xfrm>
                <a:off x="2293114" y="3228099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2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2"/>
                      <a:pt x="420" y="21872"/>
                      <a:pt x="0" y="33555"/>
                    </a:cubicBezTo>
                    <a:cubicBezTo>
                      <a:pt x="1765" y="35067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661" name="Freeform: Shape 907">
                <a:extLst>
                  <a:ext uri="{FF2B5EF4-FFF2-40B4-BE49-F238E27FC236}">
                    <a16:creationId xmlns:a16="http://schemas.microsoft.com/office/drawing/2014/main" id="{02A16F3B-0C9B-CC48-9B5C-7B25B07E9EF4}"/>
                  </a:ext>
                </a:extLst>
              </p:cNvPr>
              <p:cNvSpPr/>
              <p:nvPr/>
            </p:nvSpPr>
            <p:spPr>
              <a:xfrm>
                <a:off x="2265548" y="3269721"/>
                <a:ext cx="66646" cy="7143"/>
              </a:xfrm>
              <a:custGeom>
                <a:avLst/>
                <a:gdLst>
                  <a:gd name="connsiteX0" fmla="*/ 0 w 66646"/>
                  <a:gd name="connsiteY0" fmla="*/ 0 h 7143"/>
                  <a:gd name="connsiteX1" fmla="*/ 66647 w 66646"/>
                  <a:gd name="connsiteY1" fmla="*/ 0 h 7143"/>
                  <a:gd name="connsiteX2" fmla="*/ 66647 w 66646"/>
                  <a:gd name="connsiteY2" fmla="*/ 7144 h 7143"/>
                  <a:gd name="connsiteX3" fmla="*/ 0 w 66646"/>
                  <a:gd name="connsiteY3" fmla="*/ 7144 h 7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646" h="7143">
                    <a:moveTo>
                      <a:pt x="0" y="0"/>
                    </a:moveTo>
                    <a:lnTo>
                      <a:pt x="66647" y="0"/>
                    </a:lnTo>
                    <a:lnTo>
                      <a:pt x="66647" y="7144"/>
                    </a:lnTo>
                    <a:lnTo>
                      <a:pt x="0" y="7144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</p:grpSp>
        <p:sp>
          <p:nvSpPr>
            <p:cNvPr id="655" name="TextBox 654">
              <a:extLst>
                <a:ext uri="{FF2B5EF4-FFF2-40B4-BE49-F238E27FC236}">
                  <a16:creationId xmlns:a16="http://schemas.microsoft.com/office/drawing/2014/main" id="{4601C0B9-DF9B-D14F-9C5D-0B05D19593B3}"/>
                </a:ext>
              </a:extLst>
            </p:cNvPr>
            <p:cNvSpPr txBox="1"/>
            <p:nvPr/>
          </p:nvSpPr>
          <p:spPr>
            <a:xfrm>
              <a:off x="1624919" y="2953874"/>
              <a:ext cx="470081" cy="9608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2400"/>
                </a:spcBef>
              </a:pPr>
              <a:r>
                <a:rPr lang="en-US" sz="867">
                  <a:solidFill>
                    <a:srgbClr val="4099DA"/>
                  </a:solidFill>
                </a:rPr>
                <a:t>Ballymartin</a:t>
              </a:r>
            </a:p>
          </p:txBody>
        </p:sp>
      </p:grpSp>
      <p:grpSp>
        <p:nvGrpSpPr>
          <p:cNvPr id="662" name="Group 661">
            <a:extLst>
              <a:ext uri="{FF2B5EF4-FFF2-40B4-BE49-F238E27FC236}">
                <a16:creationId xmlns:a16="http://schemas.microsoft.com/office/drawing/2014/main" id="{D17278F4-1975-764B-BDC2-05DA2CC6F141}"/>
              </a:ext>
            </a:extLst>
          </p:cNvPr>
          <p:cNvGrpSpPr>
            <a:grpSpLocks/>
          </p:cNvGrpSpPr>
          <p:nvPr/>
        </p:nvGrpSpPr>
        <p:grpSpPr>
          <a:xfrm>
            <a:off x="4613447" y="4347332"/>
            <a:ext cx="830248" cy="174373"/>
            <a:chOff x="1499770" y="2920466"/>
            <a:chExt cx="622686" cy="130780"/>
          </a:xfrm>
        </p:grpSpPr>
        <p:grpSp>
          <p:nvGrpSpPr>
            <p:cNvPr id="663" name="Group 662">
              <a:extLst>
                <a:ext uri="{FF2B5EF4-FFF2-40B4-BE49-F238E27FC236}">
                  <a16:creationId xmlns:a16="http://schemas.microsoft.com/office/drawing/2014/main" id="{FDFFFC5C-D43D-5A4F-843F-555FB219DA47}"/>
                </a:ext>
              </a:extLst>
            </p:cNvPr>
            <p:cNvGrpSpPr/>
            <p:nvPr/>
          </p:nvGrpSpPr>
          <p:grpSpPr>
            <a:xfrm>
              <a:off x="1499770" y="2920466"/>
              <a:ext cx="98148" cy="130780"/>
              <a:chOff x="2265548" y="3181564"/>
              <a:chExt cx="71521" cy="95300"/>
            </a:xfrm>
            <a:solidFill>
              <a:srgbClr val="4099DA"/>
            </a:solidFill>
          </p:grpSpPr>
          <p:sp>
            <p:nvSpPr>
              <p:cNvPr id="665" name="Freeform: Shape 902">
                <a:extLst>
                  <a:ext uri="{FF2B5EF4-FFF2-40B4-BE49-F238E27FC236}">
                    <a16:creationId xmlns:a16="http://schemas.microsoft.com/office/drawing/2014/main" id="{3C591CEE-8A39-B14B-9C61-8C9DB25B7F13}"/>
                  </a:ext>
                </a:extLst>
              </p:cNvPr>
              <p:cNvSpPr/>
              <p:nvPr/>
            </p:nvSpPr>
            <p:spPr>
              <a:xfrm>
                <a:off x="2294459" y="3214588"/>
                <a:ext cx="8908" cy="8909"/>
              </a:xfrm>
              <a:custGeom>
                <a:avLst/>
                <a:gdLst>
                  <a:gd name="connsiteX0" fmla="*/ 8909 w 8908"/>
                  <a:gd name="connsiteY0" fmla="*/ 4455 h 8909"/>
                  <a:gd name="connsiteX1" fmla="*/ 4454 w 8908"/>
                  <a:gd name="connsiteY1" fmla="*/ 8909 h 8909"/>
                  <a:gd name="connsiteX2" fmla="*/ 0 w 8908"/>
                  <a:gd name="connsiteY2" fmla="*/ 4455 h 8909"/>
                  <a:gd name="connsiteX3" fmla="*/ 4454 w 8908"/>
                  <a:gd name="connsiteY3" fmla="*/ 0 h 8909"/>
                  <a:gd name="connsiteX4" fmla="*/ 8909 w 8908"/>
                  <a:gd name="connsiteY4" fmla="*/ 4455 h 8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9">
                    <a:moveTo>
                      <a:pt x="8909" y="4455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5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2017"/>
                      <a:pt x="8909" y="4455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666" name="Freeform: Shape 903">
                <a:extLst>
                  <a:ext uri="{FF2B5EF4-FFF2-40B4-BE49-F238E27FC236}">
                    <a16:creationId xmlns:a16="http://schemas.microsoft.com/office/drawing/2014/main" id="{1D1618E4-F974-B44B-B3F9-E8E98D9BAF08}"/>
                  </a:ext>
                </a:extLst>
              </p:cNvPr>
              <p:cNvSpPr/>
              <p:nvPr/>
            </p:nvSpPr>
            <p:spPr>
              <a:xfrm>
                <a:off x="2287231" y="3181564"/>
                <a:ext cx="14623" cy="29572"/>
              </a:xfrm>
              <a:custGeom>
                <a:avLst/>
                <a:gdLst>
                  <a:gd name="connsiteX0" fmla="*/ 0 w 14623"/>
                  <a:gd name="connsiteY0" fmla="*/ 163 h 29572"/>
                  <a:gd name="connsiteX1" fmla="*/ 4370 w 14623"/>
                  <a:gd name="connsiteY1" fmla="*/ 22518 h 29572"/>
                  <a:gd name="connsiteX2" fmla="*/ 14624 w 14623"/>
                  <a:gd name="connsiteY2" fmla="*/ 29410 h 29572"/>
                  <a:gd name="connsiteX3" fmla="*/ 10253 w 14623"/>
                  <a:gd name="connsiteY3" fmla="*/ 7054 h 29572"/>
                  <a:gd name="connsiteX4" fmla="*/ 0 w 14623"/>
                  <a:gd name="connsiteY4" fmla="*/ 163 h 29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2">
                    <a:moveTo>
                      <a:pt x="0" y="163"/>
                    </a:moveTo>
                    <a:lnTo>
                      <a:pt x="4370" y="22518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667" name="Freeform: Shape 904">
                <a:extLst>
                  <a:ext uri="{FF2B5EF4-FFF2-40B4-BE49-F238E27FC236}">
                    <a16:creationId xmlns:a16="http://schemas.microsoft.com/office/drawing/2014/main" id="{1700B119-1546-6B4F-AE31-BFDB1377D740}"/>
                  </a:ext>
                </a:extLst>
              </p:cNvPr>
              <p:cNvSpPr/>
              <p:nvPr/>
            </p:nvSpPr>
            <p:spPr>
              <a:xfrm>
                <a:off x="2270285" y="3220471"/>
                <a:ext cx="22294" cy="27398"/>
              </a:xfrm>
              <a:custGeom>
                <a:avLst/>
                <a:gdLst>
                  <a:gd name="connsiteX0" fmla="*/ 2154 w 22294"/>
                  <a:gd name="connsiteY0" fmla="*/ 27398 h 27398"/>
                  <a:gd name="connsiteX1" fmla="*/ 19299 w 22294"/>
                  <a:gd name="connsiteY1" fmla="*/ 12355 h 27398"/>
                  <a:gd name="connsiteX2" fmla="*/ 20140 w 22294"/>
                  <a:gd name="connsiteY2" fmla="*/ 0 h 27398"/>
                  <a:gd name="connsiteX3" fmla="*/ 2995 w 22294"/>
                  <a:gd name="connsiteY3" fmla="*/ 14960 h 27398"/>
                  <a:gd name="connsiteX4" fmla="*/ 2154 w 22294"/>
                  <a:gd name="connsiteY4" fmla="*/ 27398 h 27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8">
                    <a:moveTo>
                      <a:pt x="2154" y="27398"/>
                    </a:moveTo>
                    <a:lnTo>
                      <a:pt x="19299" y="12355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8"/>
                      <a:pt x="-1039" y="23785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668" name="Freeform: Shape 905">
                <a:extLst>
                  <a:ext uri="{FF2B5EF4-FFF2-40B4-BE49-F238E27FC236}">
                    <a16:creationId xmlns:a16="http://schemas.microsoft.com/office/drawing/2014/main" id="{571BD8CF-B98F-D349-BB3C-9E6FA76B4ED4}"/>
                  </a:ext>
                </a:extLst>
              </p:cNvPr>
              <p:cNvSpPr/>
              <p:nvPr/>
            </p:nvSpPr>
            <p:spPr>
              <a:xfrm>
                <a:off x="2304376" y="3219772"/>
                <a:ext cx="32693" cy="13662"/>
              </a:xfrm>
              <a:custGeom>
                <a:avLst/>
                <a:gdLst>
                  <a:gd name="connsiteX0" fmla="*/ 32693 w 32693"/>
                  <a:gd name="connsiteY0" fmla="*/ 7675 h 13662"/>
                  <a:gd name="connsiteX1" fmla="*/ 11094 w 32693"/>
                  <a:gd name="connsiteY1" fmla="*/ 448 h 13662"/>
                  <a:gd name="connsiteX2" fmla="*/ 0 w 32693"/>
                  <a:gd name="connsiteY2" fmla="*/ 5994 h 13662"/>
                  <a:gd name="connsiteX3" fmla="*/ 21599 w 32693"/>
                  <a:gd name="connsiteY3" fmla="*/ 13222 h 13662"/>
                  <a:gd name="connsiteX4" fmla="*/ 32693 w 32693"/>
                  <a:gd name="connsiteY4" fmla="*/ 7675 h 13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62">
                    <a:moveTo>
                      <a:pt x="32693" y="7675"/>
                    </a:moveTo>
                    <a:lnTo>
                      <a:pt x="11094" y="448"/>
                    </a:lnTo>
                    <a:cubicBezTo>
                      <a:pt x="6555" y="-1065"/>
                      <a:pt x="1513" y="1372"/>
                      <a:pt x="0" y="5994"/>
                    </a:cubicBezTo>
                    <a:lnTo>
                      <a:pt x="21599" y="13222"/>
                    </a:lnTo>
                    <a:cubicBezTo>
                      <a:pt x="26222" y="14735"/>
                      <a:pt x="31180" y="12214"/>
                      <a:pt x="32693" y="7675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669" name="Freeform: Shape 906">
                <a:extLst>
                  <a:ext uri="{FF2B5EF4-FFF2-40B4-BE49-F238E27FC236}">
                    <a16:creationId xmlns:a16="http://schemas.microsoft.com/office/drawing/2014/main" id="{0DFC51E9-03D5-474B-84D1-11735496E026}"/>
                  </a:ext>
                </a:extLst>
              </p:cNvPr>
              <p:cNvSpPr/>
              <p:nvPr/>
            </p:nvSpPr>
            <p:spPr>
              <a:xfrm>
                <a:off x="2293114" y="3228099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2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2"/>
                      <a:pt x="420" y="21872"/>
                      <a:pt x="0" y="33555"/>
                    </a:cubicBezTo>
                    <a:cubicBezTo>
                      <a:pt x="1765" y="35067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670" name="Freeform: Shape 907">
                <a:extLst>
                  <a:ext uri="{FF2B5EF4-FFF2-40B4-BE49-F238E27FC236}">
                    <a16:creationId xmlns:a16="http://schemas.microsoft.com/office/drawing/2014/main" id="{7AB3C02F-B5D7-C544-A4FB-7294357698C9}"/>
                  </a:ext>
                </a:extLst>
              </p:cNvPr>
              <p:cNvSpPr/>
              <p:nvPr/>
            </p:nvSpPr>
            <p:spPr>
              <a:xfrm>
                <a:off x="2265548" y="3269721"/>
                <a:ext cx="66646" cy="7143"/>
              </a:xfrm>
              <a:custGeom>
                <a:avLst/>
                <a:gdLst>
                  <a:gd name="connsiteX0" fmla="*/ 0 w 66646"/>
                  <a:gd name="connsiteY0" fmla="*/ 0 h 7143"/>
                  <a:gd name="connsiteX1" fmla="*/ 66647 w 66646"/>
                  <a:gd name="connsiteY1" fmla="*/ 0 h 7143"/>
                  <a:gd name="connsiteX2" fmla="*/ 66647 w 66646"/>
                  <a:gd name="connsiteY2" fmla="*/ 7144 h 7143"/>
                  <a:gd name="connsiteX3" fmla="*/ 0 w 66646"/>
                  <a:gd name="connsiteY3" fmla="*/ 7144 h 7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646" h="7143">
                    <a:moveTo>
                      <a:pt x="0" y="0"/>
                    </a:moveTo>
                    <a:lnTo>
                      <a:pt x="66647" y="0"/>
                    </a:lnTo>
                    <a:lnTo>
                      <a:pt x="66647" y="7144"/>
                    </a:lnTo>
                    <a:lnTo>
                      <a:pt x="0" y="7144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</p:grpSp>
        <p:sp>
          <p:nvSpPr>
            <p:cNvPr id="664" name="TextBox 663">
              <a:extLst>
                <a:ext uri="{FF2B5EF4-FFF2-40B4-BE49-F238E27FC236}">
                  <a16:creationId xmlns:a16="http://schemas.microsoft.com/office/drawing/2014/main" id="{9C068612-43B1-6945-BF6B-8D443E41BE38}"/>
                </a:ext>
              </a:extLst>
            </p:cNvPr>
            <p:cNvSpPr txBox="1"/>
            <p:nvPr/>
          </p:nvSpPr>
          <p:spPr>
            <a:xfrm>
              <a:off x="1648769" y="2951471"/>
              <a:ext cx="473687" cy="9608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2400"/>
                </a:spcBef>
              </a:pPr>
              <a:r>
                <a:rPr lang="en-US" sz="867">
                  <a:solidFill>
                    <a:srgbClr val="4099DA"/>
                  </a:solidFill>
                </a:rPr>
                <a:t>Smithstown</a:t>
              </a:r>
            </a:p>
          </p:txBody>
        </p:sp>
      </p:grpSp>
      <p:grpSp>
        <p:nvGrpSpPr>
          <p:cNvPr id="671" name="Group 670">
            <a:extLst>
              <a:ext uri="{FF2B5EF4-FFF2-40B4-BE49-F238E27FC236}">
                <a16:creationId xmlns:a16="http://schemas.microsoft.com/office/drawing/2014/main" id="{A98AFB38-8B88-AA42-A76F-45B861F4AD45}"/>
              </a:ext>
            </a:extLst>
          </p:cNvPr>
          <p:cNvGrpSpPr>
            <a:grpSpLocks/>
          </p:cNvGrpSpPr>
          <p:nvPr/>
        </p:nvGrpSpPr>
        <p:grpSpPr>
          <a:xfrm>
            <a:off x="3970923" y="2065922"/>
            <a:ext cx="1015373" cy="174373"/>
            <a:chOff x="836388" y="2920466"/>
            <a:chExt cx="761530" cy="130780"/>
          </a:xfrm>
        </p:grpSpPr>
        <p:grpSp>
          <p:nvGrpSpPr>
            <p:cNvPr id="672" name="Group 671">
              <a:extLst>
                <a:ext uri="{FF2B5EF4-FFF2-40B4-BE49-F238E27FC236}">
                  <a16:creationId xmlns:a16="http://schemas.microsoft.com/office/drawing/2014/main" id="{1A45BDE9-D49D-7848-AD43-A4EE92B461C5}"/>
                </a:ext>
              </a:extLst>
            </p:cNvPr>
            <p:cNvGrpSpPr/>
            <p:nvPr/>
          </p:nvGrpSpPr>
          <p:grpSpPr>
            <a:xfrm>
              <a:off x="1499770" y="2920466"/>
              <a:ext cx="98148" cy="130780"/>
              <a:chOff x="2265548" y="3181564"/>
              <a:chExt cx="71521" cy="95300"/>
            </a:xfrm>
            <a:solidFill>
              <a:srgbClr val="4099DA"/>
            </a:solidFill>
          </p:grpSpPr>
          <p:sp>
            <p:nvSpPr>
              <p:cNvPr id="674" name="Freeform: Shape 902">
                <a:extLst>
                  <a:ext uri="{FF2B5EF4-FFF2-40B4-BE49-F238E27FC236}">
                    <a16:creationId xmlns:a16="http://schemas.microsoft.com/office/drawing/2014/main" id="{D9C6FFD8-6DD6-3948-B1E5-EA72E5F536BA}"/>
                  </a:ext>
                </a:extLst>
              </p:cNvPr>
              <p:cNvSpPr/>
              <p:nvPr/>
            </p:nvSpPr>
            <p:spPr>
              <a:xfrm>
                <a:off x="2294459" y="3214588"/>
                <a:ext cx="8908" cy="8909"/>
              </a:xfrm>
              <a:custGeom>
                <a:avLst/>
                <a:gdLst>
                  <a:gd name="connsiteX0" fmla="*/ 8909 w 8908"/>
                  <a:gd name="connsiteY0" fmla="*/ 4455 h 8909"/>
                  <a:gd name="connsiteX1" fmla="*/ 4454 w 8908"/>
                  <a:gd name="connsiteY1" fmla="*/ 8909 h 8909"/>
                  <a:gd name="connsiteX2" fmla="*/ 0 w 8908"/>
                  <a:gd name="connsiteY2" fmla="*/ 4455 h 8909"/>
                  <a:gd name="connsiteX3" fmla="*/ 4454 w 8908"/>
                  <a:gd name="connsiteY3" fmla="*/ 0 h 8909"/>
                  <a:gd name="connsiteX4" fmla="*/ 8909 w 8908"/>
                  <a:gd name="connsiteY4" fmla="*/ 4455 h 8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9">
                    <a:moveTo>
                      <a:pt x="8909" y="4455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5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2017"/>
                      <a:pt x="8909" y="4455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675" name="Freeform: Shape 903">
                <a:extLst>
                  <a:ext uri="{FF2B5EF4-FFF2-40B4-BE49-F238E27FC236}">
                    <a16:creationId xmlns:a16="http://schemas.microsoft.com/office/drawing/2014/main" id="{95BDDE19-1D96-6D4F-A011-456FE5531C89}"/>
                  </a:ext>
                </a:extLst>
              </p:cNvPr>
              <p:cNvSpPr/>
              <p:nvPr/>
            </p:nvSpPr>
            <p:spPr>
              <a:xfrm>
                <a:off x="2287231" y="3181564"/>
                <a:ext cx="14623" cy="29572"/>
              </a:xfrm>
              <a:custGeom>
                <a:avLst/>
                <a:gdLst>
                  <a:gd name="connsiteX0" fmla="*/ 0 w 14623"/>
                  <a:gd name="connsiteY0" fmla="*/ 163 h 29572"/>
                  <a:gd name="connsiteX1" fmla="*/ 4370 w 14623"/>
                  <a:gd name="connsiteY1" fmla="*/ 22518 h 29572"/>
                  <a:gd name="connsiteX2" fmla="*/ 14624 w 14623"/>
                  <a:gd name="connsiteY2" fmla="*/ 29410 h 29572"/>
                  <a:gd name="connsiteX3" fmla="*/ 10253 w 14623"/>
                  <a:gd name="connsiteY3" fmla="*/ 7054 h 29572"/>
                  <a:gd name="connsiteX4" fmla="*/ 0 w 14623"/>
                  <a:gd name="connsiteY4" fmla="*/ 163 h 29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2">
                    <a:moveTo>
                      <a:pt x="0" y="163"/>
                    </a:moveTo>
                    <a:lnTo>
                      <a:pt x="4370" y="22518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676" name="Freeform: Shape 904">
                <a:extLst>
                  <a:ext uri="{FF2B5EF4-FFF2-40B4-BE49-F238E27FC236}">
                    <a16:creationId xmlns:a16="http://schemas.microsoft.com/office/drawing/2014/main" id="{0BDB8EFE-FF2D-2E40-84CA-7C56BDE291AE}"/>
                  </a:ext>
                </a:extLst>
              </p:cNvPr>
              <p:cNvSpPr/>
              <p:nvPr/>
            </p:nvSpPr>
            <p:spPr>
              <a:xfrm>
                <a:off x="2270285" y="3220471"/>
                <a:ext cx="22294" cy="27398"/>
              </a:xfrm>
              <a:custGeom>
                <a:avLst/>
                <a:gdLst>
                  <a:gd name="connsiteX0" fmla="*/ 2154 w 22294"/>
                  <a:gd name="connsiteY0" fmla="*/ 27398 h 27398"/>
                  <a:gd name="connsiteX1" fmla="*/ 19299 w 22294"/>
                  <a:gd name="connsiteY1" fmla="*/ 12355 h 27398"/>
                  <a:gd name="connsiteX2" fmla="*/ 20140 w 22294"/>
                  <a:gd name="connsiteY2" fmla="*/ 0 h 27398"/>
                  <a:gd name="connsiteX3" fmla="*/ 2995 w 22294"/>
                  <a:gd name="connsiteY3" fmla="*/ 14960 h 27398"/>
                  <a:gd name="connsiteX4" fmla="*/ 2154 w 22294"/>
                  <a:gd name="connsiteY4" fmla="*/ 27398 h 27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8">
                    <a:moveTo>
                      <a:pt x="2154" y="27398"/>
                    </a:moveTo>
                    <a:lnTo>
                      <a:pt x="19299" y="12355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8"/>
                      <a:pt x="-1039" y="23785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677" name="Freeform: Shape 905">
                <a:extLst>
                  <a:ext uri="{FF2B5EF4-FFF2-40B4-BE49-F238E27FC236}">
                    <a16:creationId xmlns:a16="http://schemas.microsoft.com/office/drawing/2014/main" id="{174E357B-3FB3-ED4E-BA24-5FDE03D85E43}"/>
                  </a:ext>
                </a:extLst>
              </p:cNvPr>
              <p:cNvSpPr/>
              <p:nvPr/>
            </p:nvSpPr>
            <p:spPr>
              <a:xfrm>
                <a:off x="2304376" y="3219772"/>
                <a:ext cx="32693" cy="13662"/>
              </a:xfrm>
              <a:custGeom>
                <a:avLst/>
                <a:gdLst>
                  <a:gd name="connsiteX0" fmla="*/ 32693 w 32693"/>
                  <a:gd name="connsiteY0" fmla="*/ 7675 h 13662"/>
                  <a:gd name="connsiteX1" fmla="*/ 11094 w 32693"/>
                  <a:gd name="connsiteY1" fmla="*/ 448 h 13662"/>
                  <a:gd name="connsiteX2" fmla="*/ 0 w 32693"/>
                  <a:gd name="connsiteY2" fmla="*/ 5994 h 13662"/>
                  <a:gd name="connsiteX3" fmla="*/ 21599 w 32693"/>
                  <a:gd name="connsiteY3" fmla="*/ 13222 h 13662"/>
                  <a:gd name="connsiteX4" fmla="*/ 32693 w 32693"/>
                  <a:gd name="connsiteY4" fmla="*/ 7675 h 13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62">
                    <a:moveTo>
                      <a:pt x="32693" y="7675"/>
                    </a:moveTo>
                    <a:lnTo>
                      <a:pt x="11094" y="448"/>
                    </a:lnTo>
                    <a:cubicBezTo>
                      <a:pt x="6555" y="-1065"/>
                      <a:pt x="1513" y="1372"/>
                      <a:pt x="0" y="5994"/>
                    </a:cubicBezTo>
                    <a:lnTo>
                      <a:pt x="21599" y="13222"/>
                    </a:lnTo>
                    <a:cubicBezTo>
                      <a:pt x="26222" y="14735"/>
                      <a:pt x="31180" y="12214"/>
                      <a:pt x="32693" y="7675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678" name="Freeform: Shape 906">
                <a:extLst>
                  <a:ext uri="{FF2B5EF4-FFF2-40B4-BE49-F238E27FC236}">
                    <a16:creationId xmlns:a16="http://schemas.microsoft.com/office/drawing/2014/main" id="{5DB31351-4B53-5644-A820-1D22543AF703}"/>
                  </a:ext>
                </a:extLst>
              </p:cNvPr>
              <p:cNvSpPr/>
              <p:nvPr/>
            </p:nvSpPr>
            <p:spPr>
              <a:xfrm>
                <a:off x="2293114" y="3228099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2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2"/>
                      <a:pt x="420" y="21872"/>
                      <a:pt x="0" y="33555"/>
                    </a:cubicBezTo>
                    <a:cubicBezTo>
                      <a:pt x="1765" y="35067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679" name="Freeform: Shape 907">
                <a:extLst>
                  <a:ext uri="{FF2B5EF4-FFF2-40B4-BE49-F238E27FC236}">
                    <a16:creationId xmlns:a16="http://schemas.microsoft.com/office/drawing/2014/main" id="{C2C3A850-36A6-CB44-A3CB-97E46200A260}"/>
                  </a:ext>
                </a:extLst>
              </p:cNvPr>
              <p:cNvSpPr/>
              <p:nvPr/>
            </p:nvSpPr>
            <p:spPr>
              <a:xfrm>
                <a:off x="2265548" y="3269721"/>
                <a:ext cx="66646" cy="7143"/>
              </a:xfrm>
              <a:custGeom>
                <a:avLst/>
                <a:gdLst>
                  <a:gd name="connsiteX0" fmla="*/ 0 w 66646"/>
                  <a:gd name="connsiteY0" fmla="*/ 0 h 7143"/>
                  <a:gd name="connsiteX1" fmla="*/ 66647 w 66646"/>
                  <a:gd name="connsiteY1" fmla="*/ 0 h 7143"/>
                  <a:gd name="connsiteX2" fmla="*/ 66647 w 66646"/>
                  <a:gd name="connsiteY2" fmla="*/ 7144 h 7143"/>
                  <a:gd name="connsiteX3" fmla="*/ 0 w 66646"/>
                  <a:gd name="connsiteY3" fmla="*/ 7144 h 7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646" h="7143">
                    <a:moveTo>
                      <a:pt x="0" y="0"/>
                    </a:moveTo>
                    <a:lnTo>
                      <a:pt x="66647" y="0"/>
                    </a:lnTo>
                    <a:lnTo>
                      <a:pt x="66647" y="7144"/>
                    </a:lnTo>
                    <a:lnTo>
                      <a:pt x="0" y="7144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</p:grpSp>
        <p:sp>
          <p:nvSpPr>
            <p:cNvPr id="673" name="TextBox 672">
              <a:extLst>
                <a:ext uri="{FF2B5EF4-FFF2-40B4-BE49-F238E27FC236}">
                  <a16:creationId xmlns:a16="http://schemas.microsoft.com/office/drawing/2014/main" id="{FD5CF5FB-4DA8-444B-8B61-4F9088A9A857}"/>
                </a:ext>
              </a:extLst>
            </p:cNvPr>
            <p:cNvSpPr txBox="1"/>
            <p:nvPr/>
          </p:nvSpPr>
          <p:spPr>
            <a:xfrm>
              <a:off x="836388" y="2940227"/>
              <a:ext cx="604733" cy="9608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>
                <a:lnSpc>
                  <a:spcPct val="96000"/>
                </a:lnSpc>
                <a:spcBef>
                  <a:spcPts val="2400"/>
                </a:spcBef>
              </a:pPr>
              <a:r>
                <a:rPr lang="en-US" sz="867">
                  <a:solidFill>
                    <a:srgbClr val="4099DA"/>
                  </a:solidFill>
                </a:rPr>
                <a:t>Sorne Hill 1 &amp; 2</a:t>
              </a:r>
            </a:p>
          </p:txBody>
        </p:sp>
      </p:grpSp>
      <p:grpSp>
        <p:nvGrpSpPr>
          <p:cNvPr id="680" name="Group 679">
            <a:extLst>
              <a:ext uri="{FF2B5EF4-FFF2-40B4-BE49-F238E27FC236}">
                <a16:creationId xmlns:a16="http://schemas.microsoft.com/office/drawing/2014/main" id="{B1F017F8-DAE1-FE42-8085-139C9CD8E09A}"/>
              </a:ext>
            </a:extLst>
          </p:cNvPr>
          <p:cNvGrpSpPr>
            <a:grpSpLocks/>
          </p:cNvGrpSpPr>
          <p:nvPr/>
        </p:nvGrpSpPr>
        <p:grpSpPr>
          <a:xfrm>
            <a:off x="3878215" y="2355158"/>
            <a:ext cx="1109951" cy="174373"/>
            <a:chOff x="765455" y="2920466"/>
            <a:chExt cx="832463" cy="130780"/>
          </a:xfrm>
        </p:grpSpPr>
        <p:grpSp>
          <p:nvGrpSpPr>
            <p:cNvPr id="681" name="Group 680">
              <a:extLst>
                <a:ext uri="{FF2B5EF4-FFF2-40B4-BE49-F238E27FC236}">
                  <a16:creationId xmlns:a16="http://schemas.microsoft.com/office/drawing/2014/main" id="{715B5D6F-5CEE-4C4A-AD11-70009CA88F52}"/>
                </a:ext>
              </a:extLst>
            </p:cNvPr>
            <p:cNvGrpSpPr/>
            <p:nvPr/>
          </p:nvGrpSpPr>
          <p:grpSpPr>
            <a:xfrm>
              <a:off x="1499770" y="2920466"/>
              <a:ext cx="98148" cy="130780"/>
              <a:chOff x="2265548" y="3181564"/>
              <a:chExt cx="71521" cy="95300"/>
            </a:xfrm>
            <a:solidFill>
              <a:srgbClr val="4099DA"/>
            </a:solidFill>
          </p:grpSpPr>
          <p:sp>
            <p:nvSpPr>
              <p:cNvPr id="683" name="Freeform: Shape 902">
                <a:extLst>
                  <a:ext uri="{FF2B5EF4-FFF2-40B4-BE49-F238E27FC236}">
                    <a16:creationId xmlns:a16="http://schemas.microsoft.com/office/drawing/2014/main" id="{75F20B5E-D7C0-CC4A-9183-8F72260E2588}"/>
                  </a:ext>
                </a:extLst>
              </p:cNvPr>
              <p:cNvSpPr/>
              <p:nvPr/>
            </p:nvSpPr>
            <p:spPr>
              <a:xfrm>
                <a:off x="2294459" y="3214588"/>
                <a:ext cx="8908" cy="8909"/>
              </a:xfrm>
              <a:custGeom>
                <a:avLst/>
                <a:gdLst>
                  <a:gd name="connsiteX0" fmla="*/ 8909 w 8908"/>
                  <a:gd name="connsiteY0" fmla="*/ 4455 h 8909"/>
                  <a:gd name="connsiteX1" fmla="*/ 4454 w 8908"/>
                  <a:gd name="connsiteY1" fmla="*/ 8909 h 8909"/>
                  <a:gd name="connsiteX2" fmla="*/ 0 w 8908"/>
                  <a:gd name="connsiteY2" fmla="*/ 4455 h 8909"/>
                  <a:gd name="connsiteX3" fmla="*/ 4454 w 8908"/>
                  <a:gd name="connsiteY3" fmla="*/ 0 h 8909"/>
                  <a:gd name="connsiteX4" fmla="*/ 8909 w 8908"/>
                  <a:gd name="connsiteY4" fmla="*/ 4455 h 8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9">
                    <a:moveTo>
                      <a:pt x="8909" y="4455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5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2017"/>
                      <a:pt x="8909" y="4455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684" name="Freeform: Shape 903">
                <a:extLst>
                  <a:ext uri="{FF2B5EF4-FFF2-40B4-BE49-F238E27FC236}">
                    <a16:creationId xmlns:a16="http://schemas.microsoft.com/office/drawing/2014/main" id="{BE0A69A2-84CA-4847-8BF8-856193618F7C}"/>
                  </a:ext>
                </a:extLst>
              </p:cNvPr>
              <p:cNvSpPr/>
              <p:nvPr/>
            </p:nvSpPr>
            <p:spPr>
              <a:xfrm>
                <a:off x="2287231" y="3181564"/>
                <a:ext cx="14623" cy="29572"/>
              </a:xfrm>
              <a:custGeom>
                <a:avLst/>
                <a:gdLst>
                  <a:gd name="connsiteX0" fmla="*/ 0 w 14623"/>
                  <a:gd name="connsiteY0" fmla="*/ 163 h 29572"/>
                  <a:gd name="connsiteX1" fmla="*/ 4370 w 14623"/>
                  <a:gd name="connsiteY1" fmla="*/ 22518 h 29572"/>
                  <a:gd name="connsiteX2" fmla="*/ 14624 w 14623"/>
                  <a:gd name="connsiteY2" fmla="*/ 29410 h 29572"/>
                  <a:gd name="connsiteX3" fmla="*/ 10253 w 14623"/>
                  <a:gd name="connsiteY3" fmla="*/ 7054 h 29572"/>
                  <a:gd name="connsiteX4" fmla="*/ 0 w 14623"/>
                  <a:gd name="connsiteY4" fmla="*/ 163 h 29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2">
                    <a:moveTo>
                      <a:pt x="0" y="163"/>
                    </a:moveTo>
                    <a:lnTo>
                      <a:pt x="4370" y="22518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685" name="Freeform: Shape 904">
                <a:extLst>
                  <a:ext uri="{FF2B5EF4-FFF2-40B4-BE49-F238E27FC236}">
                    <a16:creationId xmlns:a16="http://schemas.microsoft.com/office/drawing/2014/main" id="{520E9F49-3DA0-AB48-B9FC-CBFCEC43D7C4}"/>
                  </a:ext>
                </a:extLst>
              </p:cNvPr>
              <p:cNvSpPr/>
              <p:nvPr/>
            </p:nvSpPr>
            <p:spPr>
              <a:xfrm>
                <a:off x="2270285" y="3220471"/>
                <a:ext cx="22294" cy="27398"/>
              </a:xfrm>
              <a:custGeom>
                <a:avLst/>
                <a:gdLst>
                  <a:gd name="connsiteX0" fmla="*/ 2154 w 22294"/>
                  <a:gd name="connsiteY0" fmla="*/ 27398 h 27398"/>
                  <a:gd name="connsiteX1" fmla="*/ 19299 w 22294"/>
                  <a:gd name="connsiteY1" fmla="*/ 12355 h 27398"/>
                  <a:gd name="connsiteX2" fmla="*/ 20140 w 22294"/>
                  <a:gd name="connsiteY2" fmla="*/ 0 h 27398"/>
                  <a:gd name="connsiteX3" fmla="*/ 2995 w 22294"/>
                  <a:gd name="connsiteY3" fmla="*/ 14960 h 27398"/>
                  <a:gd name="connsiteX4" fmla="*/ 2154 w 22294"/>
                  <a:gd name="connsiteY4" fmla="*/ 27398 h 27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8">
                    <a:moveTo>
                      <a:pt x="2154" y="27398"/>
                    </a:moveTo>
                    <a:lnTo>
                      <a:pt x="19299" y="12355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8"/>
                      <a:pt x="-1039" y="23785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686" name="Freeform: Shape 905">
                <a:extLst>
                  <a:ext uri="{FF2B5EF4-FFF2-40B4-BE49-F238E27FC236}">
                    <a16:creationId xmlns:a16="http://schemas.microsoft.com/office/drawing/2014/main" id="{524B7F2A-6A5E-764E-B01E-5B27A1543EE3}"/>
                  </a:ext>
                </a:extLst>
              </p:cNvPr>
              <p:cNvSpPr/>
              <p:nvPr/>
            </p:nvSpPr>
            <p:spPr>
              <a:xfrm>
                <a:off x="2304376" y="3219772"/>
                <a:ext cx="32693" cy="13662"/>
              </a:xfrm>
              <a:custGeom>
                <a:avLst/>
                <a:gdLst>
                  <a:gd name="connsiteX0" fmla="*/ 32693 w 32693"/>
                  <a:gd name="connsiteY0" fmla="*/ 7675 h 13662"/>
                  <a:gd name="connsiteX1" fmla="*/ 11094 w 32693"/>
                  <a:gd name="connsiteY1" fmla="*/ 448 h 13662"/>
                  <a:gd name="connsiteX2" fmla="*/ 0 w 32693"/>
                  <a:gd name="connsiteY2" fmla="*/ 5994 h 13662"/>
                  <a:gd name="connsiteX3" fmla="*/ 21599 w 32693"/>
                  <a:gd name="connsiteY3" fmla="*/ 13222 h 13662"/>
                  <a:gd name="connsiteX4" fmla="*/ 32693 w 32693"/>
                  <a:gd name="connsiteY4" fmla="*/ 7675 h 13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62">
                    <a:moveTo>
                      <a:pt x="32693" y="7675"/>
                    </a:moveTo>
                    <a:lnTo>
                      <a:pt x="11094" y="448"/>
                    </a:lnTo>
                    <a:cubicBezTo>
                      <a:pt x="6555" y="-1065"/>
                      <a:pt x="1513" y="1372"/>
                      <a:pt x="0" y="5994"/>
                    </a:cubicBezTo>
                    <a:lnTo>
                      <a:pt x="21599" y="13222"/>
                    </a:lnTo>
                    <a:cubicBezTo>
                      <a:pt x="26222" y="14735"/>
                      <a:pt x="31180" y="12214"/>
                      <a:pt x="32693" y="7675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687" name="Freeform: Shape 906">
                <a:extLst>
                  <a:ext uri="{FF2B5EF4-FFF2-40B4-BE49-F238E27FC236}">
                    <a16:creationId xmlns:a16="http://schemas.microsoft.com/office/drawing/2014/main" id="{95D704BB-9D27-D344-B4AE-A5AFB240185C}"/>
                  </a:ext>
                </a:extLst>
              </p:cNvPr>
              <p:cNvSpPr/>
              <p:nvPr/>
            </p:nvSpPr>
            <p:spPr>
              <a:xfrm>
                <a:off x="2293114" y="3228099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2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2"/>
                      <a:pt x="420" y="21872"/>
                      <a:pt x="0" y="33555"/>
                    </a:cubicBezTo>
                    <a:cubicBezTo>
                      <a:pt x="1765" y="35067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688" name="Freeform: Shape 907">
                <a:extLst>
                  <a:ext uri="{FF2B5EF4-FFF2-40B4-BE49-F238E27FC236}">
                    <a16:creationId xmlns:a16="http://schemas.microsoft.com/office/drawing/2014/main" id="{B608151D-077D-4342-B11D-0C88245091FA}"/>
                  </a:ext>
                </a:extLst>
              </p:cNvPr>
              <p:cNvSpPr/>
              <p:nvPr/>
            </p:nvSpPr>
            <p:spPr>
              <a:xfrm>
                <a:off x="2265548" y="3269721"/>
                <a:ext cx="66646" cy="7143"/>
              </a:xfrm>
              <a:custGeom>
                <a:avLst/>
                <a:gdLst>
                  <a:gd name="connsiteX0" fmla="*/ 0 w 66646"/>
                  <a:gd name="connsiteY0" fmla="*/ 0 h 7143"/>
                  <a:gd name="connsiteX1" fmla="*/ 66647 w 66646"/>
                  <a:gd name="connsiteY1" fmla="*/ 0 h 7143"/>
                  <a:gd name="connsiteX2" fmla="*/ 66647 w 66646"/>
                  <a:gd name="connsiteY2" fmla="*/ 7144 h 7143"/>
                  <a:gd name="connsiteX3" fmla="*/ 0 w 66646"/>
                  <a:gd name="connsiteY3" fmla="*/ 7144 h 7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646" h="7143">
                    <a:moveTo>
                      <a:pt x="0" y="0"/>
                    </a:moveTo>
                    <a:lnTo>
                      <a:pt x="66647" y="0"/>
                    </a:lnTo>
                    <a:lnTo>
                      <a:pt x="66647" y="7144"/>
                    </a:lnTo>
                    <a:lnTo>
                      <a:pt x="0" y="7144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</p:grpSp>
        <p:sp>
          <p:nvSpPr>
            <p:cNvPr id="682" name="TextBox 681">
              <a:extLst>
                <a:ext uri="{FF2B5EF4-FFF2-40B4-BE49-F238E27FC236}">
                  <a16:creationId xmlns:a16="http://schemas.microsoft.com/office/drawing/2014/main" id="{67562338-76AF-A44F-93E9-65B2E23A566D}"/>
                </a:ext>
              </a:extLst>
            </p:cNvPr>
            <p:cNvSpPr txBox="1"/>
            <p:nvPr/>
          </p:nvSpPr>
          <p:spPr>
            <a:xfrm>
              <a:off x="765455" y="2935337"/>
              <a:ext cx="675666" cy="9608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>
                <a:lnSpc>
                  <a:spcPct val="96000"/>
                </a:lnSpc>
                <a:spcBef>
                  <a:spcPts val="2400"/>
                </a:spcBef>
              </a:pPr>
              <a:r>
                <a:rPr lang="en-US" sz="867">
                  <a:solidFill>
                    <a:srgbClr val="4099DA"/>
                  </a:solidFill>
                </a:rPr>
                <a:t>Owenreagh1 &amp; 2</a:t>
              </a:r>
            </a:p>
          </p:txBody>
        </p:sp>
      </p:grpSp>
      <p:grpSp>
        <p:nvGrpSpPr>
          <p:cNvPr id="689" name="Group 688">
            <a:extLst>
              <a:ext uri="{FF2B5EF4-FFF2-40B4-BE49-F238E27FC236}">
                <a16:creationId xmlns:a16="http://schemas.microsoft.com/office/drawing/2014/main" id="{918FD101-8F3E-9F4C-90E3-E96A151199FC}"/>
              </a:ext>
            </a:extLst>
          </p:cNvPr>
          <p:cNvGrpSpPr>
            <a:grpSpLocks/>
          </p:cNvGrpSpPr>
          <p:nvPr/>
        </p:nvGrpSpPr>
        <p:grpSpPr>
          <a:xfrm>
            <a:off x="5027069" y="1946871"/>
            <a:ext cx="726053" cy="174373"/>
            <a:chOff x="1499770" y="2920466"/>
            <a:chExt cx="544540" cy="130780"/>
          </a:xfrm>
        </p:grpSpPr>
        <p:grpSp>
          <p:nvGrpSpPr>
            <p:cNvPr id="690" name="Group 689">
              <a:extLst>
                <a:ext uri="{FF2B5EF4-FFF2-40B4-BE49-F238E27FC236}">
                  <a16:creationId xmlns:a16="http://schemas.microsoft.com/office/drawing/2014/main" id="{07C017F5-39E7-FD49-B710-294B4677075B}"/>
                </a:ext>
              </a:extLst>
            </p:cNvPr>
            <p:cNvGrpSpPr/>
            <p:nvPr/>
          </p:nvGrpSpPr>
          <p:grpSpPr>
            <a:xfrm>
              <a:off x="1499770" y="2920466"/>
              <a:ext cx="98148" cy="130780"/>
              <a:chOff x="2265548" y="3181564"/>
              <a:chExt cx="71521" cy="95300"/>
            </a:xfrm>
            <a:solidFill>
              <a:srgbClr val="4099DA"/>
            </a:solidFill>
          </p:grpSpPr>
          <p:sp>
            <p:nvSpPr>
              <p:cNvPr id="692" name="Freeform: Shape 902">
                <a:extLst>
                  <a:ext uri="{FF2B5EF4-FFF2-40B4-BE49-F238E27FC236}">
                    <a16:creationId xmlns:a16="http://schemas.microsoft.com/office/drawing/2014/main" id="{663AA202-AA7A-C948-A60C-73CD0D52C78A}"/>
                  </a:ext>
                </a:extLst>
              </p:cNvPr>
              <p:cNvSpPr/>
              <p:nvPr/>
            </p:nvSpPr>
            <p:spPr>
              <a:xfrm>
                <a:off x="2294459" y="3214588"/>
                <a:ext cx="8908" cy="8909"/>
              </a:xfrm>
              <a:custGeom>
                <a:avLst/>
                <a:gdLst>
                  <a:gd name="connsiteX0" fmla="*/ 8909 w 8908"/>
                  <a:gd name="connsiteY0" fmla="*/ 4455 h 8909"/>
                  <a:gd name="connsiteX1" fmla="*/ 4454 w 8908"/>
                  <a:gd name="connsiteY1" fmla="*/ 8909 h 8909"/>
                  <a:gd name="connsiteX2" fmla="*/ 0 w 8908"/>
                  <a:gd name="connsiteY2" fmla="*/ 4455 h 8909"/>
                  <a:gd name="connsiteX3" fmla="*/ 4454 w 8908"/>
                  <a:gd name="connsiteY3" fmla="*/ 0 h 8909"/>
                  <a:gd name="connsiteX4" fmla="*/ 8909 w 8908"/>
                  <a:gd name="connsiteY4" fmla="*/ 4455 h 8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9">
                    <a:moveTo>
                      <a:pt x="8909" y="4455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5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2017"/>
                      <a:pt x="8909" y="4455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693" name="Freeform: Shape 903">
                <a:extLst>
                  <a:ext uri="{FF2B5EF4-FFF2-40B4-BE49-F238E27FC236}">
                    <a16:creationId xmlns:a16="http://schemas.microsoft.com/office/drawing/2014/main" id="{9D38C703-7082-4E41-A581-1AC74DDE0B66}"/>
                  </a:ext>
                </a:extLst>
              </p:cNvPr>
              <p:cNvSpPr/>
              <p:nvPr/>
            </p:nvSpPr>
            <p:spPr>
              <a:xfrm>
                <a:off x="2287231" y="3181564"/>
                <a:ext cx="14623" cy="29572"/>
              </a:xfrm>
              <a:custGeom>
                <a:avLst/>
                <a:gdLst>
                  <a:gd name="connsiteX0" fmla="*/ 0 w 14623"/>
                  <a:gd name="connsiteY0" fmla="*/ 163 h 29572"/>
                  <a:gd name="connsiteX1" fmla="*/ 4370 w 14623"/>
                  <a:gd name="connsiteY1" fmla="*/ 22518 h 29572"/>
                  <a:gd name="connsiteX2" fmla="*/ 14624 w 14623"/>
                  <a:gd name="connsiteY2" fmla="*/ 29410 h 29572"/>
                  <a:gd name="connsiteX3" fmla="*/ 10253 w 14623"/>
                  <a:gd name="connsiteY3" fmla="*/ 7054 h 29572"/>
                  <a:gd name="connsiteX4" fmla="*/ 0 w 14623"/>
                  <a:gd name="connsiteY4" fmla="*/ 163 h 29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2">
                    <a:moveTo>
                      <a:pt x="0" y="163"/>
                    </a:moveTo>
                    <a:lnTo>
                      <a:pt x="4370" y="22518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694" name="Freeform: Shape 904">
                <a:extLst>
                  <a:ext uri="{FF2B5EF4-FFF2-40B4-BE49-F238E27FC236}">
                    <a16:creationId xmlns:a16="http://schemas.microsoft.com/office/drawing/2014/main" id="{E88067B6-779A-F043-91CA-C636DD013F44}"/>
                  </a:ext>
                </a:extLst>
              </p:cNvPr>
              <p:cNvSpPr/>
              <p:nvPr/>
            </p:nvSpPr>
            <p:spPr>
              <a:xfrm>
                <a:off x="2270285" y="3220471"/>
                <a:ext cx="22294" cy="27398"/>
              </a:xfrm>
              <a:custGeom>
                <a:avLst/>
                <a:gdLst>
                  <a:gd name="connsiteX0" fmla="*/ 2154 w 22294"/>
                  <a:gd name="connsiteY0" fmla="*/ 27398 h 27398"/>
                  <a:gd name="connsiteX1" fmla="*/ 19299 w 22294"/>
                  <a:gd name="connsiteY1" fmla="*/ 12355 h 27398"/>
                  <a:gd name="connsiteX2" fmla="*/ 20140 w 22294"/>
                  <a:gd name="connsiteY2" fmla="*/ 0 h 27398"/>
                  <a:gd name="connsiteX3" fmla="*/ 2995 w 22294"/>
                  <a:gd name="connsiteY3" fmla="*/ 14960 h 27398"/>
                  <a:gd name="connsiteX4" fmla="*/ 2154 w 22294"/>
                  <a:gd name="connsiteY4" fmla="*/ 27398 h 27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8">
                    <a:moveTo>
                      <a:pt x="2154" y="27398"/>
                    </a:moveTo>
                    <a:lnTo>
                      <a:pt x="19299" y="12355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8"/>
                      <a:pt x="-1039" y="23785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695" name="Freeform: Shape 905">
                <a:extLst>
                  <a:ext uri="{FF2B5EF4-FFF2-40B4-BE49-F238E27FC236}">
                    <a16:creationId xmlns:a16="http://schemas.microsoft.com/office/drawing/2014/main" id="{DC273C5D-577D-0046-9F6B-2DA8A039CE88}"/>
                  </a:ext>
                </a:extLst>
              </p:cNvPr>
              <p:cNvSpPr/>
              <p:nvPr/>
            </p:nvSpPr>
            <p:spPr>
              <a:xfrm>
                <a:off x="2304376" y="3219772"/>
                <a:ext cx="32693" cy="13662"/>
              </a:xfrm>
              <a:custGeom>
                <a:avLst/>
                <a:gdLst>
                  <a:gd name="connsiteX0" fmla="*/ 32693 w 32693"/>
                  <a:gd name="connsiteY0" fmla="*/ 7675 h 13662"/>
                  <a:gd name="connsiteX1" fmla="*/ 11094 w 32693"/>
                  <a:gd name="connsiteY1" fmla="*/ 448 h 13662"/>
                  <a:gd name="connsiteX2" fmla="*/ 0 w 32693"/>
                  <a:gd name="connsiteY2" fmla="*/ 5994 h 13662"/>
                  <a:gd name="connsiteX3" fmla="*/ 21599 w 32693"/>
                  <a:gd name="connsiteY3" fmla="*/ 13222 h 13662"/>
                  <a:gd name="connsiteX4" fmla="*/ 32693 w 32693"/>
                  <a:gd name="connsiteY4" fmla="*/ 7675 h 13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62">
                    <a:moveTo>
                      <a:pt x="32693" y="7675"/>
                    </a:moveTo>
                    <a:lnTo>
                      <a:pt x="11094" y="448"/>
                    </a:lnTo>
                    <a:cubicBezTo>
                      <a:pt x="6555" y="-1065"/>
                      <a:pt x="1513" y="1372"/>
                      <a:pt x="0" y="5994"/>
                    </a:cubicBezTo>
                    <a:lnTo>
                      <a:pt x="21599" y="13222"/>
                    </a:lnTo>
                    <a:cubicBezTo>
                      <a:pt x="26222" y="14735"/>
                      <a:pt x="31180" y="12214"/>
                      <a:pt x="32693" y="7675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696" name="Freeform: Shape 906">
                <a:extLst>
                  <a:ext uri="{FF2B5EF4-FFF2-40B4-BE49-F238E27FC236}">
                    <a16:creationId xmlns:a16="http://schemas.microsoft.com/office/drawing/2014/main" id="{57DA37C8-04DC-1846-BF95-BBBBBB5D82D7}"/>
                  </a:ext>
                </a:extLst>
              </p:cNvPr>
              <p:cNvSpPr/>
              <p:nvPr/>
            </p:nvSpPr>
            <p:spPr>
              <a:xfrm>
                <a:off x="2293114" y="3228099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2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2"/>
                      <a:pt x="420" y="21872"/>
                      <a:pt x="0" y="33555"/>
                    </a:cubicBezTo>
                    <a:cubicBezTo>
                      <a:pt x="1765" y="35067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697" name="Freeform: Shape 907">
                <a:extLst>
                  <a:ext uri="{FF2B5EF4-FFF2-40B4-BE49-F238E27FC236}">
                    <a16:creationId xmlns:a16="http://schemas.microsoft.com/office/drawing/2014/main" id="{2B43998B-9BFF-A54C-88BB-45E26DB283D6}"/>
                  </a:ext>
                </a:extLst>
              </p:cNvPr>
              <p:cNvSpPr/>
              <p:nvPr/>
            </p:nvSpPr>
            <p:spPr>
              <a:xfrm>
                <a:off x="2265548" y="3269721"/>
                <a:ext cx="66646" cy="7143"/>
              </a:xfrm>
              <a:custGeom>
                <a:avLst/>
                <a:gdLst>
                  <a:gd name="connsiteX0" fmla="*/ 0 w 66646"/>
                  <a:gd name="connsiteY0" fmla="*/ 0 h 7143"/>
                  <a:gd name="connsiteX1" fmla="*/ 66647 w 66646"/>
                  <a:gd name="connsiteY1" fmla="*/ 0 h 7143"/>
                  <a:gd name="connsiteX2" fmla="*/ 66647 w 66646"/>
                  <a:gd name="connsiteY2" fmla="*/ 7144 h 7143"/>
                  <a:gd name="connsiteX3" fmla="*/ 0 w 66646"/>
                  <a:gd name="connsiteY3" fmla="*/ 7144 h 7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646" h="7143">
                    <a:moveTo>
                      <a:pt x="0" y="0"/>
                    </a:moveTo>
                    <a:lnTo>
                      <a:pt x="66647" y="0"/>
                    </a:lnTo>
                    <a:lnTo>
                      <a:pt x="66647" y="7144"/>
                    </a:lnTo>
                    <a:lnTo>
                      <a:pt x="0" y="7144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</p:grpSp>
        <p:sp>
          <p:nvSpPr>
            <p:cNvPr id="691" name="TextBox 690">
              <a:extLst>
                <a:ext uri="{FF2B5EF4-FFF2-40B4-BE49-F238E27FC236}">
                  <a16:creationId xmlns:a16="http://schemas.microsoft.com/office/drawing/2014/main" id="{B4D389D6-E91E-4145-ABBE-E098192E5E26}"/>
                </a:ext>
              </a:extLst>
            </p:cNvPr>
            <p:cNvSpPr txBox="1"/>
            <p:nvPr/>
          </p:nvSpPr>
          <p:spPr>
            <a:xfrm>
              <a:off x="1648769" y="2940227"/>
              <a:ext cx="395541" cy="9608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2400"/>
                </a:spcBef>
              </a:pPr>
              <a:r>
                <a:rPr lang="en-US" sz="867">
                  <a:solidFill>
                    <a:srgbClr val="4099DA"/>
                  </a:solidFill>
                </a:rPr>
                <a:t>Flughland</a:t>
              </a:r>
            </a:p>
          </p:txBody>
        </p:sp>
      </p:grpSp>
      <p:grpSp>
        <p:nvGrpSpPr>
          <p:cNvPr id="698" name="Group 697">
            <a:extLst>
              <a:ext uri="{FF2B5EF4-FFF2-40B4-BE49-F238E27FC236}">
                <a16:creationId xmlns:a16="http://schemas.microsoft.com/office/drawing/2014/main" id="{984E8091-B5CC-904B-A158-802EE93C1132}"/>
              </a:ext>
            </a:extLst>
          </p:cNvPr>
          <p:cNvGrpSpPr>
            <a:grpSpLocks/>
          </p:cNvGrpSpPr>
          <p:nvPr/>
        </p:nvGrpSpPr>
        <p:grpSpPr>
          <a:xfrm>
            <a:off x="2019684" y="4232552"/>
            <a:ext cx="1445116" cy="174373"/>
            <a:chOff x="514081" y="2920466"/>
            <a:chExt cx="1083837" cy="130780"/>
          </a:xfrm>
        </p:grpSpPr>
        <p:grpSp>
          <p:nvGrpSpPr>
            <p:cNvPr id="699" name="Group 698">
              <a:extLst>
                <a:ext uri="{FF2B5EF4-FFF2-40B4-BE49-F238E27FC236}">
                  <a16:creationId xmlns:a16="http://schemas.microsoft.com/office/drawing/2014/main" id="{C071B78C-08B1-5441-8B5B-EFB35155A2D5}"/>
                </a:ext>
              </a:extLst>
            </p:cNvPr>
            <p:cNvGrpSpPr/>
            <p:nvPr/>
          </p:nvGrpSpPr>
          <p:grpSpPr>
            <a:xfrm>
              <a:off x="1499770" y="2920466"/>
              <a:ext cx="98148" cy="130780"/>
              <a:chOff x="2265548" y="3181564"/>
              <a:chExt cx="71521" cy="95300"/>
            </a:xfrm>
            <a:solidFill>
              <a:srgbClr val="4099DA"/>
            </a:solidFill>
          </p:grpSpPr>
          <p:sp>
            <p:nvSpPr>
              <p:cNvPr id="701" name="Freeform: Shape 902">
                <a:extLst>
                  <a:ext uri="{FF2B5EF4-FFF2-40B4-BE49-F238E27FC236}">
                    <a16:creationId xmlns:a16="http://schemas.microsoft.com/office/drawing/2014/main" id="{4A48DE2D-F0D4-A644-B594-CAB02C9459F8}"/>
                  </a:ext>
                </a:extLst>
              </p:cNvPr>
              <p:cNvSpPr/>
              <p:nvPr/>
            </p:nvSpPr>
            <p:spPr>
              <a:xfrm>
                <a:off x="2294459" y="3214588"/>
                <a:ext cx="8908" cy="8909"/>
              </a:xfrm>
              <a:custGeom>
                <a:avLst/>
                <a:gdLst>
                  <a:gd name="connsiteX0" fmla="*/ 8909 w 8908"/>
                  <a:gd name="connsiteY0" fmla="*/ 4455 h 8909"/>
                  <a:gd name="connsiteX1" fmla="*/ 4454 w 8908"/>
                  <a:gd name="connsiteY1" fmla="*/ 8909 h 8909"/>
                  <a:gd name="connsiteX2" fmla="*/ 0 w 8908"/>
                  <a:gd name="connsiteY2" fmla="*/ 4455 h 8909"/>
                  <a:gd name="connsiteX3" fmla="*/ 4454 w 8908"/>
                  <a:gd name="connsiteY3" fmla="*/ 0 h 8909"/>
                  <a:gd name="connsiteX4" fmla="*/ 8909 w 8908"/>
                  <a:gd name="connsiteY4" fmla="*/ 4455 h 8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9">
                    <a:moveTo>
                      <a:pt x="8909" y="4455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5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2017"/>
                      <a:pt x="8909" y="4455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702" name="Freeform: Shape 903">
                <a:extLst>
                  <a:ext uri="{FF2B5EF4-FFF2-40B4-BE49-F238E27FC236}">
                    <a16:creationId xmlns:a16="http://schemas.microsoft.com/office/drawing/2014/main" id="{77474832-2033-2244-9AA3-2B4D27254647}"/>
                  </a:ext>
                </a:extLst>
              </p:cNvPr>
              <p:cNvSpPr/>
              <p:nvPr/>
            </p:nvSpPr>
            <p:spPr>
              <a:xfrm>
                <a:off x="2287231" y="3181564"/>
                <a:ext cx="14623" cy="29572"/>
              </a:xfrm>
              <a:custGeom>
                <a:avLst/>
                <a:gdLst>
                  <a:gd name="connsiteX0" fmla="*/ 0 w 14623"/>
                  <a:gd name="connsiteY0" fmla="*/ 163 h 29572"/>
                  <a:gd name="connsiteX1" fmla="*/ 4370 w 14623"/>
                  <a:gd name="connsiteY1" fmla="*/ 22518 h 29572"/>
                  <a:gd name="connsiteX2" fmla="*/ 14624 w 14623"/>
                  <a:gd name="connsiteY2" fmla="*/ 29410 h 29572"/>
                  <a:gd name="connsiteX3" fmla="*/ 10253 w 14623"/>
                  <a:gd name="connsiteY3" fmla="*/ 7054 h 29572"/>
                  <a:gd name="connsiteX4" fmla="*/ 0 w 14623"/>
                  <a:gd name="connsiteY4" fmla="*/ 163 h 29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2">
                    <a:moveTo>
                      <a:pt x="0" y="163"/>
                    </a:moveTo>
                    <a:lnTo>
                      <a:pt x="4370" y="22518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703" name="Freeform: Shape 904">
                <a:extLst>
                  <a:ext uri="{FF2B5EF4-FFF2-40B4-BE49-F238E27FC236}">
                    <a16:creationId xmlns:a16="http://schemas.microsoft.com/office/drawing/2014/main" id="{A44E2807-F723-114D-9D45-C7A372A4777C}"/>
                  </a:ext>
                </a:extLst>
              </p:cNvPr>
              <p:cNvSpPr/>
              <p:nvPr/>
            </p:nvSpPr>
            <p:spPr>
              <a:xfrm>
                <a:off x="2270285" y="3220471"/>
                <a:ext cx="22294" cy="27398"/>
              </a:xfrm>
              <a:custGeom>
                <a:avLst/>
                <a:gdLst>
                  <a:gd name="connsiteX0" fmla="*/ 2154 w 22294"/>
                  <a:gd name="connsiteY0" fmla="*/ 27398 h 27398"/>
                  <a:gd name="connsiteX1" fmla="*/ 19299 w 22294"/>
                  <a:gd name="connsiteY1" fmla="*/ 12355 h 27398"/>
                  <a:gd name="connsiteX2" fmla="*/ 20140 w 22294"/>
                  <a:gd name="connsiteY2" fmla="*/ 0 h 27398"/>
                  <a:gd name="connsiteX3" fmla="*/ 2995 w 22294"/>
                  <a:gd name="connsiteY3" fmla="*/ 14960 h 27398"/>
                  <a:gd name="connsiteX4" fmla="*/ 2154 w 22294"/>
                  <a:gd name="connsiteY4" fmla="*/ 27398 h 27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8">
                    <a:moveTo>
                      <a:pt x="2154" y="27398"/>
                    </a:moveTo>
                    <a:lnTo>
                      <a:pt x="19299" y="12355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8"/>
                      <a:pt x="-1039" y="23785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704" name="Freeform: Shape 905">
                <a:extLst>
                  <a:ext uri="{FF2B5EF4-FFF2-40B4-BE49-F238E27FC236}">
                    <a16:creationId xmlns:a16="http://schemas.microsoft.com/office/drawing/2014/main" id="{972D7386-9B54-A34A-B5C2-5DDAE77E7DEB}"/>
                  </a:ext>
                </a:extLst>
              </p:cNvPr>
              <p:cNvSpPr/>
              <p:nvPr/>
            </p:nvSpPr>
            <p:spPr>
              <a:xfrm>
                <a:off x="2304376" y="3219772"/>
                <a:ext cx="32693" cy="13662"/>
              </a:xfrm>
              <a:custGeom>
                <a:avLst/>
                <a:gdLst>
                  <a:gd name="connsiteX0" fmla="*/ 32693 w 32693"/>
                  <a:gd name="connsiteY0" fmla="*/ 7675 h 13662"/>
                  <a:gd name="connsiteX1" fmla="*/ 11094 w 32693"/>
                  <a:gd name="connsiteY1" fmla="*/ 448 h 13662"/>
                  <a:gd name="connsiteX2" fmla="*/ 0 w 32693"/>
                  <a:gd name="connsiteY2" fmla="*/ 5994 h 13662"/>
                  <a:gd name="connsiteX3" fmla="*/ 21599 w 32693"/>
                  <a:gd name="connsiteY3" fmla="*/ 13222 h 13662"/>
                  <a:gd name="connsiteX4" fmla="*/ 32693 w 32693"/>
                  <a:gd name="connsiteY4" fmla="*/ 7675 h 13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62">
                    <a:moveTo>
                      <a:pt x="32693" y="7675"/>
                    </a:moveTo>
                    <a:lnTo>
                      <a:pt x="11094" y="448"/>
                    </a:lnTo>
                    <a:cubicBezTo>
                      <a:pt x="6555" y="-1065"/>
                      <a:pt x="1513" y="1372"/>
                      <a:pt x="0" y="5994"/>
                    </a:cubicBezTo>
                    <a:lnTo>
                      <a:pt x="21599" y="13222"/>
                    </a:lnTo>
                    <a:cubicBezTo>
                      <a:pt x="26222" y="14735"/>
                      <a:pt x="31180" y="12214"/>
                      <a:pt x="32693" y="7675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705" name="Freeform: Shape 906">
                <a:extLst>
                  <a:ext uri="{FF2B5EF4-FFF2-40B4-BE49-F238E27FC236}">
                    <a16:creationId xmlns:a16="http://schemas.microsoft.com/office/drawing/2014/main" id="{7D673EBB-77BD-4546-A6E6-6B6D2556CFAA}"/>
                  </a:ext>
                </a:extLst>
              </p:cNvPr>
              <p:cNvSpPr/>
              <p:nvPr/>
            </p:nvSpPr>
            <p:spPr>
              <a:xfrm>
                <a:off x="2293114" y="3228099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2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2"/>
                      <a:pt x="420" y="21872"/>
                      <a:pt x="0" y="33555"/>
                    </a:cubicBezTo>
                    <a:cubicBezTo>
                      <a:pt x="1765" y="35067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706" name="Freeform: Shape 907">
                <a:extLst>
                  <a:ext uri="{FF2B5EF4-FFF2-40B4-BE49-F238E27FC236}">
                    <a16:creationId xmlns:a16="http://schemas.microsoft.com/office/drawing/2014/main" id="{71402F83-4DFB-4541-B8FD-2E4DBFF9F914}"/>
                  </a:ext>
                </a:extLst>
              </p:cNvPr>
              <p:cNvSpPr/>
              <p:nvPr/>
            </p:nvSpPr>
            <p:spPr>
              <a:xfrm>
                <a:off x="2265548" y="3269721"/>
                <a:ext cx="66646" cy="7143"/>
              </a:xfrm>
              <a:custGeom>
                <a:avLst/>
                <a:gdLst>
                  <a:gd name="connsiteX0" fmla="*/ 0 w 66646"/>
                  <a:gd name="connsiteY0" fmla="*/ 0 h 7143"/>
                  <a:gd name="connsiteX1" fmla="*/ 66647 w 66646"/>
                  <a:gd name="connsiteY1" fmla="*/ 0 h 7143"/>
                  <a:gd name="connsiteX2" fmla="*/ 66647 w 66646"/>
                  <a:gd name="connsiteY2" fmla="*/ 7144 h 7143"/>
                  <a:gd name="connsiteX3" fmla="*/ 0 w 66646"/>
                  <a:gd name="connsiteY3" fmla="*/ 7144 h 7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646" h="7143">
                    <a:moveTo>
                      <a:pt x="0" y="0"/>
                    </a:moveTo>
                    <a:lnTo>
                      <a:pt x="66647" y="0"/>
                    </a:lnTo>
                    <a:lnTo>
                      <a:pt x="66647" y="7144"/>
                    </a:lnTo>
                    <a:lnTo>
                      <a:pt x="0" y="7144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</p:grpSp>
        <p:sp>
          <p:nvSpPr>
            <p:cNvPr id="700" name="TextBox 699">
              <a:extLst>
                <a:ext uri="{FF2B5EF4-FFF2-40B4-BE49-F238E27FC236}">
                  <a16:creationId xmlns:a16="http://schemas.microsoft.com/office/drawing/2014/main" id="{9AB869FC-1335-7B44-9626-C6F9D2CC7BBF}"/>
                </a:ext>
              </a:extLst>
            </p:cNvPr>
            <p:cNvSpPr txBox="1"/>
            <p:nvPr/>
          </p:nvSpPr>
          <p:spPr>
            <a:xfrm>
              <a:off x="514081" y="2940227"/>
              <a:ext cx="834363" cy="9608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>
                <a:lnSpc>
                  <a:spcPct val="96000"/>
                </a:lnSpc>
                <a:spcBef>
                  <a:spcPts val="2400"/>
                </a:spcBef>
              </a:pPr>
              <a:r>
                <a:rPr lang="en-US" sz="867">
                  <a:solidFill>
                    <a:srgbClr val="4099DA"/>
                  </a:solidFill>
                </a:rPr>
                <a:t>Knockawarriga 1 &amp; 2</a:t>
              </a:r>
            </a:p>
          </p:txBody>
        </p:sp>
      </p:grpSp>
      <p:grpSp>
        <p:nvGrpSpPr>
          <p:cNvPr id="707" name="Group 706">
            <a:extLst>
              <a:ext uri="{FF2B5EF4-FFF2-40B4-BE49-F238E27FC236}">
                <a16:creationId xmlns:a16="http://schemas.microsoft.com/office/drawing/2014/main" id="{70E9BEC3-2C7A-B34C-9589-15FD11491488}"/>
              </a:ext>
            </a:extLst>
          </p:cNvPr>
          <p:cNvGrpSpPr>
            <a:grpSpLocks/>
          </p:cNvGrpSpPr>
          <p:nvPr/>
        </p:nvGrpSpPr>
        <p:grpSpPr>
          <a:xfrm>
            <a:off x="3192192" y="4238282"/>
            <a:ext cx="130864" cy="174373"/>
            <a:chOff x="2265548" y="3181564"/>
            <a:chExt cx="71521" cy="95300"/>
          </a:xfrm>
          <a:solidFill>
            <a:srgbClr val="4099DA"/>
          </a:solidFill>
        </p:grpSpPr>
        <p:sp>
          <p:nvSpPr>
            <p:cNvPr id="708" name="Freeform: Shape 902">
              <a:extLst>
                <a:ext uri="{FF2B5EF4-FFF2-40B4-BE49-F238E27FC236}">
                  <a16:creationId xmlns:a16="http://schemas.microsoft.com/office/drawing/2014/main" id="{C46BC73C-9540-834A-8CFD-782827E9AC60}"/>
                </a:ext>
              </a:extLst>
            </p:cNvPr>
            <p:cNvSpPr/>
            <p:nvPr/>
          </p:nvSpPr>
          <p:spPr>
            <a:xfrm>
              <a:off x="2294459" y="3214588"/>
              <a:ext cx="8908" cy="8909"/>
            </a:xfrm>
            <a:custGeom>
              <a:avLst/>
              <a:gdLst>
                <a:gd name="connsiteX0" fmla="*/ 8909 w 8908"/>
                <a:gd name="connsiteY0" fmla="*/ 4455 h 8909"/>
                <a:gd name="connsiteX1" fmla="*/ 4454 w 8908"/>
                <a:gd name="connsiteY1" fmla="*/ 8909 h 8909"/>
                <a:gd name="connsiteX2" fmla="*/ 0 w 8908"/>
                <a:gd name="connsiteY2" fmla="*/ 4455 h 8909"/>
                <a:gd name="connsiteX3" fmla="*/ 4454 w 8908"/>
                <a:gd name="connsiteY3" fmla="*/ 0 h 8909"/>
                <a:gd name="connsiteX4" fmla="*/ 8909 w 8908"/>
                <a:gd name="connsiteY4" fmla="*/ 4455 h 8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08" h="8909">
                  <a:moveTo>
                    <a:pt x="8909" y="4455"/>
                  </a:moveTo>
                  <a:cubicBezTo>
                    <a:pt x="8909" y="6892"/>
                    <a:pt x="6892" y="8909"/>
                    <a:pt x="4454" y="8909"/>
                  </a:cubicBezTo>
                  <a:cubicBezTo>
                    <a:pt x="2017" y="8909"/>
                    <a:pt x="0" y="6892"/>
                    <a:pt x="0" y="4455"/>
                  </a:cubicBezTo>
                  <a:cubicBezTo>
                    <a:pt x="0" y="1933"/>
                    <a:pt x="2017" y="0"/>
                    <a:pt x="4454" y="0"/>
                  </a:cubicBezTo>
                  <a:cubicBezTo>
                    <a:pt x="6892" y="0"/>
                    <a:pt x="8909" y="2017"/>
                    <a:pt x="8909" y="4455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67"/>
            </a:p>
          </p:txBody>
        </p:sp>
        <p:sp>
          <p:nvSpPr>
            <p:cNvPr id="709" name="Freeform: Shape 903">
              <a:extLst>
                <a:ext uri="{FF2B5EF4-FFF2-40B4-BE49-F238E27FC236}">
                  <a16:creationId xmlns:a16="http://schemas.microsoft.com/office/drawing/2014/main" id="{1E7EDAF5-0374-914F-8317-BA93F3EF6E5E}"/>
                </a:ext>
              </a:extLst>
            </p:cNvPr>
            <p:cNvSpPr/>
            <p:nvPr/>
          </p:nvSpPr>
          <p:spPr>
            <a:xfrm>
              <a:off x="2287231" y="3181564"/>
              <a:ext cx="14623" cy="29572"/>
            </a:xfrm>
            <a:custGeom>
              <a:avLst/>
              <a:gdLst>
                <a:gd name="connsiteX0" fmla="*/ 0 w 14623"/>
                <a:gd name="connsiteY0" fmla="*/ 163 h 29572"/>
                <a:gd name="connsiteX1" fmla="*/ 4370 w 14623"/>
                <a:gd name="connsiteY1" fmla="*/ 22518 h 29572"/>
                <a:gd name="connsiteX2" fmla="*/ 14624 w 14623"/>
                <a:gd name="connsiteY2" fmla="*/ 29410 h 29572"/>
                <a:gd name="connsiteX3" fmla="*/ 10253 w 14623"/>
                <a:gd name="connsiteY3" fmla="*/ 7054 h 29572"/>
                <a:gd name="connsiteX4" fmla="*/ 0 w 14623"/>
                <a:gd name="connsiteY4" fmla="*/ 163 h 29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23" h="29572">
                  <a:moveTo>
                    <a:pt x="0" y="163"/>
                  </a:moveTo>
                  <a:lnTo>
                    <a:pt x="4370" y="22518"/>
                  </a:lnTo>
                  <a:cubicBezTo>
                    <a:pt x="5295" y="27225"/>
                    <a:pt x="9917" y="30335"/>
                    <a:pt x="14624" y="29410"/>
                  </a:cubicBezTo>
                  <a:lnTo>
                    <a:pt x="10253" y="7054"/>
                  </a:lnTo>
                  <a:cubicBezTo>
                    <a:pt x="9413" y="2348"/>
                    <a:pt x="4791" y="-762"/>
                    <a:pt x="0" y="163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67"/>
            </a:p>
          </p:txBody>
        </p:sp>
        <p:sp>
          <p:nvSpPr>
            <p:cNvPr id="710" name="Freeform: Shape 904">
              <a:extLst>
                <a:ext uri="{FF2B5EF4-FFF2-40B4-BE49-F238E27FC236}">
                  <a16:creationId xmlns:a16="http://schemas.microsoft.com/office/drawing/2014/main" id="{D7A358C9-DA2C-1E4E-B78B-62EFF3E48DC9}"/>
                </a:ext>
              </a:extLst>
            </p:cNvPr>
            <p:cNvSpPr/>
            <p:nvPr/>
          </p:nvSpPr>
          <p:spPr>
            <a:xfrm>
              <a:off x="2270285" y="3220471"/>
              <a:ext cx="22294" cy="27398"/>
            </a:xfrm>
            <a:custGeom>
              <a:avLst/>
              <a:gdLst>
                <a:gd name="connsiteX0" fmla="*/ 2154 w 22294"/>
                <a:gd name="connsiteY0" fmla="*/ 27398 h 27398"/>
                <a:gd name="connsiteX1" fmla="*/ 19299 w 22294"/>
                <a:gd name="connsiteY1" fmla="*/ 12355 h 27398"/>
                <a:gd name="connsiteX2" fmla="*/ 20140 w 22294"/>
                <a:gd name="connsiteY2" fmla="*/ 0 h 27398"/>
                <a:gd name="connsiteX3" fmla="*/ 2995 w 22294"/>
                <a:gd name="connsiteY3" fmla="*/ 14960 h 27398"/>
                <a:gd name="connsiteX4" fmla="*/ 2154 w 22294"/>
                <a:gd name="connsiteY4" fmla="*/ 27398 h 273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294" h="27398">
                  <a:moveTo>
                    <a:pt x="2154" y="27398"/>
                  </a:moveTo>
                  <a:lnTo>
                    <a:pt x="19299" y="12355"/>
                  </a:lnTo>
                  <a:cubicBezTo>
                    <a:pt x="22913" y="9161"/>
                    <a:pt x="23334" y="3614"/>
                    <a:pt x="20140" y="0"/>
                  </a:cubicBezTo>
                  <a:lnTo>
                    <a:pt x="2995" y="14960"/>
                  </a:lnTo>
                  <a:cubicBezTo>
                    <a:pt x="-619" y="18238"/>
                    <a:pt x="-1039" y="23785"/>
                    <a:pt x="2154" y="27398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67"/>
            </a:p>
          </p:txBody>
        </p:sp>
        <p:sp>
          <p:nvSpPr>
            <p:cNvPr id="711" name="Freeform: Shape 905">
              <a:extLst>
                <a:ext uri="{FF2B5EF4-FFF2-40B4-BE49-F238E27FC236}">
                  <a16:creationId xmlns:a16="http://schemas.microsoft.com/office/drawing/2014/main" id="{55BE1E77-622A-A74A-881A-E4F0B3252578}"/>
                </a:ext>
              </a:extLst>
            </p:cNvPr>
            <p:cNvSpPr/>
            <p:nvPr/>
          </p:nvSpPr>
          <p:spPr>
            <a:xfrm>
              <a:off x="2304376" y="3219772"/>
              <a:ext cx="32693" cy="13662"/>
            </a:xfrm>
            <a:custGeom>
              <a:avLst/>
              <a:gdLst>
                <a:gd name="connsiteX0" fmla="*/ 32693 w 32693"/>
                <a:gd name="connsiteY0" fmla="*/ 7675 h 13662"/>
                <a:gd name="connsiteX1" fmla="*/ 11094 w 32693"/>
                <a:gd name="connsiteY1" fmla="*/ 448 h 13662"/>
                <a:gd name="connsiteX2" fmla="*/ 0 w 32693"/>
                <a:gd name="connsiteY2" fmla="*/ 5994 h 13662"/>
                <a:gd name="connsiteX3" fmla="*/ 21599 w 32693"/>
                <a:gd name="connsiteY3" fmla="*/ 13222 h 13662"/>
                <a:gd name="connsiteX4" fmla="*/ 32693 w 32693"/>
                <a:gd name="connsiteY4" fmla="*/ 7675 h 13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693" h="13662">
                  <a:moveTo>
                    <a:pt x="32693" y="7675"/>
                  </a:moveTo>
                  <a:lnTo>
                    <a:pt x="11094" y="448"/>
                  </a:lnTo>
                  <a:cubicBezTo>
                    <a:pt x="6555" y="-1065"/>
                    <a:pt x="1513" y="1372"/>
                    <a:pt x="0" y="5994"/>
                  </a:cubicBezTo>
                  <a:lnTo>
                    <a:pt x="21599" y="13222"/>
                  </a:lnTo>
                  <a:cubicBezTo>
                    <a:pt x="26222" y="14735"/>
                    <a:pt x="31180" y="12214"/>
                    <a:pt x="32693" y="7675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67"/>
            </a:p>
          </p:txBody>
        </p:sp>
        <p:sp>
          <p:nvSpPr>
            <p:cNvPr id="712" name="Freeform: Shape 906">
              <a:extLst>
                <a:ext uri="{FF2B5EF4-FFF2-40B4-BE49-F238E27FC236}">
                  <a16:creationId xmlns:a16="http://schemas.microsoft.com/office/drawing/2014/main" id="{80396B96-0565-EF45-8A5A-31A3A8CD3D94}"/>
                </a:ext>
              </a:extLst>
            </p:cNvPr>
            <p:cNvSpPr/>
            <p:nvPr/>
          </p:nvSpPr>
          <p:spPr>
            <a:xfrm>
              <a:off x="2293114" y="3228099"/>
              <a:ext cx="11514" cy="36075"/>
            </a:xfrm>
            <a:custGeom>
              <a:avLst/>
              <a:gdLst>
                <a:gd name="connsiteX0" fmla="*/ 5799 w 11514"/>
                <a:gd name="connsiteY0" fmla="*/ 36076 h 36075"/>
                <a:gd name="connsiteX1" fmla="*/ 11514 w 11514"/>
                <a:gd name="connsiteY1" fmla="*/ 33807 h 36075"/>
                <a:gd name="connsiteX2" fmla="*/ 9497 w 11514"/>
                <a:gd name="connsiteY2" fmla="*/ 3467 h 36075"/>
                <a:gd name="connsiteX3" fmla="*/ 2017 w 11514"/>
                <a:gd name="connsiteY3" fmla="*/ 3467 h 36075"/>
                <a:gd name="connsiteX4" fmla="*/ 0 w 11514"/>
                <a:gd name="connsiteY4" fmla="*/ 33555 h 36075"/>
                <a:gd name="connsiteX5" fmla="*/ 5799 w 11514"/>
                <a:gd name="connsiteY5" fmla="*/ 36076 h 3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514" h="36075">
                  <a:moveTo>
                    <a:pt x="5799" y="36076"/>
                  </a:moveTo>
                  <a:cubicBezTo>
                    <a:pt x="7732" y="36076"/>
                    <a:pt x="9749" y="35320"/>
                    <a:pt x="11514" y="33807"/>
                  </a:cubicBezTo>
                  <a:cubicBezTo>
                    <a:pt x="11094" y="22041"/>
                    <a:pt x="10253" y="6492"/>
                    <a:pt x="9497" y="3467"/>
                  </a:cubicBezTo>
                  <a:cubicBezTo>
                    <a:pt x="8320" y="-1156"/>
                    <a:pt x="3194" y="-1156"/>
                    <a:pt x="2017" y="3467"/>
                  </a:cubicBezTo>
                  <a:cubicBezTo>
                    <a:pt x="1261" y="6492"/>
                    <a:pt x="420" y="21872"/>
                    <a:pt x="0" y="33555"/>
                  </a:cubicBezTo>
                  <a:cubicBezTo>
                    <a:pt x="1765" y="35067"/>
                    <a:pt x="3782" y="36076"/>
                    <a:pt x="5799" y="36076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67"/>
            </a:p>
          </p:txBody>
        </p:sp>
        <p:sp>
          <p:nvSpPr>
            <p:cNvPr id="713" name="Freeform: Shape 907">
              <a:extLst>
                <a:ext uri="{FF2B5EF4-FFF2-40B4-BE49-F238E27FC236}">
                  <a16:creationId xmlns:a16="http://schemas.microsoft.com/office/drawing/2014/main" id="{64CF8720-B8D3-EB41-9AAC-2B1062AAB4DA}"/>
                </a:ext>
              </a:extLst>
            </p:cNvPr>
            <p:cNvSpPr/>
            <p:nvPr/>
          </p:nvSpPr>
          <p:spPr>
            <a:xfrm>
              <a:off x="2265548" y="3269721"/>
              <a:ext cx="66646" cy="7143"/>
            </a:xfrm>
            <a:custGeom>
              <a:avLst/>
              <a:gdLst>
                <a:gd name="connsiteX0" fmla="*/ 0 w 66646"/>
                <a:gd name="connsiteY0" fmla="*/ 0 h 7143"/>
                <a:gd name="connsiteX1" fmla="*/ 66647 w 66646"/>
                <a:gd name="connsiteY1" fmla="*/ 0 h 7143"/>
                <a:gd name="connsiteX2" fmla="*/ 66647 w 66646"/>
                <a:gd name="connsiteY2" fmla="*/ 7144 h 7143"/>
                <a:gd name="connsiteX3" fmla="*/ 0 w 66646"/>
                <a:gd name="connsiteY3" fmla="*/ 7144 h 71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46" h="7143">
                  <a:moveTo>
                    <a:pt x="0" y="0"/>
                  </a:moveTo>
                  <a:lnTo>
                    <a:pt x="66647" y="0"/>
                  </a:lnTo>
                  <a:lnTo>
                    <a:pt x="66647" y="7144"/>
                  </a:lnTo>
                  <a:lnTo>
                    <a:pt x="0" y="7144"/>
                  </a:lnTo>
                  <a:close/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67"/>
            </a:p>
          </p:txBody>
        </p:sp>
      </p:grpSp>
      <p:grpSp>
        <p:nvGrpSpPr>
          <p:cNvPr id="714" name="Group 713">
            <a:extLst>
              <a:ext uri="{FF2B5EF4-FFF2-40B4-BE49-F238E27FC236}">
                <a16:creationId xmlns:a16="http://schemas.microsoft.com/office/drawing/2014/main" id="{55F59330-73D2-974F-A4FC-50A4DEBA2CAC}"/>
              </a:ext>
            </a:extLst>
          </p:cNvPr>
          <p:cNvGrpSpPr>
            <a:grpSpLocks/>
          </p:cNvGrpSpPr>
          <p:nvPr/>
        </p:nvGrpSpPr>
        <p:grpSpPr>
          <a:xfrm>
            <a:off x="3872647" y="3951201"/>
            <a:ext cx="1337393" cy="321512"/>
            <a:chOff x="1499770" y="2810112"/>
            <a:chExt cx="1003045" cy="241134"/>
          </a:xfrm>
        </p:grpSpPr>
        <p:grpSp>
          <p:nvGrpSpPr>
            <p:cNvPr id="715" name="Group 714">
              <a:extLst>
                <a:ext uri="{FF2B5EF4-FFF2-40B4-BE49-F238E27FC236}">
                  <a16:creationId xmlns:a16="http://schemas.microsoft.com/office/drawing/2014/main" id="{FCCF41BB-62E3-6541-B58E-B1FF7B79234A}"/>
                </a:ext>
              </a:extLst>
            </p:cNvPr>
            <p:cNvGrpSpPr/>
            <p:nvPr/>
          </p:nvGrpSpPr>
          <p:grpSpPr>
            <a:xfrm>
              <a:off x="1499770" y="2920466"/>
              <a:ext cx="98148" cy="130780"/>
              <a:chOff x="2265548" y="3181564"/>
              <a:chExt cx="71521" cy="95300"/>
            </a:xfrm>
            <a:solidFill>
              <a:srgbClr val="4099DA"/>
            </a:solidFill>
          </p:grpSpPr>
          <p:sp>
            <p:nvSpPr>
              <p:cNvPr id="717" name="Freeform: Shape 902">
                <a:extLst>
                  <a:ext uri="{FF2B5EF4-FFF2-40B4-BE49-F238E27FC236}">
                    <a16:creationId xmlns:a16="http://schemas.microsoft.com/office/drawing/2014/main" id="{9D9C9034-2458-1F4E-A407-A8B653BF70E1}"/>
                  </a:ext>
                </a:extLst>
              </p:cNvPr>
              <p:cNvSpPr/>
              <p:nvPr/>
            </p:nvSpPr>
            <p:spPr>
              <a:xfrm>
                <a:off x="2294459" y="3214588"/>
                <a:ext cx="8908" cy="8909"/>
              </a:xfrm>
              <a:custGeom>
                <a:avLst/>
                <a:gdLst>
                  <a:gd name="connsiteX0" fmla="*/ 8909 w 8908"/>
                  <a:gd name="connsiteY0" fmla="*/ 4455 h 8909"/>
                  <a:gd name="connsiteX1" fmla="*/ 4454 w 8908"/>
                  <a:gd name="connsiteY1" fmla="*/ 8909 h 8909"/>
                  <a:gd name="connsiteX2" fmla="*/ 0 w 8908"/>
                  <a:gd name="connsiteY2" fmla="*/ 4455 h 8909"/>
                  <a:gd name="connsiteX3" fmla="*/ 4454 w 8908"/>
                  <a:gd name="connsiteY3" fmla="*/ 0 h 8909"/>
                  <a:gd name="connsiteX4" fmla="*/ 8909 w 8908"/>
                  <a:gd name="connsiteY4" fmla="*/ 4455 h 8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9">
                    <a:moveTo>
                      <a:pt x="8909" y="4455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5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2017"/>
                      <a:pt x="8909" y="4455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718" name="Freeform: Shape 903">
                <a:extLst>
                  <a:ext uri="{FF2B5EF4-FFF2-40B4-BE49-F238E27FC236}">
                    <a16:creationId xmlns:a16="http://schemas.microsoft.com/office/drawing/2014/main" id="{4FFC0091-E44C-8944-99C8-56747A7B130B}"/>
                  </a:ext>
                </a:extLst>
              </p:cNvPr>
              <p:cNvSpPr/>
              <p:nvPr/>
            </p:nvSpPr>
            <p:spPr>
              <a:xfrm>
                <a:off x="2287231" y="3181564"/>
                <a:ext cx="14623" cy="29572"/>
              </a:xfrm>
              <a:custGeom>
                <a:avLst/>
                <a:gdLst>
                  <a:gd name="connsiteX0" fmla="*/ 0 w 14623"/>
                  <a:gd name="connsiteY0" fmla="*/ 163 h 29572"/>
                  <a:gd name="connsiteX1" fmla="*/ 4370 w 14623"/>
                  <a:gd name="connsiteY1" fmla="*/ 22518 h 29572"/>
                  <a:gd name="connsiteX2" fmla="*/ 14624 w 14623"/>
                  <a:gd name="connsiteY2" fmla="*/ 29410 h 29572"/>
                  <a:gd name="connsiteX3" fmla="*/ 10253 w 14623"/>
                  <a:gd name="connsiteY3" fmla="*/ 7054 h 29572"/>
                  <a:gd name="connsiteX4" fmla="*/ 0 w 14623"/>
                  <a:gd name="connsiteY4" fmla="*/ 163 h 29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2">
                    <a:moveTo>
                      <a:pt x="0" y="163"/>
                    </a:moveTo>
                    <a:lnTo>
                      <a:pt x="4370" y="22518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719" name="Freeform: Shape 904">
                <a:extLst>
                  <a:ext uri="{FF2B5EF4-FFF2-40B4-BE49-F238E27FC236}">
                    <a16:creationId xmlns:a16="http://schemas.microsoft.com/office/drawing/2014/main" id="{9A134E87-F4C1-8A43-BFA3-3F2CFEFC043B}"/>
                  </a:ext>
                </a:extLst>
              </p:cNvPr>
              <p:cNvSpPr/>
              <p:nvPr/>
            </p:nvSpPr>
            <p:spPr>
              <a:xfrm>
                <a:off x="2270285" y="3220471"/>
                <a:ext cx="22294" cy="27398"/>
              </a:xfrm>
              <a:custGeom>
                <a:avLst/>
                <a:gdLst>
                  <a:gd name="connsiteX0" fmla="*/ 2154 w 22294"/>
                  <a:gd name="connsiteY0" fmla="*/ 27398 h 27398"/>
                  <a:gd name="connsiteX1" fmla="*/ 19299 w 22294"/>
                  <a:gd name="connsiteY1" fmla="*/ 12355 h 27398"/>
                  <a:gd name="connsiteX2" fmla="*/ 20140 w 22294"/>
                  <a:gd name="connsiteY2" fmla="*/ 0 h 27398"/>
                  <a:gd name="connsiteX3" fmla="*/ 2995 w 22294"/>
                  <a:gd name="connsiteY3" fmla="*/ 14960 h 27398"/>
                  <a:gd name="connsiteX4" fmla="*/ 2154 w 22294"/>
                  <a:gd name="connsiteY4" fmla="*/ 27398 h 27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8">
                    <a:moveTo>
                      <a:pt x="2154" y="27398"/>
                    </a:moveTo>
                    <a:lnTo>
                      <a:pt x="19299" y="12355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8"/>
                      <a:pt x="-1039" y="23785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720" name="Freeform: Shape 905">
                <a:extLst>
                  <a:ext uri="{FF2B5EF4-FFF2-40B4-BE49-F238E27FC236}">
                    <a16:creationId xmlns:a16="http://schemas.microsoft.com/office/drawing/2014/main" id="{AA74FBE9-B94E-DF40-8453-555B267143D2}"/>
                  </a:ext>
                </a:extLst>
              </p:cNvPr>
              <p:cNvSpPr/>
              <p:nvPr/>
            </p:nvSpPr>
            <p:spPr>
              <a:xfrm>
                <a:off x="2304376" y="3219772"/>
                <a:ext cx="32693" cy="13662"/>
              </a:xfrm>
              <a:custGeom>
                <a:avLst/>
                <a:gdLst>
                  <a:gd name="connsiteX0" fmla="*/ 32693 w 32693"/>
                  <a:gd name="connsiteY0" fmla="*/ 7675 h 13662"/>
                  <a:gd name="connsiteX1" fmla="*/ 11094 w 32693"/>
                  <a:gd name="connsiteY1" fmla="*/ 448 h 13662"/>
                  <a:gd name="connsiteX2" fmla="*/ 0 w 32693"/>
                  <a:gd name="connsiteY2" fmla="*/ 5994 h 13662"/>
                  <a:gd name="connsiteX3" fmla="*/ 21599 w 32693"/>
                  <a:gd name="connsiteY3" fmla="*/ 13222 h 13662"/>
                  <a:gd name="connsiteX4" fmla="*/ 32693 w 32693"/>
                  <a:gd name="connsiteY4" fmla="*/ 7675 h 13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62">
                    <a:moveTo>
                      <a:pt x="32693" y="7675"/>
                    </a:moveTo>
                    <a:lnTo>
                      <a:pt x="11094" y="448"/>
                    </a:lnTo>
                    <a:cubicBezTo>
                      <a:pt x="6555" y="-1065"/>
                      <a:pt x="1513" y="1372"/>
                      <a:pt x="0" y="5994"/>
                    </a:cubicBezTo>
                    <a:lnTo>
                      <a:pt x="21599" y="13222"/>
                    </a:lnTo>
                    <a:cubicBezTo>
                      <a:pt x="26222" y="14735"/>
                      <a:pt x="31180" y="12214"/>
                      <a:pt x="32693" y="7675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721" name="Freeform: Shape 906">
                <a:extLst>
                  <a:ext uri="{FF2B5EF4-FFF2-40B4-BE49-F238E27FC236}">
                    <a16:creationId xmlns:a16="http://schemas.microsoft.com/office/drawing/2014/main" id="{DE6D4FDE-9A21-1441-ACA1-44F7BCFAA5A3}"/>
                  </a:ext>
                </a:extLst>
              </p:cNvPr>
              <p:cNvSpPr/>
              <p:nvPr/>
            </p:nvSpPr>
            <p:spPr>
              <a:xfrm>
                <a:off x="2293114" y="3228099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2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2"/>
                      <a:pt x="420" y="21872"/>
                      <a:pt x="0" y="33555"/>
                    </a:cubicBezTo>
                    <a:cubicBezTo>
                      <a:pt x="1765" y="35067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722" name="Freeform: Shape 907">
                <a:extLst>
                  <a:ext uri="{FF2B5EF4-FFF2-40B4-BE49-F238E27FC236}">
                    <a16:creationId xmlns:a16="http://schemas.microsoft.com/office/drawing/2014/main" id="{01CDCBC8-BB58-D043-A17D-7250DADF85AF}"/>
                  </a:ext>
                </a:extLst>
              </p:cNvPr>
              <p:cNvSpPr/>
              <p:nvPr/>
            </p:nvSpPr>
            <p:spPr>
              <a:xfrm>
                <a:off x="2265548" y="3269721"/>
                <a:ext cx="66646" cy="7143"/>
              </a:xfrm>
              <a:custGeom>
                <a:avLst/>
                <a:gdLst>
                  <a:gd name="connsiteX0" fmla="*/ 0 w 66646"/>
                  <a:gd name="connsiteY0" fmla="*/ 0 h 7143"/>
                  <a:gd name="connsiteX1" fmla="*/ 66647 w 66646"/>
                  <a:gd name="connsiteY1" fmla="*/ 0 h 7143"/>
                  <a:gd name="connsiteX2" fmla="*/ 66647 w 66646"/>
                  <a:gd name="connsiteY2" fmla="*/ 7144 h 7143"/>
                  <a:gd name="connsiteX3" fmla="*/ 0 w 66646"/>
                  <a:gd name="connsiteY3" fmla="*/ 7144 h 7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646" h="7143">
                    <a:moveTo>
                      <a:pt x="0" y="0"/>
                    </a:moveTo>
                    <a:lnTo>
                      <a:pt x="66647" y="0"/>
                    </a:lnTo>
                    <a:lnTo>
                      <a:pt x="66647" y="7144"/>
                    </a:lnTo>
                    <a:lnTo>
                      <a:pt x="0" y="7144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</p:grpSp>
        <p:sp>
          <p:nvSpPr>
            <p:cNvPr id="716" name="TextBox 715">
              <a:extLst>
                <a:ext uri="{FF2B5EF4-FFF2-40B4-BE49-F238E27FC236}">
                  <a16:creationId xmlns:a16="http://schemas.microsoft.com/office/drawing/2014/main" id="{F74B1A8F-AAF5-3746-AA0E-AF1527B6AD09}"/>
                </a:ext>
              </a:extLst>
            </p:cNvPr>
            <p:cNvSpPr txBox="1"/>
            <p:nvPr/>
          </p:nvSpPr>
          <p:spPr>
            <a:xfrm>
              <a:off x="1514564" y="2810112"/>
              <a:ext cx="988251" cy="9608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2400"/>
                </a:spcBef>
              </a:pPr>
              <a:r>
                <a:rPr lang="en-US" sz="867">
                  <a:solidFill>
                    <a:srgbClr val="4099DA"/>
                  </a:solidFill>
                </a:rPr>
                <a:t>Garracummer &amp; Mienvee</a:t>
              </a:r>
            </a:p>
          </p:txBody>
        </p:sp>
      </p:grpSp>
      <p:sp>
        <p:nvSpPr>
          <p:cNvPr id="723" name="TextBox 722">
            <a:extLst>
              <a:ext uri="{FF2B5EF4-FFF2-40B4-BE49-F238E27FC236}">
                <a16:creationId xmlns:a16="http://schemas.microsoft.com/office/drawing/2014/main" id="{614851FA-F9AF-5B4B-AD2E-3BA2DDAEA6C8}"/>
              </a:ext>
            </a:extLst>
          </p:cNvPr>
          <p:cNvSpPr txBox="1">
            <a:spLocks/>
          </p:cNvSpPr>
          <p:nvPr/>
        </p:nvSpPr>
        <p:spPr>
          <a:xfrm>
            <a:off x="7224607" y="4856582"/>
            <a:ext cx="1219886" cy="1772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6000"/>
              </a:lnSpc>
              <a:spcBef>
                <a:spcPts val="2400"/>
              </a:spcBef>
            </a:pPr>
            <a:r>
              <a:rPr lang="en-US" sz="1200" b="1">
                <a:solidFill>
                  <a:schemeClr val="tx2"/>
                </a:solidFill>
              </a:rPr>
              <a:t>United Kingdom</a:t>
            </a:r>
          </a:p>
        </p:txBody>
      </p:sp>
      <p:grpSp>
        <p:nvGrpSpPr>
          <p:cNvPr id="724" name="Group 723">
            <a:extLst>
              <a:ext uri="{FF2B5EF4-FFF2-40B4-BE49-F238E27FC236}">
                <a16:creationId xmlns:a16="http://schemas.microsoft.com/office/drawing/2014/main" id="{6B3550F2-D27B-F143-B48F-90293185AF7A}"/>
              </a:ext>
            </a:extLst>
          </p:cNvPr>
          <p:cNvGrpSpPr>
            <a:grpSpLocks/>
          </p:cNvGrpSpPr>
          <p:nvPr/>
        </p:nvGrpSpPr>
        <p:grpSpPr>
          <a:xfrm>
            <a:off x="7351687" y="5129299"/>
            <a:ext cx="1020019" cy="131669"/>
            <a:chOff x="12728598" y="3388491"/>
            <a:chExt cx="828766" cy="106981"/>
          </a:xfrm>
        </p:grpSpPr>
        <p:sp>
          <p:nvSpPr>
            <p:cNvPr id="725" name="Freeform: Shape 413">
              <a:extLst>
                <a:ext uri="{FF2B5EF4-FFF2-40B4-BE49-F238E27FC236}">
                  <a16:creationId xmlns:a16="http://schemas.microsoft.com/office/drawing/2014/main" id="{DDBAB009-9A49-5A4E-9AA1-783E9398A535}"/>
                </a:ext>
              </a:extLst>
            </p:cNvPr>
            <p:cNvSpPr/>
            <p:nvPr/>
          </p:nvSpPr>
          <p:spPr>
            <a:xfrm>
              <a:off x="12728598" y="3388491"/>
              <a:ext cx="106316" cy="106316"/>
            </a:xfrm>
            <a:custGeom>
              <a:avLst/>
              <a:gdLst>
                <a:gd name="connsiteX0" fmla="*/ 0 w 71521"/>
                <a:gd name="connsiteY0" fmla="*/ 20003 h 71521"/>
                <a:gd name="connsiteX1" fmla="*/ 16220 w 71521"/>
                <a:gd name="connsiteY1" fmla="*/ 7480 h 71521"/>
                <a:gd name="connsiteX2" fmla="*/ 16220 w 71521"/>
                <a:gd name="connsiteY2" fmla="*/ 84 h 71521"/>
                <a:gd name="connsiteX3" fmla="*/ 0 w 71521"/>
                <a:gd name="connsiteY3" fmla="*/ 84 h 71521"/>
                <a:gd name="connsiteX4" fmla="*/ 0 w 71521"/>
                <a:gd name="connsiteY4" fmla="*/ 20003 h 71521"/>
                <a:gd name="connsiteX5" fmla="*/ 62109 w 71521"/>
                <a:gd name="connsiteY5" fmla="*/ 62108 h 71521"/>
                <a:gd name="connsiteX6" fmla="*/ 52696 w 71521"/>
                <a:gd name="connsiteY6" fmla="*/ 62108 h 71521"/>
                <a:gd name="connsiteX7" fmla="*/ 52696 w 71521"/>
                <a:gd name="connsiteY7" fmla="*/ 52695 h 71521"/>
                <a:gd name="connsiteX8" fmla="*/ 62109 w 71521"/>
                <a:gd name="connsiteY8" fmla="*/ 52695 h 71521"/>
                <a:gd name="connsiteX9" fmla="*/ 62109 w 71521"/>
                <a:gd name="connsiteY9" fmla="*/ 62108 h 71521"/>
                <a:gd name="connsiteX10" fmla="*/ 62109 w 71521"/>
                <a:gd name="connsiteY10" fmla="*/ 45636 h 71521"/>
                <a:gd name="connsiteX11" fmla="*/ 52696 w 71521"/>
                <a:gd name="connsiteY11" fmla="*/ 45636 h 71521"/>
                <a:gd name="connsiteX12" fmla="*/ 52696 w 71521"/>
                <a:gd name="connsiteY12" fmla="*/ 36223 h 71521"/>
                <a:gd name="connsiteX13" fmla="*/ 62109 w 71521"/>
                <a:gd name="connsiteY13" fmla="*/ 36223 h 71521"/>
                <a:gd name="connsiteX14" fmla="*/ 62109 w 71521"/>
                <a:gd name="connsiteY14" fmla="*/ 45636 h 71521"/>
                <a:gd name="connsiteX15" fmla="*/ 45636 w 71521"/>
                <a:gd name="connsiteY15" fmla="*/ 62108 h 71521"/>
                <a:gd name="connsiteX16" fmla="*/ 36223 w 71521"/>
                <a:gd name="connsiteY16" fmla="*/ 62108 h 71521"/>
                <a:gd name="connsiteX17" fmla="*/ 36223 w 71521"/>
                <a:gd name="connsiteY17" fmla="*/ 52695 h 71521"/>
                <a:gd name="connsiteX18" fmla="*/ 45636 w 71521"/>
                <a:gd name="connsiteY18" fmla="*/ 52695 h 71521"/>
                <a:gd name="connsiteX19" fmla="*/ 45636 w 71521"/>
                <a:gd name="connsiteY19" fmla="*/ 62108 h 71521"/>
                <a:gd name="connsiteX20" fmla="*/ 45636 w 71521"/>
                <a:gd name="connsiteY20" fmla="*/ 45636 h 71521"/>
                <a:gd name="connsiteX21" fmla="*/ 36223 w 71521"/>
                <a:gd name="connsiteY21" fmla="*/ 45636 h 71521"/>
                <a:gd name="connsiteX22" fmla="*/ 36223 w 71521"/>
                <a:gd name="connsiteY22" fmla="*/ 36223 h 71521"/>
                <a:gd name="connsiteX23" fmla="*/ 45636 w 71521"/>
                <a:gd name="connsiteY23" fmla="*/ 36223 h 71521"/>
                <a:gd name="connsiteX24" fmla="*/ 45636 w 71521"/>
                <a:gd name="connsiteY24" fmla="*/ 45636 h 71521"/>
                <a:gd name="connsiteX25" fmla="*/ 71522 w 71521"/>
                <a:gd name="connsiteY25" fmla="*/ 71521 h 71521"/>
                <a:gd name="connsiteX26" fmla="*/ 71522 w 71521"/>
                <a:gd name="connsiteY26" fmla="*/ 27650 h 71521"/>
                <a:gd name="connsiteX27" fmla="*/ 35803 w 71521"/>
                <a:gd name="connsiteY27" fmla="*/ 0 h 71521"/>
                <a:gd name="connsiteX28" fmla="*/ 84 w 71521"/>
                <a:gd name="connsiteY28" fmla="*/ 27650 h 71521"/>
                <a:gd name="connsiteX29" fmla="*/ 84 w 71521"/>
                <a:gd name="connsiteY29" fmla="*/ 71521 h 71521"/>
                <a:gd name="connsiteX30" fmla="*/ 71522 w 71521"/>
                <a:gd name="connsiteY30" fmla="*/ 71521 h 71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71521" h="71521">
                  <a:moveTo>
                    <a:pt x="0" y="20003"/>
                  </a:moveTo>
                  <a:lnTo>
                    <a:pt x="16220" y="7480"/>
                  </a:lnTo>
                  <a:lnTo>
                    <a:pt x="16220" y="84"/>
                  </a:lnTo>
                  <a:lnTo>
                    <a:pt x="0" y="84"/>
                  </a:lnTo>
                  <a:lnTo>
                    <a:pt x="0" y="20003"/>
                  </a:lnTo>
                  <a:close/>
                  <a:moveTo>
                    <a:pt x="62109" y="62108"/>
                  </a:moveTo>
                  <a:lnTo>
                    <a:pt x="52696" y="62108"/>
                  </a:lnTo>
                  <a:lnTo>
                    <a:pt x="52696" y="52695"/>
                  </a:lnTo>
                  <a:lnTo>
                    <a:pt x="62109" y="52695"/>
                  </a:lnTo>
                  <a:lnTo>
                    <a:pt x="62109" y="62108"/>
                  </a:lnTo>
                  <a:close/>
                  <a:moveTo>
                    <a:pt x="62109" y="45636"/>
                  </a:moveTo>
                  <a:lnTo>
                    <a:pt x="52696" y="45636"/>
                  </a:lnTo>
                  <a:lnTo>
                    <a:pt x="52696" y="36223"/>
                  </a:lnTo>
                  <a:lnTo>
                    <a:pt x="62109" y="36223"/>
                  </a:lnTo>
                  <a:lnTo>
                    <a:pt x="62109" y="45636"/>
                  </a:lnTo>
                  <a:close/>
                  <a:moveTo>
                    <a:pt x="45636" y="62108"/>
                  </a:moveTo>
                  <a:lnTo>
                    <a:pt x="36223" y="62108"/>
                  </a:lnTo>
                  <a:lnTo>
                    <a:pt x="36223" y="52695"/>
                  </a:lnTo>
                  <a:lnTo>
                    <a:pt x="45636" y="52695"/>
                  </a:lnTo>
                  <a:lnTo>
                    <a:pt x="45636" y="62108"/>
                  </a:lnTo>
                  <a:close/>
                  <a:moveTo>
                    <a:pt x="45636" y="45636"/>
                  </a:moveTo>
                  <a:lnTo>
                    <a:pt x="36223" y="45636"/>
                  </a:lnTo>
                  <a:lnTo>
                    <a:pt x="36223" y="36223"/>
                  </a:lnTo>
                  <a:lnTo>
                    <a:pt x="45636" y="36223"/>
                  </a:lnTo>
                  <a:lnTo>
                    <a:pt x="45636" y="45636"/>
                  </a:lnTo>
                  <a:close/>
                  <a:moveTo>
                    <a:pt x="71522" y="71521"/>
                  </a:moveTo>
                  <a:lnTo>
                    <a:pt x="71522" y="27650"/>
                  </a:lnTo>
                  <a:lnTo>
                    <a:pt x="35803" y="0"/>
                  </a:lnTo>
                  <a:lnTo>
                    <a:pt x="84" y="27650"/>
                  </a:lnTo>
                  <a:lnTo>
                    <a:pt x="84" y="71521"/>
                  </a:lnTo>
                  <a:lnTo>
                    <a:pt x="71522" y="71521"/>
                  </a:lnTo>
                  <a:close/>
                </a:path>
              </a:pathLst>
            </a:custGeom>
            <a:solidFill>
              <a:srgbClr val="3B4956"/>
            </a:solidFill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726" name="TextBox 725">
              <a:extLst>
                <a:ext uri="{FF2B5EF4-FFF2-40B4-BE49-F238E27FC236}">
                  <a16:creationId xmlns:a16="http://schemas.microsoft.com/office/drawing/2014/main" id="{0C6E72D8-62A7-D743-ADE5-BB7B57653791}"/>
                </a:ext>
              </a:extLst>
            </p:cNvPr>
            <p:cNvSpPr txBox="1"/>
            <p:nvPr/>
          </p:nvSpPr>
          <p:spPr>
            <a:xfrm>
              <a:off x="12894422" y="3391381"/>
              <a:ext cx="662942" cy="10409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2400"/>
                </a:spcBef>
              </a:pPr>
              <a:r>
                <a:rPr lang="en-US" sz="867">
                  <a:solidFill>
                    <a:schemeClr val="tx2"/>
                  </a:solidFill>
                </a:rPr>
                <a:t>Sales of energy</a:t>
              </a:r>
            </a:p>
          </p:txBody>
        </p:sp>
      </p:grpSp>
      <p:grpSp>
        <p:nvGrpSpPr>
          <p:cNvPr id="727" name="Group 726">
            <a:extLst>
              <a:ext uri="{FF2B5EF4-FFF2-40B4-BE49-F238E27FC236}">
                <a16:creationId xmlns:a16="http://schemas.microsoft.com/office/drawing/2014/main" id="{476A7CF8-68B3-784A-9D67-B6EAE6BC2A45}"/>
              </a:ext>
            </a:extLst>
          </p:cNvPr>
          <p:cNvGrpSpPr>
            <a:grpSpLocks/>
          </p:cNvGrpSpPr>
          <p:nvPr/>
        </p:nvGrpSpPr>
        <p:grpSpPr>
          <a:xfrm>
            <a:off x="8760651" y="3214307"/>
            <a:ext cx="1226131" cy="189840"/>
            <a:chOff x="3305390" y="2057985"/>
            <a:chExt cx="919598" cy="142380"/>
          </a:xfrm>
        </p:grpSpPr>
        <p:grpSp>
          <p:nvGrpSpPr>
            <p:cNvPr id="728" name="Group 727">
              <a:extLst>
                <a:ext uri="{FF2B5EF4-FFF2-40B4-BE49-F238E27FC236}">
                  <a16:creationId xmlns:a16="http://schemas.microsoft.com/office/drawing/2014/main" id="{3B1E2421-9895-A447-8726-5B1F6E52EAF0}"/>
                </a:ext>
              </a:extLst>
            </p:cNvPr>
            <p:cNvGrpSpPr/>
            <p:nvPr/>
          </p:nvGrpSpPr>
          <p:grpSpPr>
            <a:xfrm>
              <a:off x="3305390" y="2057985"/>
              <a:ext cx="98138" cy="130766"/>
              <a:chOff x="2265548" y="3068441"/>
              <a:chExt cx="71521" cy="95300"/>
            </a:xfrm>
            <a:solidFill>
              <a:schemeClr val="accent1"/>
            </a:solidFill>
          </p:grpSpPr>
          <p:sp>
            <p:nvSpPr>
              <p:cNvPr id="730" name="Freeform: Shape 495">
                <a:extLst>
                  <a:ext uri="{FF2B5EF4-FFF2-40B4-BE49-F238E27FC236}">
                    <a16:creationId xmlns:a16="http://schemas.microsoft.com/office/drawing/2014/main" id="{2F500BFE-378F-A24F-8BE3-8AE9E6620E8E}"/>
                  </a:ext>
                </a:extLst>
              </p:cNvPr>
              <p:cNvSpPr/>
              <p:nvPr/>
            </p:nvSpPr>
            <p:spPr>
              <a:xfrm>
                <a:off x="2265548" y="3153152"/>
                <a:ext cx="66731" cy="10589"/>
              </a:xfrm>
              <a:custGeom>
                <a:avLst/>
                <a:gdLst>
                  <a:gd name="connsiteX0" fmla="*/ 62529 w 66731"/>
                  <a:gd name="connsiteY0" fmla="*/ 1513 h 10589"/>
                  <a:gd name="connsiteX1" fmla="*/ 61604 w 66731"/>
                  <a:gd name="connsiteY1" fmla="*/ 1933 h 10589"/>
                  <a:gd name="connsiteX2" fmla="*/ 55721 w 66731"/>
                  <a:gd name="connsiteY2" fmla="*/ 3530 h 10589"/>
                  <a:gd name="connsiteX3" fmla="*/ 49586 w 66731"/>
                  <a:gd name="connsiteY3" fmla="*/ 1681 h 10589"/>
                  <a:gd name="connsiteX4" fmla="*/ 49418 w 66731"/>
                  <a:gd name="connsiteY4" fmla="*/ 1597 h 10589"/>
                  <a:gd name="connsiteX5" fmla="*/ 44712 w 66731"/>
                  <a:gd name="connsiteY5" fmla="*/ 168 h 10589"/>
                  <a:gd name="connsiteX6" fmla="*/ 40005 w 66731"/>
                  <a:gd name="connsiteY6" fmla="*/ 1597 h 10589"/>
                  <a:gd name="connsiteX7" fmla="*/ 39837 w 66731"/>
                  <a:gd name="connsiteY7" fmla="*/ 1681 h 10589"/>
                  <a:gd name="connsiteX8" fmla="*/ 33702 w 66731"/>
                  <a:gd name="connsiteY8" fmla="*/ 3530 h 10589"/>
                  <a:gd name="connsiteX9" fmla="*/ 27567 w 66731"/>
                  <a:gd name="connsiteY9" fmla="*/ 1681 h 10589"/>
                  <a:gd name="connsiteX10" fmla="*/ 27398 w 66731"/>
                  <a:gd name="connsiteY10" fmla="*/ 1597 h 10589"/>
                  <a:gd name="connsiteX11" fmla="*/ 22692 w 66731"/>
                  <a:gd name="connsiteY11" fmla="*/ 168 h 10589"/>
                  <a:gd name="connsiteX12" fmla="*/ 17649 w 66731"/>
                  <a:gd name="connsiteY12" fmla="*/ 1513 h 10589"/>
                  <a:gd name="connsiteX13" fmla="*/ 11514 w 66731"/>
                  <a:gd name="connsiteY13" fmla="*/ 3362 h 10589"/>
                  <a:gd name="connsiteX14" fmla="*/ 5379 w 66731"/>
                  <a:gd name="connsiteY14" fmla="*/ 1513 h 10589"/>
                  <a:gd name="connsiteX15" fmla="*/ 5211 w 66731"/>
                  <a:gd name="connsiteY15" fmla="*/ 1429 h 10589"/>
                  <a:gd name="connsiteX16" fmla="*/ 588 w 66731"/>
                  <a:gd name="connsiteY16" fmla="*/ 0 h 10589"/>
                  <a:gd name="connsiteX17" fmla="*/ 0 w 66731"/>
                  <a:gd name="connsiteY17" fmla="*/ 0 h 10589"/>
                  <a:gd name="connsiteX18" fmla="*/ 0 w 66731"/>
                  <a:gd name="connsiteY18" fmla="*/ 7060 h 10589"/>
                  <a:gd name="connsiteX19" fmla="*/ 588 w 66731"/>
                  <a:gd name="connsiteY19" fmla="*/ 7060 h 10589"/>
                  <a:gd name="connsiteX20" fmla="*/ 3950 w 66731"/>
                  <a:gd name="connsiteY20" fmla="*/ 8237 h 10589"/>
                  <a:gd name="connsiteX21" fmla="*/ 4454 w 66731"/>
                  <a:gd name="connsiteY21" fmla="*/ 8489 h 10589"/>
                  <a:gd name="connsiteX22" fmla="*/ 11514 w 66731"/>
                  <a:gd name="connsiteY22" fmla="*/ 10590 h 10589"/>
                  <a:gd name="connsiteX23" fmla="*/ 19078 w 66731"/>
                  <a:gd name="connsiteY23" fmla="*/ 8237 h 10589"/>
                  <a:gd name="connsiteX24" fmla="*/ 19246 w 66731"/>
                  <a:gd name="connsiteY24" fmla="*/ 8153 h 10589"/>
                  <a:gd name="connsiteX25" fmla="*/ 22692 w 66731"/>
                  <a:gd name="connsiteY25" fmla="*/ 7060 h 10589"/>
                  <a:gd name="connsiteX26" fmla="*/ 26306 w 66731"/>
                  <a:gd name="connsiteY26" fmla="*/ 8237 h 10589"/>
                  <a:gd name="connsiteX27" fmla="*/ 26726 w 66731"/>
                  <a:gd name="connsiteY27" fmla="*/ 8489 h 10589"/>
                  <a:gd name="connsiteX28" fmla="*/ 33870 w 66731"/>
                  <a:gd name="connsiteY28" fmla="*/ 10590 h 10589"/>
                  <a:gd name="connsiteX29" fmla="*/ 41434 w 66731"/>
                  <a:gd name="connsiteY29" fmla="*/ 8237 h 10589"/>
                  <a:gd name="connsiteX30" fmla="*/ 41602 w 66731"/>
                  <a:gd name="connsiteY30" fmla="*/ 8153 h 10589"/>
                  <a:gd name="connsiteX31" fmla="*/ 45048 w 66731"/>
                  <a:gd name="connsiteY31" fmla="*/ 7060 h 10589"/>
                  <a:gd name="connsiteX32" fmla="*/ 48662 w 66731"/>
                  <a:gd name="connsiteY32" fmla="*/ 8237 h 10589"/>
                  <a:gd name="connsiteX33" fmla="*/ 49082 w 66731"/>
                  <a:gd name="connsiteY33" fmla="*/ 8489 h 10589"/>
                  <a:gd name="connsiteX34" fmla="*/ 56226 w 66731"/>
                  <a:gd name="connsiteY34" fmla="*/ 10590 h 10589"/>
                  <a:gd name="connsiteX35" fmla="*/ 63790 w 66731"/>
                  <a:gd name="connsiteY35" fmla="*/ 8237 h 10589"/>
                  <a:gd name="connsiteX36" fmla="*/ 66227 w 66731"/>
                  <a:gd name="connsiteY36" fmla="*/ 7144 h 10589"/>
                  <a:gd name="connsiteX37" fmla="*/ 66731 w 66731"/>
                  <a:gd name="connsiteY37" fmla="*/ 7060 h 10589"/>
                  <a:gd name="connsiteX38" fmla="*/ 66731 w 66731"/>
                  <a:gd name="connsiteY38" fmla="*/ 0 h 10589"/>
                  <a:gd name="connsiteX39" fmla="*/ 66059 w 66731"/>
                  <a:gd name="connsiteY39" fmla="*/ 84 h 10589"/>
                  <a:gd name="connsiteX40" fmla="*/ 62529 w 66731"/>
                  <a:gd name="connsiteY40" fmla="*/ 1513 h 10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66731" h="10589">
                    <a:moveTo>
                      <a:pt x="62529" y="1513"/>
                    </a:moveTo>
                    <a:cubicBezTo>
                      <a:pt x="62193" y="1681"/>
                      <a:pt x="61856" y="1849"/>
                      <a:pt x="61604" y="1933"/>
                    </a:cubicBezTo>
                    <a:cubicBezTo>
                      <a:pt x="60008" y="2689"/>
                      <a:pt x="58327" y="3530"/>
                      <a:pt x="55721" y="3530"/>
                    </a:cubicBezTo>
                    <a:cubicBezTo>
                      <a:pt x="52528" y="3530"/>
                      <a:pt x="51015" y="2522"/>
                      <a:pt x="49586" y="1681"/>
                    </a:cubicBezTo>
                    <a:lnTo>
                      <a:pt x="49418" y="1597"/>
                    </a:lnTo>
                    <a:cubicBezTo>
                      <a:pt x="48157" y="841"/>
                      <a:pt x="46981" y="168"/>
                      <a:pt x="44712" y="168"/>
                    </a:cubicBezTo>
                    <a:cubicBezTo>
                      <a:pt x="42442" y="168"/>
                      <a:pt x="41182" y="841"/>
                      <a:pt x="40005" y="1597"/>
                    </a:cubicBezTo>
                    <a:lnTo>
                      <a:pt x="39837" y="1681"/>
                    </a:lnTo>
                    <a:cubicBezTo>
                      <a:pt x="38492" y="2522"/>
                      <a:pt x="36895" y="3530"/>
                      <a:pt x="33702" y="3530"/>
                    </a:cubicBezTo>
                    <a:cubicBezTo>
                      <a:pt x="30508" y="3530"/>
                      <a:pt x="28911" y="2522"/>
                      <a:pt x="27567" y="1681"/>
                    </a:cubicBezTo>
                    <a:lnTo>
                      <a:pt x="27398" y="1597"/>
                    </a:lnTo>
                    <a:cubicBezTo>
                      <a:pt x="26138" y="841"/>
                      <a:pt x="24961" y="168"/>
                      <a:pt x="22692" y="168"/>
                    </a:cubicBezTo>
                    <a:cubicBezTo>
                      <a:pt x="20255" y="168"/>
                      <a:pt x="19078" y="757"/>
                      <a:pt x="17649" y="1513"/>
                    </a:cubicBezTo>
                    <a:cubicBezTo>
                      <a:pt x="16305" y="2353"/>
                      <a:pt x="14708" y="3362"/>
                      <a:pt x="11514" y="3362"/>
                    </a:cubicBezTo>
                    <a:cubicBezTo>
                      <a:pt x="8404" y="3362"/>
                      <a:pt x="6724" y="2353"/>
                      <a:pt x="5379" y="1513"/>
                    </a:cubicBezTo>
                    <a:lnTo>
                      <a:pt x="5211" y="1429"/>
                    </a:lnTo>
                    <a:cubicBezTo>
                      <a:pt x="3950" y="672"/>
                      <a:pt x="2773" y="0"/>
                      <a:pt x="588" y="0"/>
                    </a:cubicBezTo>
                    <a:lnTo>
                      <a:pt x="0" y="0"/>
                    </a:lnTo>
                    <a:lnTo>
                      <a:pt x="0" y="7060"/>
                    </a:lnTo>
                    <a:lnTo>
                      <a:pt x="588" y="7060"/>
                    </a:lnTo>
                    <a:cubicBezTo>
                      <a:pt x="2101" y="7060"/>
                      <a:pt x="2858" y="7480"/>
                      <a:pt x="3950" y="8237"/>
                    </a:cubicBezTo>
                    <a:lnTo>
                      <a:pt x="4454" y="8489"/>
                    </a:lnTo>
                    <a:cubicBezTo>
                      <a:pt x="5967" y="9329"/>
                      <a:pt x="8068" y="10590"/>
                      <a:pt x="11514" y="10590"/>
                    </a:cubicBezTo>
                    <a:cubicBezTo>
                      <a:pt x="15212" y="10590"/>
                      <a:pt x="17313" y="9413"/>
                      <a:pt x="19078" y="8237"/>
                    </a:cubicBezTo>
                    <a:lnTo>
                      <a:pt x="19246" y="8153"/>
                    </a:lnTo>
                    <a:cubicBezTo>
                      <a:pt x="20339" y="7480"/>
                      <a:pt x="21011" y="7060"/>
                      <a:pt x="22692" y="7060"/>
                    </a:cubicBezTo>
                    <a:cubicBezTo>
                      <a:pt x="24373" y="7060"/>
                      <a:pt x="25297" y="7564"/>
                      <a:pt x="26306" y="8237"/>
                    </a:cubicBezTo>
                    <a:lnTo>
                      <a:pt x="26726" y="8489"/>
                    </a:lnTo>
                    <a:cubicBezTo>
                      <a:pt x="28239" y="9329"/>
                      <a:pt x="30340" y="10590"/>
                      <a:pt x="33870" y="10590"/>
                    </a:cubicBezTo>
                    <a:cubicBezTo>
                      <a:pt x="37568" y="10590"/>
                      <a:pt x="39669" y="9413"/>
                      <a:pt x="41434" y="8237"/>
                    </a:cubicBezTo>
                    <a:lnTo>
                      <a:pt x="41602" y="8153"/>
                    </a:lnTo>
                    <a:cubicBezTo>
                      <a:pt x="42694" y="7480"/>
                      <a:pt x="43367" y="7060"/>
                      <a:pt x="45048" y="7060"/>
                    </a:cubicBezTo>
                    <a:cubicBezTo>
                      <a:pt x="46729" y="7060"/>
                      <a:pt x="47653" y="7564"/>
                      <a:pt x="48662" y="8237"/>
                    </a:cubicBezTo>
                    <a:lnTo>
                      <a:pt x="49082" y="8489"/>
                    </a:lnTo>
                    <a:cubicBezTo>
                      <a:pt x="50595" y="9329"/>
                      <a:pt x="52696" y="10590"/>
                      <a:pt x="56226" y="10590"/>
                    </a:cubicBezTo>
                    <a:cubicBezTo>
                      <a:pt x="59923" y="10590"/>
                      <a:pt x="62025" y="9413"/>
                      <a:pt x="63790" y="8237"/>
                    </a:cubicBezTo>
                    <a:cubicBezTo>
                      <a:pt x="64630" y="7648"/>
                      <a:pt x="65302" y="7228"/>
                      <a:pt x="66227" y="7144"/>
                    </a:cubicBezTo>
                    <a:lnTo>
                      <a:pt x="66731" y="7060"/>
                    </a:lnTo>
                    <a:lnTo>
                      <a:pt x="66731" y="0"/>
                    </a:lnTo>
                    <a:lnTo>
                      <a:pt x="66059" y="84"/>
                    </a:lnTo>
                    <a:cubicBezTo>
                      <a:pt x="64546" y="337"/>
                      <a:pt x="63537" y="841"/>
                      <a:pt x="62529" y="151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731" name="Freeform: Shape 496">
                <a:extLst>
                  <a:ext uri="{FF2B5EF4-FFF2-40B4-BE49-F238E27FC236}">
                    <a16:creationId xmlns:a16="http://schemas.microsoft.com/office/drawing/2014/main" id="{9DEE086C-267B-694D-A2B3-DD3A21F88453}"/>
                  </a:ext>
                </a:extLst>
              </p:cNvPr>
              <p:cNvSpPr/>
              <p:nvPr/>
            </p:nvSpPr>
            <p:spPr>
              <a:xfrm>
                <a:off x="2294459" y="3101465"/>
                <a:ext cx="8908" cy="8908"/>
              </a:xfrm>
              <a:custGeom>
                <a:avLst/>
                <a:gdLst>
                  <a:gd name="connsiteX0" fmla="*/ 8909 w 8908"/>
                  <a:gd name="connsiteY0" fmla="*/ 4454 h 8908"/>
                  <a:gd name="connsiteX1" fmla="*/ 4454 w 8908"/>
                  <a:gd name="connsiteY1" fmla="*/ 8909 h 8908"/>
                  <a:gd name="connsiteX2" fmla="*/ 0 w 8908"/>
                  <a:gd name="connsiteY2" fmla="*/ 4454 h 8908"/>
                  <a:gd name="connsiteX3" fmla="*/ 4454 w 8908"/>
                  <a:gd name="connsiteY3" fmla="*/ 0 h 8908"/>
                  <a:gd name="connsiteX4" fmla="*/ 8909 w 8908"/>
                  <a:gd name="connsiteY4" fmla="*/ 4454 h 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8">
                    <a:moveTo>
                      <a:pt x="8909" y="4454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4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1933"/>
                      <a:pt x="8909" y="4454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732" name="Freeform: Shape 497">
                <a:extLst>
                  <a:ext uri="{FF2B5EF4-FFF2-40B4-BE49-F238E27FC236}">
                    <a16:creationId xmlns:a16="http://schemas.microsoft.com/office/drawing/2014/main" id="{06645AD0-8E78-9140-A1B0-2CEEF75EDEC2}"/>
                  </a:ext>
                </a:extLst>
              </p:cNvPr>
              <p:cNvSpPr/>
              <p:nvPr/>
            </p:nvSpPr>
            <p:spPr>
              <a:xfrm>
                <a:off x="2287231" y="3068441"/>
                <a:ext cx="14623" cy="29573"/>
              </a:xfrm>
              <a:custGeom>
                <a:avLst/>
                <a:gdLst>
                  <a:gd name="connsiteX0" fmla="*/ 0 w 14623"/>
                  <a:gd name="connsiteY0" fmla="*/ 163 h 29573"/>
                  <a:gd name="connsiteX1" fmla="*/ 4370 w 14623"/>
                  <a:gd name="connsiteY1" fmla="*/ 22519 h 29573"/>
                  <a:gd name="connsiteX2" fmla="*/ 14624 w 14623"/>
                  <a:gd name="connsiteY2" fmla="*/ 29410 h 29573"/>
                  <a:gd name="connsiteX3" fmla="*/ 10253 w 14623"/>
                  <a:gd name="connsiteY3" fmla="*/ 7054 h 29573"/>
                  <a:gd name="connsiteX4" fmla="*/ 0 w 14623"/>
                  <a:gd name="connsiteY4" fmla="*/ 163 h 29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3">
                    <a:moveTo>
                      <a:pt x="0" y="163"/>
                    </a:moveTo>
                    <a:lnTo>
                      <a:pt x="4370" y="22519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733" name="Freeform: Shape 498">
                <a:extLst>
                  <a:ext uri="{FF2B5EF4-FFF2-40B4-BE49-F238E27FC236}">
                    <a16:creationId xmlns:a16="http://schemas.microsoft.com/office/drawing/2014/main" id="{8DA73EC1-2868-1E4F-A5A6-2EB3ABAD9F4D}"/>
                  </a:ext>
                </a:extLst>
              </p:cNvPr>
              <p:cNvSpPr/>
              <p:nvPr/>
            </p:nvSpPr>
            <p:spPr>
              <a:xfrm>
                <a:off x="2270285" y="3107348"/>
                <a:ext cx="22294" cy="27397"/>
              </a:xfrm>
              <a:custGeom>
                <a:avLst/>
                <a:gdLst>
                  <a:gd name="connsiteX0" fmla="*/ 2154 w 22294"/>
                  <a:gd name="connsiteY0" fmla="*/ 27398 h 27397"/>
                  <a:gd name="connsiteX1" fmla="*/ 19299 w 22294"/>
                  <a:gd name="connsiteY1" fmla="*/ 12354 h 27397"/>
                  <a:gd name="connsiteX2" fmla="*/ 20140 w 22294"/>
                  <a:gd name="connsiteY2" fmla="*/ 0 h 27397"/>
                  <a:gd name="connsiteX3" fmla="*/ 2995 w 22294"/>
                  <a:gd name="connsiteY3" fmla="*/ 14960 h 27397"/>
                  <a:gd name="connsiteX4" fmla="*/ 2154 w 22294"/>
                  <a:gd name="connsiteY4" fmla="*/ 27398 h 27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7">
                    <a:moveTo>
                      <a:pt x="2154" y="27398"/>
                    </a:moveTo>
                    <a:lnTo>
                      <a:pt x="19299" y="12354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7"/>
                      <a:pt x="-1039" y="23784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734" name="Freeform: Shape 499">
                <a:extLst>
                  <a:ext uri="{FF2B5EF4-FFF2-40B4-BE49-F238E27FC236}">
                    <a16:creationId xmlns:a16="http://schemas.microsoft.com/office/drawing/2014/main" id="{19AD8DA0-CC18-4549-990D-B654BDCF2E4E}"/>
                  </a:ext>
                </a:extLst>
              </p:cNvPr>
              <p:cNvSpPr/>
              <p:nvPr/>
            </p:nvSpPr>
            <p:spPr>
              <a:xfrm>
                <a:off x="2304376" y="3106564"/>
                <a:ext cx="32693" cy="13670"/>
              </a:xfrm>
              <a:custGeom>
                <a:avLst/>
                <a:gdLst>
                  <a:gd name="connsiteX0" fmla="*/ 32693 w 32693"/>
                  <a:gd name="connsiteY0" fmla="*/ 7676 h 13670"/>
                  <a:gd name="connsiteX1" fmla="*/ 11094 w 32693"/>
                  <a:gd name="connsiteY1" fmla="*/ 448 h 13670"/>
                  <a:gd name="connsiteX2" fmla="*/ 0 w 32693"/>
                  <a:gd name="connsiteY2" fmla="*/ 5995 h 13670"/>
                  <a:gd name="connsiteX3" fmla="*/ 21599 w 32693"/>
                  <a:gd name="connsiteY3" fmla="*/ 13223 h 13670"/>
                  <a:gd name="connsiteX4" fmla="*/ 32693 w 32693"/>
                  <a:gd name="connsiteY4" fmla="*/ 7676 h 13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70">
                    <a:moveTo>
                      <a:pt x="32693" y="7676"/>
                    </a:moveTo>
                    <a:lnTo>
                      <a:pt x="11094" y="448"/>
                    </a:lnTo>
                    <a:cubicBezTo>
                      <a:pt x="6555" y="-1065"/>
                      <a:pt x="1513" y="1373"/>
                      <a:pt x="0" y="5995"/>
                    </a:cubicBezTo>
                    <a:lnTo>
                      <a:pt x="21599" y="13223"/>
                    </a:lnTo>
                    <a:cubicBezTo>
                      <a:pt x="26222" y="14735"/>
                      <a:pt x="31180" y="12298"/>
                      <a:pt x="32693" y="76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735" name="Freeform: Shape 500">
                <a:extLst>
                  <a:ext uri="{FF2B5EF4-FFF2-40B4-BE49-F238E27FC236}">
                    <a16:creationId xmlns:a16="http://schemas.microsoft.com/office/drawing/2014/main" id="{BDA2DB75-8D25-B744-8D8E-35C8A9FCCD19}"/>
                  </a:ext>
                </a:extLst>
              </p:cNvPr>
              <p:cNvSpPr/>
              <p:nvPr/>
            </p:nvSpPr>
            <p:spPr>
              <a:xfrm>
                <a:off x="2293114" y="3114975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3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3"/>
                      <a:pt x="420" y="21872"/>
                      <a:pt x="0" y="33555"/>
                    </a:cubicBezTo>
                    <a:cubicBezTo>
                      <a:pt x="1765" y="34984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</p:grpSp>
        <p:sp>
          <p:nvSpPr>
            <p:cNvPr id="729" name="TextBox 728">
              <a:extLst>
                <a:ext uri="{FF2B5EF4-FFF2-40B4-BE49-F238E27FC236}">
                  <a16:creationId xmlns:a16="http://schemas.microsoft.com/office/drawing/2014/main" id="{7940E5AB-5CF0-3F48-8FFE-539A9ABEACB3}"/>
                </a:ext>
              </a:extLst>
            </p:cNvPr>
            <p:cNvSpPr txBox="1"/>
            <p:nvPr/>
          </p:nvSpPr>
          <p:spPr>
            <a:xfrm>
              <a:off x="3450738" y="2104281"/>
              <a:ext cx="774250" cy="9608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2400"/>
                </a:spcBef>
              </a:pPr>
              <a:r>
                <a:rPr lang="en-US" sz="867">
                  <a:solidFill>
                    <a:schemeClr val="accent1"/>
                  </a:solidFill>
                </a:rPr>
                <a:t>Westermost Rough</a:t>
              </a:r>
              <a:endParaRPr lang="en-US" sz="867">
                <a:solidFill>
                  <a:schemeClr val="accent2"/>
                </a:solidFill>
              </a:endParaRPr>
            </a:p>
          </p:txBody>
        </p:sp>
      </p:grpSp>
      <p:grpSp>
        <p:nvGrpSpPr>
          <p:cNvPr id="736" name="Group 735">
            <a:extLst>
              <a:ext uri="{FF2B5EF4-FFF2-40B4-BE49-F238E27FC236}">
                <a16:creationId xmlns:a16="http://schemas.microsoft.com/office/drawing/2014/main" id="{8768C0D5-57EB-8940-8FB6-CCB5F1B4E9D1}"/>
              </a:ext>
            </a:extLst>
          </p:cNvPr>
          <p:cNvGrpSpPr>
            <a:grpSpLocks/>
          </p:cNvGrpSpPr>
          <p:nvPr/>
        </p:nvGrpSpPr>
        <p:grpSpPr>
          <a:xfrm>
            <a:off x="8995201" y="3396879"/>
            <a:ext cx="839557" cy="189840"/>
            <a:chOff x="2199788" y="3084446"/>
            <a:chExt cx="682140" cy="154245"/>
          </a:xfrm>
        </p:grpSpPr>
        <p:grpSp>
          <p:nvGrpSpPr>
            <p:cNvPr id="737" name="Group 736">
              <a:extLst>
                <a:ext uri="{FF2B5EF4-FFF2-40B4-BE49-F238E27FC236}">
                  <a16:creationId xmlns:a16="http://schemas.microsoft.com/office/drawing/2014/main" id="{A461BAF2-AA5D-1144-8CAC-D613C16532E5}"/>
                </a:ext>
              </a:extLst>
            </p:cNvPr>
            <p:cNvGrpSpPr/>
            <p:nvPr/>
          </p:nvGrpSpPr>
          <p:grpSpPr>
            <a:xfrm>
              <a:off x="2199788" y="3084446"/>
              <a:ext cx="106316" cy="141664"/>
              <a:chOff x="2265548" y="3068441"/>
              <a:chExt cx="71521" cy="95300"/>
            </a:xfrm>
            <a:solidFill>
              <a:schemeClr val="accent1"/>
            </a:solidFill>
          </p:grpSpPr>
          <p:sp>
            <p:nvSpPr>
              <p:cNvPr id="739" name="Freeform: Shape 504">
                <a:extLst>
                  <a:ext uri="{FF2B5EF4-FFF2-40B4-BE49-F238E27FC236}">
                    <a16:creationId xmlns:a16="http://schemas.microsoft.com/office/drawing/2014/main" id="{95340D4F-D9B8-E54A-A920-1885BD202621}"/>
                  </a:ext>
                </a:extLst>
              </p:cNvPr>
              <p:cNvSpPr/>
              <p:nvPr/>
            </p:nvSpPr>
            <p:spPr>
              <a:xfrm>
                <a:off x="2265548" y="3153152"/>
                <a:ext cx="66731" cy="10589"/>
              </a:xfrm>
              <a:custGeom>
                <a:avLst/>
                <a:gdLst>
                  <a:gd name="connsiteX0" fmla="*/ 62529 w 66731"/>
                  <a:gd name="connsiteY0" fmla="*/ 1513 h 10589"/>
                  <a:gd name="connsiteX1" fmla="*/ 61604 w 66731"/>
                  <a:gd name="connsiteY1" fmla="*/ 1933 h 10589"/>
                  <a:gd name="connsiteX2" fmla="*/ 55721 w 66731"/>
                  <a:gd name="connsiteY2" fmla="*/ 3530 h 10589"/>
                  <a:gd name="connsiteX3" fmla="*/ 49586 w 66731"/>
                  <a:gd name="connsiteY3" fmla="*/ 1681 h 10589"/>
                  <a:gd name="connsiteX4" fmla="*/ 49418 w 66731"/>
                  <a:gd name="connsiteY4" fmla="*/ 1597 h 10589"/>
                  <a:gd name="connsiteX5" fmla="*/ 44712 w 66731"/>
                  <a:gd name="connsiteY5" fmla="*/ 168 h 10589"/>
                  <a:gd name="connsiteX6" fmla="*/ 40005 w 66731"/>
                  <a:gd name="connsiteY6" fmla="*/ 1597 h 10589"/>
                  <a:gd name="connsiteX7" fmla="*/ 39837 w 66731"/>
                  <a:gd name="connsiteY7" fmla="*/ 1681 h 10589"/>
                  <a:gd name="connsiteX8" fmla="*/ 33702 w 66731"/>
                  <a:gd name="connsiteY8" fmla="*/ 3530 h 10589"/>
                  <a:gd name="connsiteX9" fmla="*/ 27567 w 66731"/>
                  <a:gd name="connsiteY9" fmla="*/ 1681 h 10589"/>
                  <a:gd name="connsiteX10" fmla="*/ 27398 w 66731"/>
                  <a:gd name="connsiteY10" fmla="*/ 1597 h 10589"/>
                  <a:gd name="connsiteX11" fmla="*/ 22692 w 66731"/>
                  <a:gd name="connsiteY11" fmla="*/ 168 h 10589"/>
                  <a:gd name="connsiteX12" fmla="*/ 17649 w 66731"/>
                  <a:gd name="connsiteY12" fmla="*/ 1513 h 10589"/>
                  <a:gd name="connsiteX13" fmla="*/ 11514 w 66731"/>
                  <a:gd name="connsiteY13" fmla="*/ 3362 h 10589"/>
                  <a:gd name="connsiteX14" fmla="*/ 5379 w 66731"/>
                  <a:gd name="connsiteY14" fmla="*/ 1513 h 10589"/>
                  <a:gd name="connsiteX15" fmla="*/ 5211 w 66731"/>
                  <a:gd name="connsiteY15" fmla="*/ 1429 h 10589"/>
                  <a:gd name="connsiteX16" fmla="*/ 588 w 66731"/>
                  <a:gd name="connsiteY16" fmla="*/ 0 h 10589"/>
                  <a:gd name="connsiteX17" fmla="*/ 0 w 66731"/>
                  <a:gd name="connsiteY17" fmla="*/ 0 h 10589"/>
                  <a:gd name="connsiteX18" fmla="*/ 0 w 66731"/>
                  <a:gd name="connsiteY18" fmla="*/ 7060 h 10589"/>
                  <a:gd name="connsiteX19" fmla="*/ 588 w 66731"/>
                  <a:gd name="connsiteY19" fmla="*/ 7060 h 10589"/>
                  <a:gd name="connsiteX20" fmla="*/ 3950 w 66731"/>
                  <a:gd name="connsiteY20" fmla="*/ 8237 h 10589"/>
                  <a:gd name="connsiteX21" fmla="*/ 4454 w 66731"/>
                  <a:gd name="connsiteY21" fmla="*/ 8489 h 10589"/>
                  <a:gd name="connsiteX22" fmla="*/ 11514 w 66731"/>
                  <a:gd name="connsiteY22" fmla="*/ 10590 h 10589"/>
                  <a:gd name="connsiteX23" fmla="*/ 19078 w 66731"/>
                  <a:gd name="connsiteY23" fmla="*/ 8237 h 10589"/>
                  <a:gd name="connsiteX24" fmla="*/ 19246 w 66731"/>
                  <a:gd name="connsiteY24" fmla="*/ 8153 h 10589"/>
                  <a:gd name="connsiteX25" fmla="*/ 22692 w 66731"/>
                  <a:gd name="connsiteY25" fmla="*/ 7060 h 10589"/>
                  <a:gd name="connsiteX26" fmla="*/ 26306 w 66731"/>
                  <a:gd name="connsiteY26" fmla="*/ 8237 h 10589"/>
                  <a:gd name="connsiteX27" fmla="*/ 26726 w 66731"/>
                  <a:gd name="connsiteY27" fmla="*/ 8489 h 10589"/>
                  <a:gd name="connsiteX28" fmla="*/ 33870 w 66731"/>
                  <a:gd name="connsiteY28" fmla="*/ 10590 h 10589"/>
                  <a:gd name="connsiteX29" fmla="*/ 41434 w 66731"/>
                  <a:gd name="connsiteY29" fmla="*/ 8237 h 10589"/>
                  <a:gd name="connsiteX30" fmla="*/ 41602 w 66731"/>
                  <a:gd name="connsiteY30" fmla="*/ 8153 h 10589"/>
                  <a:gd name="connsiteX31" fmla="*/ 45048 w 66731"/>
                  <a:gd name="connsiteY31" fmla="*/ 7060 h 10589"/>
                  <a:gd name="connsiteX32" fmla="*/ 48662 w 66731"/>
                  <a:gd name="connsiteY32" fmla="*/ 8237 h 10589"/>
                  <a:gd name="connsiteX33" fmla="*/ 49082 w 66731"/>
                  <a:gd name="connsiteY33" fmla="*/ 8489 h 10589"/>
                  <a:gd name="connsiteX34" fmla="*/ 56226 w 66731"/>
                  <a:gd name="connsiteY34" fmla="*/ 10590 h 10589"/>
                  <a:gd name="connsiteX35" fmla="*/ 63790 w 66731"/>
                  <a:gd name="connsiteY35" fmla="*/ 8237 h 10589"/>
                  <a:gd name="connsiteX36" fmla="*/ 66227 w 66731"/>
                  <a:gd name="connsiteY36" fmla="*/ 7144 h 10589"/>
                  <a:gd name="connsiteX37" fmla="*/ 66731 w 66731"/>
                  <a:gd name="connsiteY37" fmla="*/ 7060 h 10589"/>
                  <a:gd name="connsiteX38" fmla="*/ 66731 w 66731"/>
                  <a:gd name="connsiteY38" fmla="*/ 0 h 10589"/>
                  <a:gd name="connsiteX39" fmla="*/ 66059 w 66731"/>
                  <a:gd name="connsiteY39" fmla="*/ 84 h 10589"/>
                  <a:gd name="connsiteX40" fmla="*/ 62529 w 66731"/>
                  <a:gd name="connsiteY40" fmla="*/ 1513 h 10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66731" h="10589">
                    <a:moveTo>
                      <a:pt x="62529" y="1513"/>
                    </a:moveTo>
                    <a:cubicBezTo>
                      <a:pt x="62193" y="1681"/>
                      <a:pt x="61856" y="1849"/>
                      <a:pt x="61604" y="1933"/>
                    </a:cubicBezTo>
                    <a:cubicBezTo>
                      <a:pt x="60008" y="2689"/>
                      <a:pt x="58327" y="3530"/>
                      <a:pt x="55721" y="3530"/>
                    </a:cubicBezTo>
                    <a:cubicBezTo>
                      <a:pt x="52528" y="3530"/>
                      <a:pt x="51015" y="2522"/>
                      <a:pt x="49586" y="1681"/>
                    </a:cubicBezTo>
                    <a:lnTo>
                      <a:pt x="49418" y="1597"/>
                    </a:lnTo>
                    <a:cubicBezTo>
                      <a:pt x="48157" y="841"/>
                      <a:pt x="46981" y="168"/>
                      <a:pt x="44712" y="168"/>
                    </a:cubicBezTo>
                    <a:cubicBezTo>
                      <a:pt x="42442" y="168"/>
                      <a:pt x="41182" y="841"/>
                      <a:pt x="40005" y="1597"/>
                    </a:cubicBezTo>
                    <a:lnTo>
                      <a:pt x="39837" y="1681"/>
                    </a:lnTo>
                    <a:cubicBezTo>
                      <a:pt x="38492" y="2522"/>
                      <a:pt x="36895" y="3530"/>
                      <a:pt x="33702" y="3530"/>
                    </a:cubicBezTo>
                    <a:cubicBezTo>
                      <a:pt x="30508" y="3530"/>
                      <a:pt x="28911" y="2522"/>
                      <a:pt x="27567" y="1681"/>
                    </a:cubicBezTo>
                    <a:lnTo>
                      <a:pt x="27398" y="1597"/>
                    </a:lnTo>
                    <a:cubicBezTo>
                      <a:pt x="26138" y="841"/>
                      <a:pt x="24961" y="168"/>
                      <a:pt x="22692" y="168"/>
                    </a:cubicBezTo>
                    <a:cubicBezTo>
                      <a:pt x="20255" y="168"/>
                      <a:pt x="19078" y="757"/>
                      <a:pt x="17649" y="1513"/>
                    </a:cubicBezTo>
                    <a:cubicBezTo>
                      <a:pt x="16305" y="2353"/>
                      <a:pt x="14708" y="3362"/>
                      <a:pt x="11514" y="3362"/>
                    </a:cubicBezTo>
                    <a:cubicBezTo>
                      <a:pt x="8404" y="3362"/>
                      <a:pt x="6724" y="2353"/>
                      <a:pt x="5379" y="1513"/>
                    </a:cubicBezTo>
                    <a:lnTo>
                      <a:pt x="5211" y="1429"/>
                    </a:lnTo>
                    <a:cubicBezTo>
                      <a:pt x="3950" y="672"/>
                      <a:pt x="2773" y="0"/>
                      <a:pt x="588" y="0"/>
                    </a:cubicBezTo>
                    <a:lnTo>
                      <a:pt x="0" y="0"/>
                    </a:lnTo>
                    <a:lnTo>
                      <a:pt x="0" y="7060"/>
                    </a:lnTo>
                    <a:lnTo>
                      <a:pt x="588" y="7060"/>
                    </a:lnTo>
                    <a:cubicBezTo>
                      <a:pt x="2101" y="7060"/>
                      <a:pt x="2858" y="7480"/>
                      <a:pt x="3950" y="8237"/>
                    </a:cubicBezTo>
                    <a:lnTo>
                      <a:pt x="4454" y="8489"/>
                    </a:lnTo>
                    <a:cubicBezTo>
                      <a:pt x="5967" y="9329"/>
                      <a:pt x="8068" y="10590"/>
                      <a:pt x="11514" y="10590"/>
                    </a:cubicBezTo>
                    <a:cubicBezTo>
                      <a:pt x="15212" y="10590"/>
                      <a:pt x="17313" y="9413"/>
                      <a:pt x="19078" y="8237"/>
                    </a:cubicBezTo>
                    <a:lnTo>
                      <a:pt x="19246" y="8153"/>
                    </a:lnTo>
                    <a:cubicBezTo>
                      <a:pt x="20339" y="7480"/>
                      <a:pt x="21011" y="7060"/>
                      <a:pt x="22692" y="7060"/>
                    </a:cubicBezTo>
                    <a:cubicBezTo>
                      <a:pt x="24373" y="7060"/>
                      <a:pt x="25297" y="7564"/>
                      <a:pt x="26306" y="8237"/>
                    </a:cubicBezTo>
                    <a:lnTo>
                      <a:pt x="26726" y="8489"/>
                    </a:lnTo>
                    <a:cubicBezTo>
                      <a:pt x="28239" y="9329"/>
                      <a:pt x="30340" y="10590"/>
                      <a:pt x="33870" y="10590"/>
                    </a:cubicBezTo>
                    <a:cubicBezTo>
                      <a:pt x="37568" y="10590"/>
                      <a:pt x="39669" y="9413"/>
                      <a:pt x="41434" y="8237"/>
                    </a:cubicBezTo>
                    <a:lnTo>
                      <a:pt x="41602" y="8153"/>
                    </a:lnTo>
                    <a:cubicBezTo>
                      <a:pt x="42694" y="7480"/>
                      <a:pt x="43367" y="7060"/>
                      <a:pt x="45048" y="7060"/>
                    </a:cubicBezTo>
                    <a:cubicBezTo>
                      <a:pt x="46729" y="7060"/>
                      <a:pt x="47653" y="7564"/>
                      <a:pt x="48662" y="8237"/>
                    </a:cubicBezTo>
                    <a:lnTo>
                      <a:pt x="49082" y="8489"/>
                    </a:lnTo>
                    <a:cubicBezTo>
                      <a:pt x="50595" y="9329"/>
                      <a:pt x="52696" y="10590"/>
                      <a:pt x="56226" y="10590"/>
                    </a:cubicBezTo>
                    <a:cubicBezTo>
                      <a:pt x="59923" y="10590"/>
                      <a:pt x="62025" y="9413"/>
                      <a:pt x="63790" y="8237"/>
                    </a:cubicBezTo>
                    <a:cubicBezTo>
                      <a:pt x="64630" y="7648"/>
                      <a:pt x="65302" y="7228"/>
                      <a:pt x="66227" y="7144"/>
                    </a:cubicBezTo>
                    <a:lnTo>
                      <a:pt x="66731" y="7060"/>
                    </a:lnTo>
                    <a:lnTo>
                      <a:pt x="66731" y="0"/>
                    </a:lnTo>
                    <a:lnTo>
                      <a:pt x="66059" y="84"/>
                    </a:lnTo>
                    <a:cubicBezTo>
                      <a:pt x="64546" y="337"/>
                      <a:pt x="63537" y="841"/>
                      <a:pt x="62529" y="151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740" name="Freeform: Shape 505">
                <a:extLst>
                  <a:ext uri="{FF2B5EF4-FFF2-40B4-BE49-F238E27FC236}">
                    <a16:creationId xmlns:a16="http://schemas.microsoft.com/office/drawing/2014/main" id="{BFAAD567-85CF-0848-B56C-66A378F61D9F}"/>
                  </a:ext>
                </a:extLst>
              </p:cNvPr>
              <p:cNvSpPr/>
              <p:nvPr/>
            </p:nvSpPr>
            <p:spPr>
              <a:xfrm>
                <a:off x="2294459" y="3101465"/>
                <a:ext cx="8908" cy="8908"/>
              </a:xfrm>
              <a:custGeom>
                <a:avLst/>
                <a:gdLst>
                  <a:gd name="connsiteX0" fmla="*/ 8909 w 8908"/>
                  <a:gd name="connsiteY0" fmla="*/ 4454 h 8908"/>
                  <a:gd name="connsiteX1" fmla="*/ 4454 w 8908"/>
                  <a:gd name="connsiteY1" fmla="*/ 8909 h 8908"/>
                  <a:gd name="connsiteX2" fmla="*/ 0 w 8908"/>
                  <a:gd name="connsiteY2" fmla="*/ 4454 h 8908"/>
                  <a:gd name="connsiteX3" fmla="*/ 4454 w 8908"/>
                  <a:gd name="connsiteY3" fmla="*/ 0 h 8908"/>
                  <a:gd name="connsiteX4" fmla="*/ 8909 w 8908"/>
                  <a:gd name="connsiteY4" fmla="*/ 4454 h 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8">
                    <a:moveTo>
                      <a:pt x="8909" y="4454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4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1933"/>
                      <a:pt x="8909" y="4454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741" name="Freeform: Shape 506">
                <a:extLst>
                  <a:ext uri="{FF2B5EF4-FFF2-40B4-BE49-F238E27FC236}">
                    <a16:creationId xmlns:a16="http://schemas.microsoft.com/office/drawing/2014/main" id="{C04EFDAC-B2FC-994B-93E9-8C6C69D99ECD}"/>
                  </a:ext>
                </a:extLst>
              </p:cNvPr>
              <p:cNvSpPr/>
              <p:nvPr/>
            </p:nvSpPr>
            <p:spPr>
              <a:xfrm>
                <a:off x="2287231" y="3068441"/>
                <a:ext cx="14623" cy="29573"/>
              </a:xfrm>
              <a:custGeom>
                <a:avLst/>
                <a:gdLst>
                  <a:gd name="connsiteX0" fmla="*/ 0 w 14623"/>
                  <a:gd name="connsiteY0" fmla="*/ 163 h 29573"/>
                  <a:gd name="connsiteX1" fmla="*/ 4370 w 14623"/>
                  <a:gd name="connsiteY1" fmla="*/ 22519 h 29573"/>
                  <a:gd name="connsiteX2" fmla="*/ 14624 w 14623"/>
                  <a:gd name="connsiteY2" fmla="*/ 29410 h 29573"/>
                  <a:gd name="connsiteX3" fmla="*/ 10253 w 14623"/>
                  <a:gd name="connsiteY3" fmla="*/ 7054 h 29573"/>
                  <a:gd name="connsiteX4" fmla="*/ 0 w 14623"/>
                  <a:gd name="connsiteY4" fmla="*/ 163 h 29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3">
                    <a:moveTo>
                      <a:pt x="0" y="163"/>
                    </a:moveTo>
                    <a:lnTo>
                      <a:pt x="4370" y="22519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742" name="Freeform: Shape 507">
                <a:extLst>
                  <a:ext uri="{FF2B5EF4-FFF2-40B4-BE49-F238E27FC236}">
                    <a16:creationId xmlns:a16="http://schemas.microsoft.com/office/drawing/2014/main" id="{F4168E96-0544-E440-8935-E81AB1944617}"/>
                  </a:ext>
                </a:extLst>
              </p:cNvPr>
              <p:cNvSpPr/>
              <p:nvPr/>
            </p:nvSpPr>
            <p:spPr>
              <a:xfrm>
                <a:off x="2270285" y="3107348"/>
                <a:ext cx="22294" cy="27397"/>
              </a:xfrm>
              <a:custGeom>
                <a:avLst/>
                <a:gdLst>
                  <a:gd name="connsiteX0" fmla="*/ 2154 w 22294"/>
                  <a:gd name="connsiteY0" fmla="*/ 27398 h 27397"/>
                  <a:gd name="connsiteX1" fmla="*/ 19299 w 22294"/>
                  <a:gd name="connsiteY1" fmla="*/ 12354 h 27397"/>
                  <a:gd name="connsiteX2" fmla="*/ 20140 w 22294"/>
                  <a:gd name="connsiteY2" fmla="*/ 0 h 27397"/>
                  <a:gd name="connsiteX3" fmla="*/ 2995 w 22294"/>
                  <a:gd name="connsiteY3" fmla="*/ 14960 h 27397"/>
                  <a:gd name="connsiteX4" fmla="*/ 2154 w 22294"/>
                  <a:gd name="connsiteY4" fmla="*/ 27398 h 27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7">
                    <a:moveTo>
                      <a:pt x="2154" y="27398"/>
                    </a:moveTo>
                    <a:lnTo>
                      <a:pt x="19299" y="12354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7"/>
                      <a:pt x="-1039" y="23784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743" name="Freeform: Shape 508">
                <a:extLst>
                  <a:ext uri="{FF2B5EF4-FFF2-40B4-BE49-F238E27FC236}">
                    <a16:creationId xmlns:a16="http://schemas.microsoft.com/office/drawing/2014/main" id="{08DFEDE6-4086-FC45-B4B8-A5E9E90EE2B3}"/>
                  </a:ext>
                </a:extLst>
              </p:cNvPr>
              <p:cNvSpPr/>
              <p:nvPr/>
            </p:nvSpPr>
            <p:spPr>
              <a:xfrm>
                <a:off x="2304376" y="3106564"/>
                <a:ext cx="32693" cy="13670"/>
              </a:xfrm>
              <a:custGeom>
                <a:avLst/>
                <a:gdLst>
                  <a:gd name="connsiteX0" fmla="*/ 32693 w 32693"/>
                  <a:gd name="connsiteY0" fmla="*/ 7676 h 13670"/>
                  <a:gd name="connsiteX1" fmla="*/ 11094 w 32693"/>
                  <a:gd name="connsiteY1" fmla="*/ 448 h 13670"/>
                  <a:gd name="connsiteX2" fmla="*/ 0 w 32693"/>
                  <a:gd name="connsiteY2" fmla="*/ 5995 h 13670"/>
                  <a:gd name="connsiteX3" fmla="*/ 21599 w 32693"/>
                  <a:gd name="connsiteY3" fmla="*/ 13223 h 13670"/>
                  <a:gd name="connsiteX4" fmla="*/ 32693 w 32693"/>
                  <a:gd name="connsiteY4" fmla="*/ 7676 h 13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70">
                    <a:moveTo>
                      <a:pt x="32693" y="7676"/>
                    </a:moveTo>
                    <a:lnTo>
                      <a:pt x="11094" y="448"/>
                    </a:lnTo>
                    <a:cubicBezTo>
                      <a:pt x="6555" y="-1065"/>
                      <a:pt x="1513" y="1373"/>
                      <a:pt x="0" y="5995"/>
                    </a:cubicBezTo>
                    <a:lnTo>
                      <a:pt x="21599" y="13223"/>
                    </a:lnTo>
                    <a:cubicBezTo>
                      <a:pt x="26222" y="14735"/>
                      <a:pt x="31180" y="12298"/>
                      <a:pt x="32693" y="76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744" name="Freeform: Shape 509">
                <a:extLst>
                  <a:ext uri="{FF2B5EF4-FFF2-40B4-BE49-F238E27FC236}">
                    <a16:creationId xmlns:a16="http://schemas.microsoft.com/office/drawing/2014/main" id="{40A17FEB-88AA-C54D-AEE3-EBC7E93E5EA2}"/>
                  </a:ext>
                </a:extLst>
              </p:cNvPr>
              <p:cNvSpPr/>
              <p:nvPr/>
            </p:nvSpPr>
            <p:spPr>
              <a:xfrm>
                <a:off x="2293114" y="3114975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3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3"/>
                      <a:pt x="420" y="21872"/>
                      <a:pt x="0" y="33555"/>
                    </a:cubicBezTo>
                    <a:cubicBezTo>
                      <a:pt x="1765" y="34984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</p:grpSp>
        <p:sp>
          <p:nvSpPr>
            <p:cNvPr id="738" name="TextBox 737">
              <a:extLst>
                <a:ext uri="{FF2B5EF4-FFF2-40B4-BE49-F238E27FC236}">
                  <a16:creationId xmlns:a16="http://schemas.microsoft.com/office/drawing/2014/main" id="{9A97ADCB-CD3E-8B4E-9F4F-2382054DD0F8}"/>
                </a:ext>
              </a:extLst>
            </p:cNvPr>
            <p:cNvSpPr txBox="1"/>
            <p:nvPr/>
          </p:nvSpPr>
          <p:spPr>
            <a:xfrm>
              <a:off x="2441703" y="3134600"/>
              <a:ext cx="440225" cy="10409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2400"/>
                </a:spcBef>
              </a:pPr>
              <a:r>
                <a:rPr lang="en-US" sz="867">
                  <a:solidFill>
                    <a:schemeClr val="accent1"/>
                  </a:solidFill>
                </a:rPr>
                <a:t>Hornsea 1</a:t>
              </a:r>
              <a:endParaRPr lang="en-US" sz="867">
                <a:solidFill>
                  <a:schemeClr val="accent2"/>
                </a:solidFill>
              </a:endParaRPr>
            </a:p>
          </p:txBody>
        </p:sp>
      </p:grpSp>
      <p:grpSp>
        <p:nvGrpSpPr>
          <p:cNvPr id="746" name="Group 745">
            <a:extLst>
              <a:ext uri="{FF2B5EF4-FFF2-40B4-BE49-F238E27FC236}">
                <a16:creationId xmlns:a16="http://schemas.microsoft.com/office/drawing/2014/main" id="{92BAB9A8-6202-084B-9AA8-5916A47EE7B0}"/>
              </a:ext>
            </a:extLst>
          </p:cNvPr>
          <p:cNvGrpSpPr>
            <a:grpSpLocks/>
          </p:cNvGrpSpPr>
          <p:nvPr/>
        </p:nvGrpSpPr>
        <p:grpSpPr>
          <a:xfrm>
            <a:off x="9096128" y="3515069"/>
            <a:ext cx="130851" cy="174355"/>
            <a:chOff x="2265548" y="3068441"/>
            <a:chExt cx="71521" cy="95300"/>
          </a:xfrm>
          <a:solidFill>
            <a:schemeClr val="accent1"/>
          </a:solidFill>
        </p:grpSpPr>
        <p:sp>
          <p:nvSpPr>
            <p:cNvPr id="748" name="Freeform: Shape 513">
              <a:extLst>
                <a:ext uri="{FF2B5EF4-FFF2-40B4-BE49-F238E27FC236}">
                  <a16:creationId xmlns:a16="http://schemas.microsoft.com/office/drawing/2014/main" id="{57F9CC33-D941-1649-9AEC-E08EFCF5F60C}"/>
                </a:ext>
              </a:extLst>
            </p:cNvPr>
            <p:cNvSpPr/>
            <p:nvPr/>
          </p:nvSpPr>
          <p:spPr>
            <a:xfrm>
              <a:off x="2265548" y="3153152"/>
              <a:ext cx="66731" cy="10589"/>
            </a:xfrm>
            <a:custGeom>
              <a:avLst/>
              <a:gdLst>
                <a:gd name="connsiteX0" fmla="*/ 62529 w 66731"/>
                <a:gd name="connsiteY0" fmla="*/ 1513 h 10589"/>
                <a:gd name="connsiteX1" fmla="*/ 61604 w 66731"/>
                <a:gd name="connsiteY1" fmla="*/ 1933 h 10589"/>
                <a:gd name="connsiteX2" fmla="*/ 55721 w 66731"/>
                <a:gd name="connsiteY2" fmla="*/ 3530 h 10589"/>
                <a:gd name="connsiteX3" fmla="*/ 49586 w 66731"/>
                <a:gd name="connsiteY3" fmla="*/ 1681 h 10589"/>
                <a:gd name="connsiteX4" fmla="*/ 49418 w 66731"/>
                <a:gd name="connsiteY4" fmla="*/ 1597 h 10589"/>
                <a:gd name="connsiteX5" fmla="*/ 44712 w 66731"/>
                <a:gd name="connsiteY5" fmla="*/ 168 h 10589"/>
                <a:gd name="connsiteX6" fmla="*/ 40005 w 66731"/>
                <a:gd name="connsiteY6" fmla="*/ 1597 h 10589"/>
                <a:gd name="connsiteX7" fmla="*/ 39837 w 66731"/>
                <a:gd name="connsiteY7" fmla="*/ 1681 h 10589"/>
                <a:gd name="connsiteX8" fmla="*/ 33702 w 66731"/>
                <a:gd name="connsiteY8" fmla="*/ 3530 h 10589"/>
                <a:gd name="connsiteX9" fmla="*/ 27567 w 66731"/>
                <a:gd name="connsiteY9" fmla="*/ 1681 h 10589"/>
                <a:gd name="connsiteX10" fmla="*/ 27398 w 66731"/>
                <a:gd name="connsiteY10" fmla="*/ 1597 h 10589"/>
                <a:gd name="connsiteX11" fmla="*/ 22692 w 66731"/>
                <a:gd name="connsiteY11" fmla="*/ 168 h 10589"/>
                <a:gd name="connsiteX12" fmla="*/ 17649 w 66731"/>
                <a:gd name="connsiteY12" fmla="*/ 1513 h 10589"/>
                <a:gd name="connsiteX13" fmla="*/ 11514 w 66731"/>
                <a:gd name="connsiteY13" fmla="*/ 3362 h 10589"/>
                <a:gd name="connsiteX14" fmla="*/ 5379 w 66731"/>
                <a:gd name="connsiteY14" fmla="*/ 1513 h 10589"/>
                <a:gd name="connsiteX15" fmla="*/ 5211 w 66731"/>
                <a:gd name="connsiteY15" fmla="*/ 1429 h 10589"/>
                <a:gd name="connsiteX16" fmla="*/ 588 w 66731"/>
                <a:gd name="connsiteY16" fmla="*/ 0 h 10589"/>
                <a:gd name="connsiteX17" fmla="*/ 0 w 66731"/>
                <a:gd name="connsiteY17" fmla="*/ 0 h 10589"/>
                <a:gd name="connsiteX18" fmla="*/ 0 w 66731"/>
                <a:gd name="connsiteY18" fmla="*/ 7060 h 10589"/>
                <a:gd name="connsiteX19" fmla="*/ 588 w 66731"/>
                <a:gd name="connsiteY19" fmla="*/ 7060 h 10589"/>
                <a:gd name="connsiteX20" fmla="*/ 3950 w 66731"/>
                <a:gd name="connsiteY20" fmla="*/ 8237 h 10589"/>
                <a:gd name="connsiteX21" fmla="*/ 4454 w 66731"/>
                <a:gd name="connsiteY21" fmla="*/ 8489 h 10589"/>
                <a:gd name="connsiteX22" fmla="*/ 11514 w 66731"/>
                <a:gd name="connsiteY22" fmla="*/ 10590 h 10589"/>
                <a:gd name="connsiteX23" fmla="*/ 19078 w 66731"/>
                <a:gd name="connsiteY23" fmla="*/ 8237 h 10589"/>
                <a:gd name="connsiteX24" fmla="*/ 19246 w 66731"/>
                <a:gd name="connsiteY24" fmla="*/ 8153 h 10589"/>
                <a:gd name="connsiteX25" fmla="*/ 22692 w 66731"/>
                <a:gd name="connsiteY25" fmla="*/ 7060 h 10589"/>
                <a:gd name="connsiteX26" fmla="*/ 26306 w 66731"/>
                <a:gd name="connsiteY26" fmla="*/ 8237 h 10589"/>
                <a:gd name="connsiteX27" fmla="*/ 26726 w 66731"/>
                <a:gd name="connsiteY27" fmla="*/ 8489 h 10589"/>
                <a:gd name="connsiteX28" fmla="*/ 33870 w 66731"/>
                <a:gd name="connsiteY28" fmla="*/ 10590 h 10589"/>
                <a:gd name="connsiteX29" fmla="*/ 41434 w 66731"/>
                <a:gd name="connsiteY29" fmla="*/ 8237 h 10589"/>
                <a:gd name="connsiteX30" fmla="*/ 41602 w 66731"/>
                <a:gd name="connsiteY30" fmla="*/ 8153 h 10589"/>
                <a:gd name="connsiteX31" fmla="*/ 45048 w 66731"/>
                <a:gd name="connsiteY31" fmla="*/ 7060 h 10589"/>
                <a:gd name="connsiteX32" fmla="*/ 48662 w 66731"/>
                <a:gd name="connsiteY32" fmla="*/ 8237 h 10589"/>
                <a:gd name="connsiteX33" fmla="*/ 49082 w 66731"/>
                <a:gd name="connsiteY33" fmla="*/ 8489 h 10589"/>
                <a:gd name="connsiteX34" fmla="*/ 56226 w 66731"/>
                <a:gd name="connsiteY34" fmla="*/ 10590 h 10589"/>
                <a:gd name="connsiteX35" fmla="*/ 63790 w 66731"/>
                <a:gd name="connsiteY35" fmla="*/ 8237 h 10589"/>
                <a:gd name="connsiteX36" fmla="*/ 66227 w 66731"/>
                <a:gd name="connsiteY36" fmla="*/ 7144 h 10589"/>
                <a:gd name="connsiteX37" fmla="*/ 66731 w 66731"/>
                <a:gd name="connsiteY37" fmla="*/ 7060 h 10589"/>
                <a:gd name="connsiteX38" fmla="*/ 66731 w 66731"/>
                <a:gd name="connsiteY38" fmla="*/ 0 h 10589"/>
                <a:gd name="connsiteX39" fmla="*/ 66059 w 66731"/>
                <a:gd name="connsiteY39" fmla="*/ 84 h 10589"/>
                <a:gd name="connsiteX40" fmla="*/ 62529 w 66731"/>
                <a:gd name="connsiteY40" fmla="*/ 1513 h 10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66731" h="10589">
                  <a:moveTo>
                    <a:pt x="62529" y="1513"/>
                  </a:moveTo>
                  <a:cubicBezTo>
                    <a:pt x="62193" y="1681"/>
                    <a:pt x="61856" y="1849"/>
                    <a:pt x="61604" y="1933"/>
                  </a:cubicBezTo>
                  <a:cubicBezTo>
                    <a:pt x="60008" y="2689"/>
                    <a:pt x="58327" y="3530"/>
                    <a:pt x="55721" y="3530"/>
                  </a:cubicBezTo>
                  <a:cubicBezTo>
                    <a:pt x="52528" y="3530"/>
                    <a:pt x="51015" y="2522"/>
                    <a:pt x="49586" y="1681"/>
                  </a:cubicBezTo>
                  <a:lnTo>
                    <a:pt x="49418" y="1597"/>
                  </a:lnTo>
                  <a:cubicBezTo>
                    <a:pt x="48157" y="841"/>
                    <a:pt x="46981" y="168"/>
                    <a:pt x="44712" y="168"/>
                  </a:cubicBezTo>
                  <a:cubicBezTo>
                    <a:pt x="42442" y="168"/>
                    <a:pt x="41182" y="841"/>
                    <a:pt x="40005" y="1597"/>
                  </a:cubicBezTo>
                  <a:lnTo>
                    <a:pt x="39837" y="1681"/>
                  </a:lnTo>
                  <a:cubicBezTo>
                    <a:pt x="38492" y="2522"/>
                    <a:pt x="36895" y="3530"/>
                    <a:pt x="33702" y="3530"/>
                  </a:cubicBezTo>
                  <a:cubicBezTo>
                    <a:pt x="30508" y="3530"/>
                    <a:pt x="28911" y="2522"/>
                    <a:pt x="27567" y="1681"/>
                  </a:cubicBezTo>
                  <a:lnTo>
                    <a:pt x="27398" y="1597"/>
                  </a:lnTo>
                  <a:cubicBezTo>
                    <a:pt x="26138" y="841"/>
                    <a:pt x="24961" y="168"/>
                    <a:pt x="22692" y="168"/>
                  </a:cubicBezTo>
                  <a:cubicBezTo>
                    <a:pt x="20255" y="168"/>
                    <a:pt x="19078" y="757"/>
                    <a:pt x="17649" y="1513"/>
                  </a:cubicBezTo>
                  <a:cubicBezTo>
                    <a:pt x="16305" y="2353"/>
                    <a:pt x="14708" y="3362"/>
                    <a:pt x="11514" y="3362"/>
                  </a:cubicBezTo>
                  <a:cubicBezTo>
                    <a:pt x="8404" y="3362"/>
                    <a:pt x="6724" y="2353"/>
                    <a:pt x="5379" y="1513"/>
                  </a:cubicBezTo>
                  <a:lnTo>
                    <a:pt x="5211" y="1429"/>
                  </a:lnTo>
                  <a:cubicBezTo>
                    <a:pt x="3950" y="672"/>
                    <a:pt x="2773" y="0"/>
                    <a:pt x="588" y="0"/>
                  </a:cubicBezTo>
                  <a:lnTo>
                    <a:pt x="0" y="0"/>
                  </a:lnTo>
                  <a:lnTo>
                    <a:pt x="0" y="7060"/>
                  </a:lnTo>
                  <a:lnTo>
                    <a:pt x="588" y="7060"/>
                  </a:lnTo>
                  <a:cubicBezTo>
                    <a:pt x="2101" y="7060"/>
                    <a:pt x="2858" y="7480"/>
                    <a:pt x="3950" y="8237"/>
                  </a:cubicBezTo>
                  <a:lnTo>
                    <a:pt x="4454" y="8489"/>
                  </a:lnTo>
                  <a:cubicBezTo>
                    <a:pt x="5967" y="9329"/>
                    <a:pt x="8068" y="10590"/>
                    <a:pt x="11514" y="10590"/>
                  </a:cubicBezTo>
                  <a:cubicBezTo>
                    <a:pt x="15212" y="10590"/>
                    <a:pt x="17313" y="9413"/>
                    <a:pt x="19078" y="8237"/>
                  </a:cubicBezTo>
                  <a:lnTo>
                    <a:pt x="19246" y="8153"/>
                  </a:lnTo>
                  <a:cubicBezTo>
                    <a:pt x="20339" y="7480"/>
                    <a:pt x="21011" y="7060"/>
                    <a:pt x="22692" y="7060"/>
                  </a:cubicBezTo>
                  <a:cubicBezTo>
                    <a:pt x="24373" y="7060"/>
                    <a:pt x="25297" y="7564"/>
                    <a:pt x="26306" y="8237"/>
                  </a:cubicBezTo>
                  <a:lnTo>
                    <a:pt x="26726" y="8489"/>
                  </a:lnTo>
                  <a:cubicBezTo>
                    <a:pt x="28239" y="9329"/>
                    <a:pt x="30340" y="10590"/>
                    <a:pt x="33870" y="10590"/>
                  </a:cubicBezTo>
                  <a:cubicBezTo>
                    <a:pt x="37568" y="10590"/>
                    <a:pt x="39669" y="9413"/>
                    <a:pt x="41434" y="8237"/>
                  </a:cubicBezTo>
                  <a:lnTo>
                    <a:pt x="41602" y="8153"/>
                  </a:lnTo>
                  <a:cubicBezTo>
                    <a:pt x="42694" y="7480"/>
                    <a:pt x="43367" y="7060"/>
                    <a:pt x="45048" y="7060"/>
                  </a:cubicBezTo>
                  <a:cubicBezTo>
                    <a:pt x="46729" y="7060"/>
                    <a:pt x="47653" y="7564"/>
                    <a:pt x="48662" y="8237"/>
                  </a:cubicBezTo>
                  <a:lnTo>
                    <a:pt x="49082" y="8489"/>
                  </a:lnTo>
                  <a:cubicBezTo>
                    <a:pt x="50595" y="9329"/>
                    <a:pt x="52696" y="10590"/>
                    <a:pt x="56226" y="10590"/>
                  </a:cubicBezTo>
                  <a:cubicBezTo>
                    <a:pt x="59923" y="10590"/>
                    <a:pt x="62025" y="9413"/>
                    <a:pt x="63790" y="8237"/>
                  </a:cubicBezTo>
                  <a:cubicBezTo>
                    <a:pt x="64630" y="7648"/>
                    <a:pt x="65302" y="7228"/>
                    <a:pt x="66227" y="7144"/>
                  </a:cubicBezTo>
                  <a:lnTo>
                    <a:pt x="66731" y="7060"/>
                  </a:lnTo>
                  <a:lnTo>
                    <a:pt x="66731" y="0"/>
                  </a:lnTo>
                  <a:lnTo>
                    <a:pt x="66059" y="84"/>
                  </a:lnTo>
                  <a:cubicBezTo>
                    <a:pt x="64546" y="337"/>
                    <a:pt x="63537" y="841"/>
                    <a:pt x="62529" y="1513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rgbClr val="E85757"/>
                </a:solidFill>
              </a:endParaRPr>
            </a:p>
          </p:txBody>
        </p:sp>
        <p:sp>
          <p:nvSpPr>
            <p:cNvPr id="749" name="Freeform: Shape 514">
              <a:extLst>
                <a:ext uri="{FF2B5EF4-FFF2-40B4-BE49-F238E27FC236}">
                  <a16:creationId xmlns:a16="http://schemas.microsoft.com/office/drawing/2014/main" id="{140EFAA6-6973-6B47-80A8-DCC44833E61E}"/>
                </a:ext>
              </a:extLst>
            </p:cNvPr>
            <p:cNvSpPr/>
            <p:nvPr/>
          </p:nvSpPr>
          <p:spPr>
            <a:xfrm>
              <a:off x="2294459" y="3101465"/>
              <a:ext cx="8908" cy="8908"/>
            </a:xfrm>
            <a:custGeom>
              <a:avLst/>
              <a:gdLst>
                <a:gd name="connsiteX0" fmla="*/ 8909 w 8908"/>
                <a:gd name="connsiteY0" fmla="*/ 4454 h 8908"/>
                <a:gd name="connsiteX1" fmla="*/ 4454 w 8908"/>
                <a:gd name="connsiteY1" fmla="*/ 8909 h 8908"/>
                <a:gd name="connsiteX2" fmla="*/ 0 w 8908"/>
                <a:gd name="connsiteY2" fmla="*/ 4454 h 8908"/>
                <a:gd name="connsiteX3" fmla="*/ 4454 w 8908"/>
                <a:gd name="connsiteY3" fmla="*/ 0 h 8908"/>
                <a:gd name="connsiteX4" fmla="*/ 8909 w 8908"/>
                <a:gd name="connsiteY4" fmla="*/ 4454 h 8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08" h="8908">
                  <a:moveTo>
                    <a:pt x="8909" y="4454"/>
                  </a:moveTo>
                  <a:cubicBezTo>
                    <a:pt x="8909" y="6892"/>
                    <a:pt x="6892" y="8909"/>
                    <a:pt x="4454" y="8909"/>
                  </a:cubicBezTo>
                  <a:cubicBezTo>
                    <a:pt x="2017" y="8909"/>
                    <a:pt x="0" y="6892"/>
                    <a:pt x="0" y="4454"/>
                  </a:cubicBezTo>
                  <a:cubicBezTo>
                    <a:pt x="0" y="1933"/>
                    <a:pt x="2017" y="0"/>
                    <a:pt x="4454" y="0"/>
                  </a:cubicBezTo>
                  <a:cubicBezTo>
                    <a:pt x="6892" y="0"/>
                    <a:pt x="8909" y="1933"/>
                    <a:pt x="8909" y="4454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rgbClr val="E85757"/>
                </a:solidFill>
              </a:endParaRPr>
            </a:p>
          </p:txBody>
        </p:sp>
        <p:sp>
          <p:nvSpPr>
            <p:cNvPr id="750" name="Freeform: Shape 515">
              <a:extLst>
                <a:ext uri="{FF2B5EF4-FFF2-40B4-BE49-F238E27FC236}">
                  <a16:creationId xmlns:a16="http://schemas.microsoft.com/office/drawing/2014/main" id="{A9DF5C5D-4C74-4645-9F9C-2547256A99E1}"/>
                </a:ext>
              </a:extLst>
            </p:cNvPr>
            <p:cNvSpPr/>
            <p:nvPr/>
          </p:nvSpPr>
          <p:spPr>
            <a:xfrm>
              <a:off x="2287231" y="3068441"/>
              <a:ext cx="14623" cy="29573"/>
            </a:xfrm>
            <a:custGeom>
              <a:avLst/>
              <a:gdLst>
                <a:gd name="connsiteX0" fmla="*/ 0 w 14623"/>
                <a:gd name="connsiteY0" fmla="*/ 163 h 29573"/>
                <a:gd name="connsiteX1" fmla="*/ 4370 w 14623"/>
                <a:gd name="connsiteY1" fmla="*/ 22519 h 29573"/>
                <a:gd name="connsiteX2" fmla="*/ 14624 w 14623"/>
                <a:gd name="connsiteY2" fmla="*/ 29410 h 29573"/>
                <a:gd name="connsiteX3" fmla="*/ 10253 w 14623"/>
                <a:gd name="connsiteY3" fmla="*/ 7054 h 29573"/>
                <a:gd name="connsiteX4" fmla="*/ 0 w 14623"/>
                <a:gd name="connsiteY4" fmla="*/ 163 h 29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23" h="29573">
                  <a:moveTo>
                    <a:pt x="0" y="163"/>
                  </a:moveTo>
                  <a:lnTo>
                    <a:pt x="4370" y="22519"/>
                  </a:lnTo>
                  <a:cubicBezTo>
                    <a:pt x="5295" y="27225"/>
                    <a:pt x="9917" y="30335"/>
                    <a:pt x="14624" y="29410"/>
                  </a:cubicBezTo>
                  <a:lnTo>
                    <a:pt x="10253" y="7054"/>
                  </a:lnTo>
                  <a:cubicBezTo>
                    <a:pt x="9413" y="2348"/>
                    <a:pt x="4791" y="-762"/>
                    <a:pt x="0" y="163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rgbClr val="E85757"/>
                </a:solidFill>
              </a:endParaRPr>
            </a:p>
          </p:txBody>
        </p:sp>
        <p:sp>
          <p:nvSpPr>
            <p:cNvPr id="751" name="Freeform: Shape 516">
              <a:extLst>
                <a:ext uri="{FF2B5EF4-FFF2-40B4-BE49-F238E27FC236}">
                  <a16:creationId xmlns:a16="http://schemas.microsoft.com/office/drawing/2014/main" id="{FE1D547A-CB86-4745-ACF6-492D9D6121B3}"/>
                </a:ext>
              </a:extLst>
            </p:cNvPr>
            <p:cNvSpPr/>
            <p:nvPr/>
          </p:nvSpPr>
          <p:spPr>
            <a:xfrm>
              <a:off x="2270285" y="3107348"/>
              <a:ext cx="22294" cy="27397"/>
            </a:xfrm>
            <a:custGeom>
              <a:avLst/>
              <a:gdLst>
                <a:gd name="connsiteX0" fmla="*/ 2154 w 22294"/>
                <a:gd name="connsiteY0" fmla="*/ 27398 h 27397"/>
                <a:gd name="connsiteX1" fmla="*/ 19299 w 22294"/>
                <a:gd name="connsiteY1" fmla="*/ 12354 h 27397"/>
                <a:gd name="connsiteX2" fmla="*/ 20140 w 22294"/>
                <a:gd name="connsiteY2" fmla="*/ 0 h 27397"/>
                <a:gd name="connsiteX3" fmla="*/ 2995 w 22294"/>
                <a:gd name="connsiteY3" fmla="*/ 14960 h 27397"/>
                <a:gd name="connsiteX4" fmla="*/ 2154 w 22294"/>
                <a:gd name="connsiteY4" fmla="*/ 27398 h 2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294" h="27397">
                  <a:moveTo>
                    <a:pt x="2154" y="27398"/>
                  </a:moveTo>
                  <a:lnTo>
                    <a:pt x="19299" y="12354"/>
                  </a:lnTo>
                  <a:cubicBezTo>
                    <a:pt x="22913" y="9161"/>
                    <a:pt x="23334" y="3614"/>
                    <a:pt x="20140" y="0"/>
                  </a:cubicBezTo>
                  <a:lnTo>
                    <a:pt x="2995" y="14960"/>
                  </a:lnTo>
                  <a:cubicBezTo>
                    <a:pt x="-619" y="18237"/>
                    <a:pt x="-1039" y="23784"/>
                    <a:pt x="2154" y="27398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rgbClr val="E85757"/>
                </a:solidFill>
              </a:endParaRPr>
            </a:p>
          </p:txBody>
        </p:sp>
        <p:sp>
          <p:nvSpPr>
            <p:cNvPr id="752" name="Freeform: Shape 517">
              <a:extLst>
                <a:ext uri="{FF2B5EF4-FFF2-40B4-BE49-F238E27FC236}">
                  <a16:creationId xmlns:a16="http://schemas.microsoft.com/office/drawing/2014/main" id="{2175DC34-7CD9-0C4F-BC0E-CBAB3A57DCD5}"/>
                </a:ext>
              </a:extLst>
            </p:cNvPr>
            <p:cNvSpPr/>
            <p:nvPr/>
          </p:nvSpPr>
          <p:spPr>
            <a:xfrm>
              <a:off x="2304376" y="3106564"/>
              <a:ext cx="32693" cy="13670"/>
            </a:xfrm>
            <a:custGeom>
              <a:avLst/>
              <a:gdLst>
                <a:gd name="connsiteX0" fmla="*/ 32693 w 32693"/>
                <a:gd name="connsiteY0" fmla="*/ 7676 h 13670"/>
                <a:gd name="connsiteX1" fmla="*/ 11094 w 32693"/>
                <a:gd name="connsiteY1" fmla="*/ 448 h 13670"/>
                <a:gd name="connsiteX2" fmla="*/ 0 w 32693"/>
                <a:gd name="connsiteY2" fmla="*/ 5995 h 13670"/>
                <a:gd name="connsiteX3" fmla="*/ 21599 w 32693"/>
                <a:gd name="connsiteY3" fmla="*/ 13223 h 13670"/>
                <a:gd name="connsiteX4" fmla="*/ 32693 w 32693"/>
                <a:gd name="connsiteY4" fmla="*/ 7676 h 13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693" h="13670">
                  <a:moveTo>
                    <a:pt x="32693" y="7676"/>
                  </a:moveTo>
                  <a:lnTo>
                    <a:pt x="11094" y="448"/>
                  </a:lnTo>
                  <a:cubicBezTo>
                    <a:pt x="6555" y="-1065"/>
                    <a:pt x="1513" y="1373"/>
                    <a:pt x="0" y="5995"/>
                  </a:cubicBezTo>
                  <a:lnTo>
                    <a:pt x="21599" y="13223"/>
                  </a:lnTo>
                  <a:cubicBezTo>
                    <a:pt x="26222" y="14735"/>
                    <a:pt x="31180" y="12298"/>
                    <a:pt x="32693" y="7676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rgbClr val="E85757"/>
                </a:solidFill>
              </a:endParaRPr>
            </a:p>
          </p:txBody>
        </p:sp>
        <p:sp>
          <p:nvSpPr>
            <p:cNvPr id="753" name="Freeform: Shape 518">
              <a:extLst>
                <a:ext uri="{FF2B5EF4-FFF2-40B4-BE49-F238E27FC236}">
                  <a16:creationId xmlns:a16="http://schemas.microsoft.com/office/drawing/2014/main" id="{DC5B3765-6BC1-8B41-BA6F-97476604A85C}"/>
                </a:ext>
              </a:extLst>
            </p:cNvPr>
            <p:cNvSpPr/>
            <p:nvPr/>
          </p:nvSpPr>
          <p:spPr>
            <a:xfrm>
              <a:off x="2293114" y="3114975"/>
              <a:ext cx="11514" cy="36075"/>
            </a:xfrm>
            <a:custGeom>
              <a:avLst/>
              <a:gdLst>
                <a:gd name="connsiteX0" fmla="*/ 5799 w 11514"/>
                <a:gd name="connsiteY0" fmla="*/ 36076 h 36075"/>
                <a:gd name="connsiteX1" fmla="*/ 11514 w 11514"/>
                <a:gd name="connsiteY1" fmla="*/ 33807 h 36075"/>
                <a:gd name="connsiteX2" fmla="*/ 9497 w 11514"/>
                <a:gd name="connsiteY2" fmla="*/ 3467 h 36075"/>
                <a:gd name="connsiteX3" fmla="*/ 2017 w 11514"/>
                <a:gd name="connsiteY3" fmla="*/ 3467 h 36075"/>
                <a:gd name="connsiteX4" fmla="*/ 0 w 11514"/>
                <a:gd name="connsiteY4" fmla="*/ 33555 h 36075"/>
                <a:gd name="connsiteX5" fmla="*/ 5799 w 11514"/>
                <a:gd name="connsiteY5" fmla="*/ 36076 h 36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514" h="36075">
                  <a:moveTo>
                    <a:pt x="5799" y="36076"/>
                  </a:moveTo>
                  <a:cubicBezTo>
                    <a:pt x="7732" y="36076"/>
                    <a:pt x="9749" y="35320"/>
                    <a:pt x="11514" y="33807"/>
                  </a:cubicBezTo>
                  <a:cubicBezTo>
                    <a:pt x="11094" y="22041"/>
                    <a:pt x="10253" y="6493"/>
                    <a:pt x="9497" y="3467"/>
                  </a:cubicBezTo>
                  <a:cubicBezTo>
                    <a:pt x="8320" y="-1156"/>
                    <a:pt x="3194" y="-1156"/>
                    <a:pt x="2017" y="3467"/>
                  </a:cubicBezTo>
                  <a:cubicBezTo>
                    <a:pt x="1261" y="6493"/>
                    <a:pt x="420" y="21872"/>
                    <a:pt x="0" y="33555"/>
                  </a:cubicBezTo>
                  <a:cubicBezTo>
                    <a:pt x="1765" y="34984"/>
                    <a:pt x="3782" y="36076"/>
                    <a:pt x="5799" y="36076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rgbClr val="E85757"/>
                </a:solidFill>
              </a:endParaRPr>
            </a:p>
          </p:txBody>
        </p:sp>
      </p:grpSp>
      <p:sp>
        <p:nvSpPr>
          <p:cNvPr id="747" name="TextBox 746">
            <a:extLst>
              <a:ext uri="{FF2B5EF4-FFF2-40B4-BE49-F238E27FC236}">
                <a16:creationId xmlns:a16="http://schemas.microsoft.com/office/drawing/2014/main" id="{B490230C-26A3-F84B-A224-EB9E0BAD8FBF}"/>
              </a:ext>
            </a:extLst>
          </p:cNvPr>
          <p:cNvSpPr txBox="1">
            <a:spLocks/>
          </p:cNvSpPr>
          <p:nvPr/>
        </p:nvSpPr>
        <p:spPr>
          <a:xfrm>
            <a:off x="9289926" y="3576797"/>
            <a:ext cx="541815" cy="1281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6000"/>
              </a:lnSpc>
              <a:spcBef>
                <a:spcPts val="2400"/>
              </a:spcBef>
            </a:pPr>
            <a:r>
              <a:rPr lang="en-US" sz="867">
                <a:solidFill>
                  <a:srgbClr val="4099DA"/>
                </a:solidFill>
              </a:rPr>
              <a:t>Hornsea 2</a:t>
            </a:r>
          </a:p>
        </p:txBody>
      </p:sp>
      <p:grpSp>
        <p:nvGrpSpPr>
          <p:cNvPr id="754" name="Group 753">
            <a:extLst>
              <a:ext uri="{FF2B5EF4-FFF2-40B4-BE49-F238E27FC236}">
                <a16:creationId xmlns:a16="http://schemas.microsoft.com/office/drawing/2014/main" id="{6911DFCE-1827-9B4A-9607-E8855E0C4E81}"/>
              </a:ext>
            </a:extLst>
          </p:cNvPr>
          <p:cNvGrpSpPr>
            <a:grpSpLocks/>
          </p:cNvGrpSpPr>
          <p:nvPr/>
        </p:nvGrpSpPr>
        <p:grpSpPr>
          <a:xfrm>
            <a:off x="9002497" y="3633076"/>
            <a:ext cx="735612" cy="189840"/>
            <a:chOff x="3794537" y="3314319"/>
            <a:chExt cx="597685" cy="154245"/>
          </a:xfrm>
        </p:grpSpPr>
        <p:grpSp>
          <p:nvGrpSpPr>
            <p:cNvPr id="755" name="Group 754">
              <a:extLst>
                <a:ext uri="{FF2B5EF4-FFF2-40B4-BE49-F238E27FC236}">
                  <a16:creationId xmlns:a16="http://schemas.microsoft.com/office/drawing/2014/main" id="{380AE17E-6D4E-394E-A1CF-87057778DEC4}"/>
                </a:ext>
              </a:extLst>
            </p:cNvPr>
            <p:cNvGrpSpPr/>
            <p:nvPr/>
          </p:nvGrpSpPr>
          <p:grpSpPr>
            <a:xfrm>
              <a:off x="3794537" y="3314319"/>
              <a:ext cx="106316" cy="141664"/>
              <a:chOff x="2265548" y="3068441"/>
              <a:chExt cx="71521" cy="95300"/>
            </a:xfrm>
            <a:solidFill>
              <a:schemeClr val="accent3"/>
            </a:solidFill>
          </p:grpSpPr>
          <p:sp>
            <p:nvSpPr>
              <p:cNvPr id="757" name="Freeform: Shape 522">
                <a:extLst>
                  <a:ext uri="{FF2B5EF4-FFF2-40B4-BE49-F238E27FC236}">
                    <a16:creationId xmlns:a16="http://schemas.microsoft.com/office/drawing/2014/main" id="{03F843C2-B80B-094E-B275-87212B4C880A}"/>
                  </a:ext>
                </a:extLst>
              </p:cNvPr>
              <p:cNvSpPr/>
              <p:nvPr/>
            </p:nvSpPr>
            <p:spPr>
              <a:xfrm>
                <a:off x="2265548" y="3153152"/>
                <a:ext cx="66731" cy="10589"/>
              </a:xfrm>
              <a:custGeom>
                <a:avLst/>
                <a:gdLst>
                  <a:gd name="connsiteX0" fmla="*/ 62529 w 66731"/>
                  <a:gd name="connsiteY0" fmla="*/ 1513 h 10589"/>
                  <a:gd name="connsiteX1" fmla="*/ 61604 w 66731"/>
                  <a:gd name="connsiteY1" fmla="*/ 1933 h 10589"/>
                  <a:gd name="connsiteX2" fmla="*/ 55721 w 66731"/>
                  <a:gd name="connsiteY2" fmla="*/ 3530 h 10589"/>
                  <a:gd name="connsiteX3" fmla="*/ 49586 w 66731"/>
                  <a:gd name="connsiteY3" fmla="*/ 1681 h 10589"/>
                  <a:gd name="connsiteX4" fmla="*/ 49418 w 66731"/>
                  <a:gd name="connsiteY4" fmla="*/ 1597 h 10589"/>
                  <a:gd name="connsiteX5" fmla="*/ 44712 w 66731"/>
                  <a:gd name="connsiteY5" fmla="*/ 168 h 10589"/>
                  <a:gd name="connsiteX6" fmla="*/ 40005 w 66731"/>
                  <a:gd name="connsiteY6" fmla="*/ 1597 h 10589"/>
                  <a:gd name="connsiteX7" fmla="*/ 39837 w 66731"/>
                  <a:gd name="connsiteY7" fmla="*/ 1681 h 10589"/>
                  <a:gd name="connsiteX8" fmla="*/ 33702 w 66731"/>
                  <a:gd name="connsiteY8" fmla="*/ 3530 h 10589"/>
                  <a:gd name="connsiteX9" fmla="*/ 27567 w 66731"/>
                  <a:gd name="connsiteY9" fmla="*/ 1681 h 10589"/>
                  <a:gd name="connsiteX10" fmla="*/ 27398 w 66731"/>
                  <a:gd name="connsiteY10" fmla="*/ 1597 h 10589"/>
                  <a:gd name="connsiteX11" fmla="*/ 22692 w 66731"/>
                  <a:gd name="connsiteY11" fmla="*/ 168 h 10589"/>
                  <a:gd name="connsiteX12" fmla="*/ 17649 w 66731"/>
                  <a:gd name="connsiteY12" fmla="*/ 1513 h 10589"/>
                  <a:gd name="connsiteX13" fmla="*/ 11514 w 66731"/>
                  <a:gd name="connsiteY13" fmla="*/ 3362 h 10589"/>
                  <a:gd name="connsiteX14" fmla="*/ 5379 w 66731"/>
                  <a:gd name="connsiteY14" fmla="*/ 1513 h 10589"/>
                  <a:gd name="connsiteX15" fmla="*/ 5211 w 66731"/>
                  <a:gd name="connsiteY15" fmla="*/ 1429 h 10589"/>
                  <a:gd name="connsiteX16" fmla="*/ 588 w 66731"/>
                  <a:gd name="connsiteY16" fmla="*/ 0 h 10589"/>
                  <a:gd name="connsiteX17" fmla="*/ 0 w 66731"/>
                  <a:gd name="connsiteY17" fmla="*/ 0 h 10589"/>
                  <a:gd name="connsiteX18" fmla="*/ 0 w 66731"/>
                  <a:gd name="connsiteY18" fmla="*/ 7060 h 10589"/>
                  <a:gd name="connsiteX19" fmla="*/ 588 w 66731"/>
                  <a:gd name="connsiteY19" fmla="*/ 7060 h 10589"/>
                  <a:gd name="connsiteX20" fmla="*/ 3950 w 66731"/>
                  <a:gd name="connsiteY20" fmla="*/ 8237 h 10589"/>
                  <a:gd name="connsiteX21" fmla="*/ 4454 w 66731"/>
                  <a:gd name="connsiteY21" fmla="*/ 8489 h 10589"/>
                  <a:gd name="connsiteX22" fmla="*/ 11514 w 66731"/>
                  <a:gd name="connsiteY22" fmla="*/ 10590 h 10589"/>
                  <a:gd name="connsiteX23" fmla="*/ 19078 w 66731"/>
                  <a:gd name="connsiteY23" fmla="*/ 8237 h 10589"/>
                  <a:gd name="connsiteX24" fmla="*/ 19246 w 66731"/>
                  <a:gd name="connsiteY24" fmla="*/ 8153 h 10589"/>
                  <a:gd name="connsiteX25" fmla="*/ 22692 w 66731"/>
                  <a:gd name="connsiteY25" fmla="*/ 7060 h 10589"/>
                  <a:gd name="connsiteX26" fmla="*/ 26306 w 66731"/>
                  <a:gd name="connsiteY26" fmla="*/ 8237 h 10589"/>
                  <a:gd name="connsiteX27" fmla="*/ 26726 w 66731"/>
                  <a:gd name="connsiteY27" fmla="*/ 8489 h 10589"/>
                  <a:gd name="connsiteX28" fmla="*/ 33870 w 66731"/>
                  <a:gd name="connsiteY28" fmla="*/ 10590 h 10589"/>
                  <a:gd name="connsiteX29" fmla="*/ 41434 w 66731"/>
                  <a:gd name="connsiteY29" fmla="*/ 8237 h 10589"/>
                  <a:gd name="connsiteX30" fmla="*/ 41602 w 66731"/>
                  <a:gd name="connsiteY30" fmla="*/ 8153 h 10589"/>
                  <a:gd name="connsiteX31" fmla="*/ 45048 w 66731"/>
                  <a:gd name="connsiteY31" fmla="*/ 7060 h 10589"/>
                  <a:gd name="connsiteX32" fmla="*/ 48662 w 66731"/>
                  <a:gd name="connsiteY32" fmla="*/ 8237 h 10589"/>
                  <a:gd name="connsiteX33" fmla="*/ 49082 w 66731"/>
                  <a:gd name="connsiteY33" fmla="*/ 8489 h 10589"/>
                  <a:gd name="connsiteX34" fmla="*/ 56226 w 66731"/>
                  <a:gd name="connsiteY34" fmla="*/ 10590 h 10589"/>
                  <a:gd name="connsiteX35" fmla="*/ 63790 w 66731"/>
                  <a:gd name="connsiteY35" fmla="*/ 8237 h 10589"/>
                  <a:gd name="connsiteX36" fmla="*/ 66227 w 66731"/>
                  <a:gd name="connsiteY36" fmla="*/ 7144 h 10589"/>
                  <a:gd name="connsiteX37" fmla="*/ 66731 w 66731"/>
                  <a:gd name="connsiteY37" fmla="*/ 7060 h 10589"/>
                  <a:gd name="connsiteX38" fmla="*/ 66731 w 66731"/>
                  <a:gd name="connsiteY38" fmla="*/ 0 h 10589"/>
                  <a:gd name="connsiteX39" fmla="*/ 66059 w 66731"/>
                  <a:gd name="connsiteY39" fmla="*/ 84 h 10589"/>
                  <a:gd name="connsiteX40" fmla="*/ 62529 w 66731"/>
                  <a:gd name="connsiteY40" fmla="*/ 1513 h 10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66731" h="10589">
                    <a:moveTo>
                      <a:pt x="62529" y="1513"/>
                    </a:moveTo>
                    <a:cubicBezTo>
                      <a:pt x="62193" y="1681"/>
                      <a:pt x="61856" y="1849"/>
                      <a:pt x="61604" y="1933"/>
                    </a:cubicBezTo>
                    <a:cubicBezTo>
                      <a:pt x="60008" y="2689"/>
                      <a:pt x="58327" y="3530"/>
                      <a:pt x="55721" y="3530"/>
                    </a:cubicBezTo>
                    <a:cubicBezTo>
                      <a:pt x="52528" y="3530"/>
                      <a:pt x="51015" y="2522"/>
                      <a:pt x="49586" y="1681"/>
                    </a:cubicBezTo>
                    <a:lnTo>
                      <a:pt x="49418" y="1597"/>
                    </a:lnTo>
                    <a:cubicBezTo>
                      <a:pt x="48157" y="841"/>
                      <a:pt x="46981" y="168"/>
                      <a:pt x="44712" y="168"/>
                    </a:cubicBezTo>
                    <a:cubicBezTo>
                      <a:pt x="42442" y="168"/>
                      <a:pt x="41182" y="841"/>
                      <a:pt x="40005" y="1597"/>
                    </a:cubicBezTo>
                    <a:lnTo>
                      <a:pt x="39837" y="1681"/>
                    </a:lnTo>
                    <a:cubicBezTo>
                      <a:pt x="38492" y="2522"/>
                      <a:pt x="36895" y="3530"/>
                      <a:pt x="33702" y="3530"/>
                    </a:cubicBezTo>
                    <a:cubicBezTo>
                      <a:pt x="30508" y="3530"/>
                      <a:pt x="28911" y="2522"/>
                      <a:pt x="27567" y="1681"/>
                    </a:cubicBezTo>
                    <a:lnTo>
                      <a:pt x="27398" y="1597"/>
                    </a:lnTo>
                    <a:cubicBezTo>
                      <a:pt x="26138" y="841"/>
                      <a:pt x="24961" y="168"/>
                      <a:pt x="22692" y="168"/>
                    </a:cubicBezTo>
                    <a:cubicBezTo>
                      <a:pt x="20255" y="168"/>
                      <a:pt x="19078" y="757"/>
                      <a:pt x="17649" y="1513"/>
                    </a:cubicBezTo>
                    <a:cubicBezTo>
                      <a:pt x="16305" y="2353"/>
                      <a:pt x="14708" y="3362"/>
                      <a:pt x="11514" y="3362"/>
                    </a:cubicBezTo>
                    <a:cubicBezTo>
                      <a:pt x="8404" y="3362"/>
                      <a:pt x="6724" y="2353"/>
                      <a:pt x="5379" y="1513"/>
                    </a:cubicBezTo>
                    <a:lnTo>
                      <a:pt x="5211" y="1429"/>
                    </a:lnTo>
                    <a:cubicBezTo>
                      <a:pt x="3950" y="672"/>
                      <a:pt x="2773" y="0"/>
                      <a:pt x="588" y="0"/>
                    </a:cubicBezTo>
                    <a:lnTo>
                      <a:pt x="0" y="0"/>
                    </a:lnTo>
                    <a:lnTo>
                      <a:pt x="0" y="7060"/>
                    </a:lnTo>
                    <a:lnTo>
                      <a:pt x="588" y="7060"/>
                    </a:lnTo>
                    <a:cubicBezTo>
                      <a:pt x="2101" y="7060"/>
                      <a:pt x="2858" y="7480"/>
                      <a:pt x="3950" y="8237"/>
                    </a:cubicBezTo>
                    <a:lnTo>
                      <a:pt x="4454" y="8489"/>
                    </a:lnTo>
                    <a:cubicBezTo>
                      <a:pt x="5967" y="9329"/>
                      <a:pt x="8068" y="10590"/>
                      <a:pt x="11514" y="10590"/>
                    </a:cubicBezTo>
                    <a:cubicBezTo>
                      <a:pt x="15212" y="10590"/>
                      <a:pt x="17313" y="9413"/>
                      <a:pt x="19078" y="8237"/>
                    </a:cubicBezTo>
                    <a:lnTo>
                      <a:pt x="19246" y="8153"/>
                    </a:lnTo>
                    <a:cubicBezTo>
                      <a:pt x="20339" y="7480"/>
                      <a:pt x="21011" y="7060"/>
                      <a:pt x="22692" y="7060"/>
                    </a:cubicBezTo>
                    <a:cubicBezTo>
                      <a:pt x="24373" y="7060"/>
                      <a:pt x="25297" y="7564"/>
                      <a:pt x="26306" y="8237"/>
                    </a:cubicBezTo>
                    <a:lnTo>
                      <a:pt x="26726" y="8489"/>
                    </a:lnTo>
                    <a:cubicBezTo>
                      <a:pt x="28239" y="9329"/>
                      <a:pt x="30340" y="10590"/>
                      <a:pt x="33870" y="10590"/>
                    </a:cubicBezTo>
                    <a:cubicBezTo>
                      <a:pt x="37568" y="10590"/>
                      <a:pt x="39669" y="9413"/>
                      <a:pt x="41434" y="8237"/>
                    </a:cubicBezTo>
                    <a:lnTo>
                      <a:pt x="41602" y="8153"/>
                    </a:lnTo>
                    <a:cubicBezTo>
                      <a:pt x="42694" y="7480"/>
                      <a:pt x="43367" y="7060"/>
                      <a:pt x="45048" y="7060"/>
                    </a:cubicBezTo>
                    <a:cubicBezTo>
                      <a:pt x="46729" y="7060"/>
                      <a:pt x="47653" y="7564"/>
                      <a:pt x="48662" y="8237"/>
                    </a:cubicBezTo>
                    <a:lnTo>
                      <a:pt x="49082" y="8489"/>
                    </a:lnTo>
                    <a:cubicBezTo>
                      <a:pt x="50595" y="9329"/>
                      <a:pt x="52696" y="10590"/>
                      <a:pt x="56226" y="10590"/>
                    </a:cubicBezTo>
                    <a:cubicBezTo>
                      <a:pt x="59923" y="10590"/>
                      <a:pt x="62025" y="9413"/>
                      <a:pt x="63790" y="8237"/>
                    </a:cubicBezTo>
                    <a:cubicBezTo>
                      <a:pt x="64630" y="7648"/>
                      <a:pt x="65302" y="7228"/>
                      <a:pt x="66227" y="7144"/>
                    </a:cubicBezTo>
                    <a:lnTo>
                      <a:pt x="66731" y="7060"/>
                    </a:lnTo>
                    <a:lnTo>
                      <a:pt x="66731" y="0"/>
                    </a:lnTo>
                    <a:lnTo>
                      <a:pt x="66059" y="84"/>
                    </a:lnTo>
                    <a:cubicBezTo>
                      <a:pt x="64546" y="337"/>
                      <a:pt x="63537" y="841"/>
                      <a:pt x="62529" y="151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758" name="Freeform: Shape 523">
                <a:extLst>
                  <a:ext uri="{FF2B5EF4-FFF2-40B4-BE49-F238E27FC236}">
                    <a16:creationId xmlns:a16="http://schemas.microsoft.com/office/drawing/2014/main" id="{6DC63581-50BB-1F4C-AFE5-B771E6E118A1}"/>
                  </a:ext>
                </a:extLst>
              </p:cNvPr>
              <p:cNvSpPr/>
              <p:nvPr/>
            </p:nvSpPr>
            <p:spPr>
              <a:xfrm>
                <a:off x="2294459" y="3101465"/>
                <a:ext cx="8908" cy="8908"/>
              </a:xfrm>
              <a:custGeom>
                <a:avLst/>
                <a:gdLst>
                  <a:gd name="connsiteX0" fmla="*/ 8909 w 8908"/>
                  <a:gd name="connsiteY0" fmla="*/ 4454 h 8908"/>
                  <a:gd name="connsiteX1" fmla="*/ 4454 w 8908"/>
                  <a:gd name="connsiteY1" fmla="*/ 8909 h 8908"/>
                  <a:gd name="connsiteX2" fmla="*/ 0 w 8908"/>
                  <a:gd name="connsiteY2" fmla="*/ 4454 h 8908"/>
                  <a:gd name="connsiteX3" fmla="*/ 4454 w 8908"/>
                  <a:gd name="connsiteY3" fmla="*/ 0 h 8908"/>
                  <a:gd name="connsiteX4" fmla="*/ 8909 w 8908"/>
                  <a:gd name="connsiteY4" fmla="*/ 4454 h 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8">
                    <a:moveTo>
                      <a:pt x="8909" y="4454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4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1933"/>
                      <a:pt x="8909" y="4454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759" name="Freeform: Shape 524">
                <a:extLst>
                  <a:ext uri="{FF2B5EF4-FFF2-40B4-BE49-F238E27FC236}">
                    <a16:creationId xmlns:a16="http://schemas.microsoft.com/office/drawing/2014/main" id="{3C348EE8-5B61-AF4B-9487-D38D9C4CBD03}"/>
                  </a:ext>
                </a:extLst>
              </p:cNvPr>
              <p:cNvSpPr/>
              <p:nvPr/>
            </p:nvSpPr>
            <p:spPr>
              <a:xfrm>
                <a:off x="2287231" y="3068441"/>
                <a:ext cx="14623" cy="29573"/>
              </a:xfrm>
              <a:custGeom>
                <a:avLst/>
                <a:gdLst>
                  <a:gd name="connsiteX0" fmla="*/ 0 w 14623"/>
                  <a:gd name="connsiteY0" fmla="*/ 163 h 29573"/>
                  <a:gd name="connsiteX1" fmla="*/ 4370 w 14623"/>
                  <a:gd name="connsiteY1" fmla="*/ 22519 h 29573"/>
                  <a:gd name="connsiteX2" fmla="*/ 14624 w 14623"/>
                  <a:gd name="connsiteY2" fmla="*/ 29410 h 29573"/>
                  <a:gd name="connsiteX3" fmla="*/ 10253 w 14623"/>
                  <a:gd name="connsiteY3" fmla="*/ 7054 h 29573"/>
                  <a:gd name="connsiteX4" fmla="*/ 0 w 14623"/>
                  <a:gd name="connsiteY4" fmla="*/ 163 h 29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3">
                    <a:moveTo>
                      <a:pt x="0" y="163"/>
                    </a:moveTo>
                    <a:lnTo>
                      <a:pt x="4370" y="22519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760" name="Freeform: Shape 525">
                <a:extLst>
                  <a:ext uri="{FF2B5EF4-FFF2-40B4-BE49-F238E27FC236}">
                    <a16:creationId xmlns:a16="http://schemas.microsoft.com/office/drawing/2014/main" id="{A58EA639-3ED6-874F-A1DC-0F9E834B53EC}"/>
                  </a:ext>
                </a:extLst>
              </p:cNvPr>
              <p:cNvSpPr/>
              <p:nvPr/>
            </p:nvSpPr>
            <p:spPr>
              <a:xfrm>
                <a:off x="2270285" y="3107348"/>
                <a:ext cx="22294" cy="27397"/>
              </a:xfrm>
              <a:custGeom>
                <a:avLst/>
                <a:gdLst>
                  <a:gd name="connsiteX0" fmla="*/ 2154 w 22294"/>
                  <a:gd name="connsiteY0" fmla="*/ 27398 h 27397"/>
                  <a:gd name="connsiteX1" fmla="*/ 19299 w 22294"/>
                  <a:gd name="connsiteY1" fmla="*/ 12354 h 27397"/>
                  <a:gd name="connsiteX2" fmla="*/ 20140 w 22294"/>
                  <a:gd name="connsiteY2" fmla="*/ 0 h 27397"/>
                  <a:gd name="connsiteX3" fmla="*/ 2995 w 22294"/>
                  <a:gd name="connsiteY3" fmla="*/ 14960 h 27397"/>
                  <a:gd name="connsiteX4" fmla="*/ 2154 w 22294"/>
                  <a:gd name="connsiteY4" fmla="*/ 27398 h 27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7">
                    <a:moveTo>
                      <a:pt x="2154" y="27398"/>
                    </a:moveTo>
                    <a:lnTo>
                      <a:pt x="19299" y="12354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7"/>
                      <a:pt x="-1039" y="23784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761" name="Freeform: Shape 526">
                <a:extLst>
                  <a:ext uri="{FF2B5EF4-FFF2-40B4-BE49-F238E27FC236}">
                    <a16:creationId xmlns:a16="http://schemas.microsoft.com/office/drawing/2014/main" id="{5AB18E36-3A9D-204B-81E4-10ADAFECC7B0}"/>
                  </a:ext>
                </a:extLst>
              </p:cNvPr>
              <p:cNvSpPr/>
              <p:nvPr/>
            </p:nvSpPr>
            <p:spPr>
              <a:xfrm>
                <a:off x="2304376" y="3106564"/>
                <a:ext cx="32693" cy="13670"/>
              </a:xfrm>
              <a:custGeom>
                <a:avLst/>
                <a:gdLst>
                  <a:gd name="connsiteX0" fmla="*/ 32693 w 32693"/>
                  <a:gd name="connsiteY0" fmla="*/ 7676 h 13670"/>
                  <a:gd name="connsiteX1" fmla="*/ 11094 w 32693"/>
                  <a:gd name="connsiteY1" fmla="*/ 448 h 13670"/>
                  <a:gd name="connsiteX2" fmla="*/ 0 w 32693"/>
                  <a:gd name="connsiteY2" fmla="*/ 5995 h 13670"/>
                  <a:gd name="connsiteX3" fmla="*/ 21599 w 32693"/>
                  <a:gd name="connsiteY3" fmla="*/ 13223 h 13670"/>
                  <a:gd name="connsiteX4" fmla="*/ 32693 w 32693"/>
                  <a:gd name="connsiteY4" fmla="*/ 7676 h 13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70">
                    <a:moveTo>
                      <a:pt x="32693" y="7676"/>
                    </a:moveTo>
                    <a:lnTo>
                      <a:pt x="11094" y="448"/>
                    </a:lnTo>
                    <a:cubicBezTo>
                      <a:pt x="6555" y="-1065"/>
                      <a:pt x="1513" y="1373"/>
                      <a:pt x="0" y="5995"/>
                    </a:cubicBezTo>
                    <a:lnTo>
                      <a:pt x="21599" y="13223"/>
                    </a:lnTo>
                    <a:cubicBezTo>
                      <a:pt x="26222" y="14735"/>
                      <a:pt x="31180" y="12298"/>
                      <a:pt x="32693" y="76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762" name="Freeform: Shape 527">
                <a:extLst>
                  <a:ext uri="{FF2B5EF4-FFF2-40B4-BE49-F238E27FC236}">
                    <a16:creationId xmlns:a16="http://schemas.microsoft.com/office/drawing/2014/main" id="{25AD9C38-0836-7647-BC20-15CAA23104C7}"/>
                  </a:ext>
                </a:extLst>
              </p:cNvPr>
              <p:cNvSpPr/>
              <p:nvPr/>
            </p:nvSpPr>
            <p:spPr>
              <a:xfrm>
                <a:off x="2293114" y="3114975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3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3"/>
                      <a:pt x="420" y="21872"/>
                      <a:pt x="0" y="33555"/>
                    </a:cubicBezTo>
                    <a:cubicBezTo>
                      <a:pt x="1765" y="34984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</p:grpSp>
        <p:sp>
          <p:nvSpPr>
            <p:cNvPr id="756" name="TextBox 755">
              <a:extLst>
                <a:ext uri="{FF2B5EF4-FFF2-40B4-BE49-F238E27FC236}">
                  <a16:creationId xmlns:a16="http://schemas.microsoft.com/office/drawing/2014/main" id="{95231994-3E69-9843-9A09-3B30CFEDCA49}"/>
                </a:ext>
              </a:extLst>
            </p:cNvPr>
            <p:cNvSpPr txBox="1"/>
            <p:nvPr/>
          </p:nvSpPr>
          <p:spPr>
            <a:xfrm>
              <a:off x="3951997" y="3364473"/>
              <a:ext cx="440225" cy="10409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2400"/>
                </a:spcBef>
              </a:pPr>
              <a:r>
                <a:rPr lang="en-US" sz="867">
                  <a:solidFill>
                    <a:schemeClr val="accent3"/>
                  </a:solidFill>
                </a:rPr>
                <a:t>Hornsea 3</a:t>
              </a:r>
            </a:p>
          </p:txBody>
        </p:sp>
      </p:grpSp>
      <p:grpSp>
        <p:nvGrpSpPr>
          <p:cNvPr id="763" name="Group 762">
            <a:extLst>
              <a:ext uri="{FF2B5EF4-FFF2-40B4-BE49-F238E27FC236}">
                <a16:creationId xmlns:a16="http://schemas.microsoft.com/office/drawing/2014/main" id="{4453423F-31C2-4B47-867C-3A4D5C4EBB35}"/>
              </a:ext>
            </a:extLst>
          </p:cNvPr>
          <p:cNvGrpSpPr>
            <a:grpSpLocks/>
          </p:cNvGrpSpPr>
          <p:nvPr/>
        </p:nvGrpSpPr>
        <p:grpSpPr>
          <a:xfrm>
            <a:off x="8894073" y="3759417"/>
            <a:ext cx="848337" cy="189840"/>
            <a:chOff x="3706444" y="3416972"/>
            <a:chExt cx="689274" cy="154245"/>
          </a:xfrm>
        </p:grpSpPr>
        <p:grpSp>
          <p:nvGrpSpPr>
            <p:cNvPr id="764" name="Group 763">
              <a:extLst>
                <a:ext uri="{FF2B5EF4-FFF2-40B4-BE49-F238E27FC236}">
                  <a16:creationId xmlns:a16="http://schemas.microsoft.com/office/drawing/2014/main" id="{D874A2D9-954F-2448-9040-771ED332BF98}"/>
                </a:ext>
              </a:extLst>
            </p:cNvPr>
            <p:cNvGrpSpPr/>
            <p:nvPr/>
          </p:nvGrpSpPr>
          <p:grpSpPr>
            <a:xfrm>
              <a:off x="3706444" y="3416972"/>
              <a:ext cx="106316" cy="141664"/>
              <a:chOff x="2265548" y="3068441"/>
              <a:chExt cx="71521" cy="95300"/>
            </a:xfrm>
            <a:solidFill>
              <a:schemeClr val="accent3"/>
            </a:solidFill>
          </p:grpSpPr>
          <p:sp>
            <p:nvSpPr>
              <p:cNvPr id="766" name="Freeform: Shape 531">
                <a:extLst>
                  <a:ext uri="{FF2B5EF4-FFF2-40B4-BE49-F238E27FC236}">
                    <a16:creationId xmlns:a16="http://schemas.microsoft.com/office/drawing/2014/main" id="{540BC6CB-165E-9048-90B5-CE3959CD1994}"/>
                  </a:ext>
                </a:extLst>
              </p:cNvPr>
              <p:cNvSpPr/>
              <p:nvPr/>
            </p:nvSpPr>
            <p:spPr>
              <a:xfrm>
                <a:off x="2265548" y="3153152"/>
                <a:ext cx="66731" cy="10589"/>
              </a:xfrm>
              <a:custGeom>
                <a:avLst/>
                <a:gdLst>
                  <a:gd name="connsiteX0" fmla="*/ 62529 w 66731"/>
                  <a:gd name="connsiteY0" fmla="*/ 1513 h 10589"/>
                  <a:gd name="connsiteX1" fmla="*/ 61604 w 66731"/>
                  <a:gd name="connsiteY1" fmla="*/ 1933 h 10589"/>
                  <a:gd name="connsiteX2" fmla="*/ 55721 w 66731"/>
                  <a:gd name="connsiteY2" fmla="*/ 3530 h 10589"/>
                  <a:gd name="connsiteX3" fmla="*/ 49586 w 66731"/>
                  <a:gd name="connsiteY3" fmla="*/ 1681 h 10589"/>
                  <a:gd name="connsiteX4" fmla="*/ 49418 w 66731"/>
                  <a:gd name="connsiteY4" fmla="*/ 1597 h 10589"/>
                  <a:gd name="connsiteX5" fmla="*/ 44712 w 66731"/>
                  <a:gd name="connsiteY5" fmla="*/ 168 h 10589"/>
                  <a:gd name="connsiteX6" fmla="*/ 40005 w 66731"/>
                  <a:gd name="connsiteY6" fmla="*/ 1597 h 10589"/>
                  <a:gd name="connsiteX7" fmla="*/ 39837 w 66731"/>
                  <a:gd name="connsiteY7" fmla="*/ 1681 h 10589"/>
                  <a:gd name="connsiteX8" fmla="*/ 33702 w 66731"/>
                  <a:gd name="connsiteY8" fmla="*/ 3530 h 10589"/>
                  <a:gd name="connsiteX9" fmla="*/ 27567 w 66731"/>
                  <a:gd name="connsiteY9" fmla="*/ 1681 h 10589"/>
                  <a:gd name="connsiteX10" fmla="*/ 27398 w 66731"/>
                  <a:gd name="connsiteY10" fmla="*/ 1597 h 10589"/>
                  <a:gd name="connsiteX11" fmla="*/ 22692 w 66731"/>
                  <a:gd name="connsiteY11" fmla="*/ 168 h 10589"/>
                  <a:gd name="connsiteX12" fmla="*/ 17649 w 66731"/>
                  <a:gd name="connsiteY12" fmla="*/ 1513 h 10589"/>
                  <a:gd name="connsiteX13" fmla="*/ 11514 w 66731"/>
                  <a:gd name="connsiteY13" fmla="*/ 3362 h 10589"/>
                  <a:gd name="connsiteX14" fmla="*/ 5379 w 66731"/>
                  <a:gd name="connsiteY14" fmla="*/ 1513 h 10589"/>
                  <a:gd name="connsiteX15" fmla="*/ 5211 w 66731"/>
                  <a:gd name="connsiteY15" fmla="*/ 1429 h 10589"/>
                  <a:gd name="connsiteX16" fmla="*/ 588 w 66731"/>
                  <a:gd name="connsiteY16" fmla="*/ 0 h 10589"/>
                  <a:gd name="connsiteX17" fmla="*/ 0 w 66731"/>
                  <a:gd name="connsiteY17" fmla="*/ 0 h 10589"/>
                  <a:gd name="connsiteX18" fmla="*/ 0 w 66731"/>
                  <a:gd name="connsiteY18" fmla="*/ 7060 h 10589"/>
                  <a:gd name="connsiteX19" fmla="*/ 588 w 66731"/>
                  <a:gd name="connsiteY19" fmla="*/ 7060 h 10589"/>
                  <a:gd name="connsiteX20" fmla="*/ 3950 w 66731"/>
                  <a:gd name="connsiteY20" fmla="*/ 8237 h 10589"/>
                  <a:gd name="connsiteX21" fmla="*/ 4454 w 66731"/>
                  <a:gd name="connsiteY21" fmla="*/ 8489 h 10589"/>
                  <a:gd name="connsiteX22" fmla="*/ 11514 w 66731"/>
                  <a:gd name="connsiteY22" fmla="*/ 10590 h 10589"/>
                  <a:gd name="connsiteX23" fmla="*/ 19078 w 66731"/>
                  <a:gd name="connsiteY23" fmla="*/ 8237 h 10589"/>
                  <a:gd name="connsiteX24" fmla="*/ 19246 w 66731"/>
                  <a:gd name="connsiteY24" fmla="*/ 8153 h 10589"/>
                  <a:gd name="connsiteX25" fmla="*/ 22692 w 66731"/>
                  <a:gd name="connsiteY25" fmla="*/ 7060 h 10589"/>
                  <a:gd name="connsiteX26" fmla="*/ 26306 w 66731"/>
                  <a:gd name="connsiteY26" fmla="*/ 8237 h 10589"/>
                  <a:gd name="connsiteX27" fmla="*/ 26726 w 66731"/>
                  <a:gd name="connsiteY27" fmla="*/ 8489 h 10589"/>
                  <a:gd name="connsiteX28" fmla="*/ 33870 w 66731"/>
                  <a:gd name="connsiteY28" fmla="*/ 10590 h 10589"/>
                  <a:gd name="connsiteX29" fmla="*/ 41434 w 66731"/>
                  <a:gd name="connsiteY29" fmla="*/ 8237 h 10589"/>
                  <a:gd name="connsiteX30" fmla="*/ 41602 w 66731"/>
                  <a:gd name="connsiteY30" fmla="*/ 8153 h 10589"/>
                  <a:gd name="connsiteX31" fmla="*/ 45048 w 66731"/>
                  <a:gd name="connsiteY31" fmla="*/ 7060 h 10589"/>
                  <a:gd name="connsiteX32" fmla="*/ 48662 w 66731"/>
                  <a:gd name="connsiteY32" fmla="*/ 8237 h 10589"/>
                  <a:gd name="connsiteX33" fmla="*/ 49082 w 66731"/>
                  <a:gd name="connsiteY33" fmla="*/ 8489 h 10589"/>
                  <a:gd name="connsiteX34" fmla="*/ 56226 w 66731"/>
                  <a:gd name="connsiteY34" fmla="*/ 10590 h 10589"/>
                  <a:gd name="connsiteX35" fmla="*/ 63790 w 66731"/>
                  <a:gd name="connsiteY35" fmla="*/ 8237 h 10589"/>
                  <a:gd name="connsiteX36" fmla="*/ 66227 w 66731"/>
                  <a:gd name="connsiteY36" fmla="*/ 7144 h 10589"/>
                  <a:gd name="connsiteX37" fmla="*/ 66731 w 66731"/>
                  <a:gd name="connsiteY37" fmla="*/ 7060 h 10589"/>
                  <a:gd name="connsiteX38" fmla="*/ 66731 w 66731"/>
                  <a:gd name="connsiteY38" fmla="*/ 0 h 10589"/>
                  <a:gd name="connsiteX39" fmla="*/ 66059 w 66731"/>
                  <a:gd name="connsiteY39" fmla="*/ 84 h 10589"/>
                  <a:gd name="connsiteX40" fmla="*/ 62529 w 66731"/>
                  <a:gd name="connsiteY40" fmla="*/ 1513 h 10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66731" h="10589">
                    <a:moveTo>
                      <a:pt x="62529" y="1513"/>
                    </a:moveTo>
                    <a:cubicBezTo>
                      <a:pt x="62193" y="1681"/>
                      <a:pt x="61856" y="1849"/>
                      <a:pt x="61604" y="1933"/>
                    </a:cubicBezTo>
                    <a:cubicBezTo>
                      <a:pt x="60008" y="2689"/>
                      <a:pt x="58327" y="3530"/>
                      <a:pt x="55721" y="3530"/>
                    </a:cubicBezTo>
                    <a:cubicBezTo>
                      <a:pt x="52528" y="3530"/>
                      <a:pt x="51015" y="2522"/>
                      <a:pt x="49586" y="1681"/>
                    </a:cubicBezTo>
                    <a:lnTo>
                      <a:pt x="49418" y="1597"/>
                    </a:lnTo>
                    <a:cubicBezTo>
                      <a:pt x="48157" y="841"/>
                      <a:pt x="46981" y="168"/>
                      <a:pt x="44712" y="168"/>
                    </a:cubicBezTo>
                    <a:cubicBezTo>
                      <a:pt x="42442" y="168"/>
                      <a:pt x="41182" y="841"/>
                      <a:pt x="40005" y="1597"/>
                    </a:cubicBezTo>
                    <a:lnTo>
                      <a:pt x="39837" y="1681"/>
                    </a:lnTo>
                    <a:cubicBezTo>
                      <a:pt x="38492" y="2522"/>
                      <a:pt x="36895" y="3530"/>
                      <a:pt x="33702" y="3530"/>
                    </a:cubicBezTo>
                    <a:cubicBezTo>
                      <a:pt x="30508" y="3530"/>
                      <a:pt x="28911" y="2522"/>
                      <a:pt x="27567" y="1681"/>
                    </a:cubicBezTo>
                    <a:lnTo>
                      <a:pt x="27398" y="1597"/>
                    </a:lnTo>
                    <a:cubicBezTo>
                      <a:pt x="26138" y="841"/>
                      <a:pt x="24961" y="168"/>
                      <a:pt x="22692" y="168"/>
                    </a:cubicBezTo>
                    <a:cubicBezTo>
                      <a:pt x="20255" y="168"/>
                      <a:pt x="19078" y="757"/>
                      <a:pt x="17649" y="1513"/>
                    </a:cubicBezTo>
                    <a:cubicBezTo>
                      <a:pt x="16305" y="2353"/>
                      <a:pt x="14708" y="3362"/>
                      <a:pt x="11514" y="3362"/>
                    </a:cubicBezTo>
                    <a:cubicBezTo>
                      <a:pt x="8404" y="3362"/>
                      <a:pt x="6724" y="2353"/>
                      <a:pt x="5379" y="1513"/>
                    </a:cubicBezTo>
                    <a:lnTo>
                      <a:pt x="5211" y="1429"/>
                    </a:lnTo>
                    <a:cubicBezTo>
                      <a:pt x="3950" y="672"/>
                      <a:pt x="2773" y="0"/>
                      <a:pt x="588" y="0"/>
                    </a:cubicBezTo>
                    <a:lnTo>
                      <a:pt x="0" y="0"/>
                    </a:lnTo>
                    <a:lnTo>
                      <a:pt x="0" y="7060"/>
                    </a:lnTo>
                    <a:lnTo>
                      <a:pt x="588" y="7060"/>
                    </a:lnTo>
                    <a:cubicBezTo>
                      <a:pt x="2101" y="7060"/>
                      <a:pt x="2858" y="7480"/>
                      <a:pt x="3950" y="8237"/>
                    </a:cubicBezTo>
                    <a:lnTo>
                      <a:pt x="4454" y="8489"/>
                    </a:lnTo>
                    <a:cubicBezTo>
                      <a:pt x="5967" y="9329"/>
                      <a:pt x="8068" y="10590"/>
                      <a:pt x="11514" y="10590"/>
                    </a:cubicBezTo>
                    <a:cubicBezTo>
                      <a:pt x="15212" y="10590"/>
                      <a:pt x="17313" y="9413"/>
                      <a:pt x="19078" y="8237"/>
                    </a:cubicBezTo>
                    <a:lnTo>
                      <a:pt x="19246" y="8153"/>
                    </a:lnTo>
                    <a:cubicBezTo>
                      <a:pt x="20339" y="7480"/>
                      <a:pt x="21011" y="7060"/>
                      <a:pt x="22692" y="7060"/>
                    </a:cubicBezTo>
                    <a:cubicBezTo>
                      <a:pt x="24373" y="7060"/>
                      <a:pt x="25297" y="7564"/>
                      <a:pt x="26306" y="8237"/>
                    </a:cubicBezTo>
                    <a:lnTo>
                      <a:pt x="26726" y="8489"/>
                    </a:lnTo>
                    <a:cubicBezTo>
                      <a:pt x="28239" y="9329"/>
                      <a:pt x="30340" y="10590"/>
                      <a:pt x="33870" y="10590"/>
                    </a:cubicBezTo>
                    <a:cubicBezTo>
                      <a:pt x="37568" y="10590"/>
                      <a:pt x="39669" y="9413"/>
                      <a:pt x="41434" y="8237"/>
                    </a:cubicBezTo>
                    <a:lnTo>
                      <a:pt x="41602" y="8153"/>
                    </a:lnTo>
                    <a:cubicBezTo>
                      <a:pt x="42694" y="7480"/>
                      <a:pt x="43367" y="7060"/>
                      <a:pt x="45048" y="7060"/>
                    </a:cubicBezTo>
                    <a:cubicBezTo>
                      <a:pt x="46729" y="7060"/>
                      <a:pt x="47653" y="7564"/>
                      <a:pt x="48662" y="8237"/>
                    </a:cubicBezTo>
                    <a:lnTo>
                      <a:pt x="49082" y="8489"/>
                    </a:lnTo>
                    <a:cubicBezTo>
                      <a:pt x="50595" y="9329"/>
                      <a:pt x="52696" y="10590"/>
                      <a:pt x="56226" y="10590"/>
                    </a:cubicBezTo>
                    <a:cubicBezTo>
                      <a:pt x="59923" y="10590"/>
                      <a:pt x="62025" y="9413"/>
                      <a:pt x="63790" y="8237"/>
                    </a:cubicBezTo>
                    <a:cubicBezTo>
                      <a:pt x="64630" y="7648"/>
                      <a:pt x="65302" y="7228"/>
                      <a:pt x="66227" y="7144"/>
                    </a:cubicBezTo>
                    <a:lnTo>
                      <a:pt x="66731" y="7060"/>
                    </a:lnTo>
                    <a:lnTo>
                      <a:pt x="66731" y="0"/>
                    </a:lnTo>
                    <a:lnTo>
                      <a:pt x="66059" y="84"/>
                    </a:lnTo>
                    <a:cubicBezTo>
                      <a:pt x="64546" y="337"/>
                      <a:pt x="63537" y="841"/>
                      <a:pt x="62529" y="151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767" name="Freeform: Shape 532">
                <a:extLst>
                  <a:ext uri="{FF2B5EF4-FFF2-40B4-BE49-F238E27FC236}">
                    <a16:creationId xmlns:a16="http://schemas.microsoft.com/office/drawing/2014/main" id="{EF44B816-CF16-C049-A084-395B3E12F204}"/>
                  </a:ext>
                </a:extLst>
              </p:cNvPr>
              <p:cNvSpPr/>
              <p:nvPr/>
            </p:nvSpPr>
            <p:spPr>
              <a:xfrm>
                <a:off x="2294459" y="3101465"/>
                <a:ext cx="8908" cy="8908"/>
              </a:xfrm>
              <a:custGeom>
                <a:avLst/>
                <a:gdLst>
                  <a:gd name="connsiteX0" fmla="*/ 8909 w 8908"/>
                  <a:gd name="connsiteY0" fmla="*/ 4454 h 8908"/>
                  <a:gd name="connsiteX1" fmla="*/ 4454 w 8908"/>
                  <a:gd name="connsiteY1" fmla="*/ 8909 h 8908"/>
                  <a:gd name="connsiteX2" fmla="*/ 0 w 8908"/>
                  <a:gd name="connsiteY2" fmla="*/ 4454 h 8908"/>
                  <a:gd name="connsiteX3" fmla="*/ 4454 w 8908"/>
                  <a:gd name="connsiteY3" fmla="*/ 0 h 8908"/>
                  <a:gd name="connsiteX4" fmla="*/ 8909 w 8908"/>
                  <a:gd name="connsiteY4" fmla="*/ 4454 h 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8">
                    <a:moveTo>
                      <a:pt x="8909" y="4454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4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1933"/>
                      <a:pt x="8909" y="4454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768" name="Freeform: Shape 533">
                <a:extLst>
                  <a:ext uri="{FF2B5EF4-FFF2-40B4-BE49-F238E27FC236}">
                    <a16:creationId xmlns:a16="http://schemas.microsoft.com/office/drawing/2014/main" id="{9B330B85-85AB-B44B-B5F2-44A4AF708227}"/>
                  </a:ext>
                </a:extLst>
              </p:cNvPr>
              <p:cNvSpPr/>
              <p:nvPr/>
            </p:nvSpPr>
            <p:spPr>
              <a:xfrm>
                <a:off x="2287231" y="3068441"/>
                <a:ext cx="14623" cy="29573"/>
              </a:xfrm>
              <a:custGeom>
                <a:avLst/>
                <a:gdLst>
                  <a:gd name="connsiteX0" fmla="*/ 0 w 14623"/>
                  <a:gd name="connsiteY0" fmla="*/ 163 h 29573"/>
                  <a:gd name="connsiteX1" fmla="*/ 4370 w 14623"/>
                  <a:gd name="connsiteY1" fmla="*/ 22519 h 29573"/>
                  <a:gd name="connsiteX2" fmla="*/ 14624 w 14623"/>
                  <a:gd name="connsiteY2" fmla="*/ 29410 h 29573"/>
                  <a:gd name="connsiteX3" fmla="*/ 10253 w 14623"/>
                  <a:gd name="connsiteY3" fmla="*/ 7054 h 29573"/>
                  <a:gd name="connsiteX4" fmla="*/ 0 w 14623"/>
                  <a:gd name="connsiteY4" fmla="*/ 163 h 29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3">
                    <a:moveTo>
                      <a:pt x="0" y="163"/>
                    </a:moveTo>
                    <a:lnTo>
                      <a:pt x="4370" y="22519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769" name="Freeform: Shape 534">
                <a:extLst>
                  <a:ext uri="{FF2B5EF4-FFF2-40B4-BE49-F238E27FC236}">
                    <a16:creationId xmlns:a16="http://schemas.microsoft.com/office/drawing/2014/main" id="{0F02964D-C5B8-654C-B5B7-F293610AA847}"/>
                  </a:ext>
                </a:extLst>
              </p:cNvPr>
              <p:cNvSpPr/>
              <p:nvPr/>
            </p:nvSpPr>
            <p:spPr>
              <a:xfrm>
                <a:off x="2270285" y="3107348"/>
                <a:ext cx="22294" cy="27397"/>
              </a:xfrm>
              <a:custGeom>
                <a:avLst/>
                <a:gdLst>
                  <a:gd name="connsiteX0" fmla="*/ 2154 w 22294"/>
                  <a:gd name="connsiteY0" fmla="*/ 27398 h 27397"/>
                  <a:gd name="connsiteX1" fmla="*/ 19299 w 22294"/>
                  <a:gd name="connsiteY1" fmla="*/ 12354 h 27397"/>
                  <a:gd name="connsiteX2" fmla="*/ 20140 w 22294"/>
                  <a:gd name="connsiteY2" fmla="*/ 0 h 27397"/>
                  <a:gd name="connsiteX3" fmla="*/ 2995 w 22294"/>
                  <a:gd name="connsiteY3" fmla="*/ 14960 h 27397"/>
                  <a:gd name="connsiteX4" fmla="*/ 2154 w 22294"/>
                  <a:gd name="connsiteY4" fmla="*/ 27398 h 27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7">
                    <a:moveTo>
                      <a:pt x="2154" y="27398"/>
                    </a:moveTo>
                    <a:lnTo>
                      <a:pt x="19299" y="12354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7"/>
                      <a:pt x="-1039" y="23784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770" name="Freeform: Shape 535">
                <a:extLst>
                  <a:ext uri="{FF2B5EF4-FFF2-40B4-BE49-F238E27FC236}">
                    <a16:creationId xmlns:a16="http://schemas.microsoft.com/office/drawing/2014/main" id="{16FE4D84-3E19-BA4B-8610-363F1CFA8EDE}"/>
                  </a:ext>
                </a:extLst>
              </p:cNvPr>
              <p:cNvSpPr/>
              <p:nvPr/>
            </p:nvSpPr>
            <p:spPr>
              <a:xfrm>
                <a:off x="2304376" y="3106564"/>
                <a:ext cx="32693" cy="13670"/>
              </a:xfrm>
              <a:custGeom>
                <a:avLst/>
                <a:gdLst>
                  <a:gd name="connsiteX0" fmla="*/ 32693 w 32693"/>
                  <a:gd name="connsiteY0" fmla="*/ 7676 h 13670"/>
                  <a:gd name="connsiteX1" fmla="*/ 11094 w 32693"/>
                  <a:gd name="connsiteY1" fmla="*/ 448 h 13670"/>
                  <a:gd name="connsiteX2" fmla="*/ 0 w 32693"/>
                  <a:gd name="connsiteY2" fmla="*/ 5995 h 13670"/>
                  <a:gd name="connsiteX3" fmla="*/ 21599 w 32693"/>
                  <a:gd name="connsiteY3" fmla="*/ 13223 h 13670"/>
                  <a:gd name="connsiteX4" fmla="*/ 32693 w 32693"/>
                  <a:gd name="connsiteY4" fmla="*/ 7676 h 13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70">
                    <a:moveTo>
                      <a:pt x="32693" y="7676"/>
                    </a:moveTo>
                    <a:lnTo>
                      <a:pt x="11094" y="448"/>
                    </a:lnTo>
                    <a:cubicBezTo>
                      <a:pt x="6555" y="-1065"/>
                      <a:pt x="1513" y="1373"/>
                      <a:pt x="0" y="5995"/>
                    </a:cubicBezTo>
                    <a:lnTo>
                      <a:pt x="21599" y="13223"/>
                    </a:lnTo>
                    <a:cubicBezTo>
                      <a:pt x="26222" y="14735"/>
                      <a:pt x="31180" y="12298"/>
                      <a:pt x="32693" y="76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771" name="Freeform: Shape 536">
                <a:extLst>
                  <a:ext uri="{FF2B5EF4-FFF2-40B4-BE49-F238E27FC236}">
                    <a16:creationId xmlns:a16="http://schemas.microsoft.com/office/drawing/2014/main" id="{5FCC00B5-8B24-6D44-AC91-FC34448DCF05}"/>
                  </a:ext>
                </a:extLst>
              </p:cNvPr>
              <p:cNvSpPr/>
              <p:nvPr/>
            </p:nvSpPr>
            <p:spPr>
              <a:xfrm>
                <a:off x="2293114" y="3114975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3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3"/>
                      <a:pt x="420" y="21872"/>
                      <a:pt x="0" y="33555"/>
                    </a:cubicBezTo>
                    <a:cubicBezTo>
                      <a:pt x="1765" y="34984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</p:grpSp>
        <p:sp>
          <p:nvSpPr>
            <p:cNvPr id="765" name="TextBox 764">
              <a:extLst>
                <a:ext uri="{FF2B5EF4-FFF2-40B4-BE49-F238E27FC236}">
                  <a16:creationId xmlns:a16="http://schemas.microsoft.com/office/drawing/2014/main" id="{579E3753-F79F-7143-A0E9-DB5C27330533}"/>
                </a:ext>
              </a:extLst>
            </p:cNvPr>
            <p:cNvSpPr txBox="1"/>
            <p:nvPr/>
          </p:nvSpPr>
          <p:spPr>
            <a:xfrm>
              <a:off x="3955493" y="3467126"/>
              <a:ext cx="440225" cy="10409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2400"/>
                </a:spcBef>
              </a:pPr>
              <a:r>
                <a:rPr lang="en-US" sz="867">
                  <a:solidFill>
                    <a:schemeClr val="accent3"/>
                  </a:solidFill>
                </a:rPr>
                <a:t>Hornsea 4</a:t>
              </a:r>
            </a:p>
          </p:txBody>
        </p:sp>
      </p:grpSp>
      <p:grpSp>
        <p:nvGrpSpPr>
          <p:cNvPr id="772" name="Group 771">
            <a:extLst>
              <a:ext uri="{FF2B5EF4-FFF2-40B4-BE49-F238E27FC236}">
                <a16:creationId xmlns:a16="http://schemas.microsoft.com/office/drawing/2014/main" id="{12BC37C0-05FD-4B4A-98B8-0C3F73A10156}"/>
              </a:ext>
            </a:extLst>
          </p:cNvPr>
          <p:cNvGrpSpPr>
            <a:grpSpLocks/>
          </p:cNvGrpSpPr>
          <p:nvPr/>
        </p:nvGrpSpPr>
        <p:grpSpPr>
          <a:xfrm>
            <a:off x="8792961" y="4349549"/>
            <a:ext cx="557428" cy="189840"/>
            <a:chOff x="2199788" y="3084446"/>
            <a:chExt cx="452910" cy="154245"/>
          </a:xfrm>
        </p:grpSpPr>
        <p:grpSp>
          <p:nvGrpSpPr>
            <p:cNvPr id="773" name="Group 772">
              <a:extLst>
                <a:ext uri="{FF2B5EF4-FFF2-40B4-BE49-F238E27FC236}">
                  <a16:creationId xmlns:a16="http://schemas.microsoft.com/office/drawing/2014/main" id="{41ED61DB-0F8A-F94E-A7EE-4C488E23A13C}"/>
                </a:ext>
              </a:extLst>
            </p:cNvPr>
            <p:cNvGrpSpPr/>
            <p:nvPr/>
          </p:nvGrpSpPr>
          <p:grpSpPr>
            <a:xfrm>
              <a:off x="2199788" y="3084446"/>
              <a:ext cx="106316" cy="141664"/>
              <a:chOff x="2265548" y="3068441"/>
              <a:chExt cx="71521" cy="95300"/>
            </a:xfrm>
            <a:solidFill>
              <a:schemeClr val="accent1"/>
            </a:solidFill>
          </p:grpSpPr>
          <p:sp>
            <p:nvSpPr>
              <p:cNvPr id="775" name="Freeform: Shape 540">
                <a:extLst>
                  <a:ext uri="{FF2B5EF4-FFF2-40B4-BE49-F238E27FC236}">
                    <a16:creationId xmlns:a16="http://schemas.microsoft.com/office/drawing/2014/main" id="{BE91EBAD-07A7-CC40-A98E-065E2475EA6F}"/>
                  </a:ext>
                </a:extLst>
              </p:cNvPr>
              <p:cNvSpPr/>
              <p:nvPr/>
            </p:nvSpPr>
            <p:spPr>
              <a:xfrm>
                <a:off x="2265548" y="3153152"/>
                <a:ext cx="66731" cy="10589"/>
              </a:xfrm>
              <a:custGeom>
                <a:avLst/>
                <a:gdLst>
                  <a:gd name="connsiteX0" fmla="*/ 62529 w 66731"/>
                  <a:gd name="connsiteY0" fmla="*/ 1513 h 10589"/>
                  <a:gd name="connsiteX1" fmla="*/ 61604 w 66731"/>
                  <a:gd name="connsiteY1" fmla="*/ 1933 h 10589"/>
                  <a:gd name="connsiteX2" fmla="*/ 55721 w 66731"/>
                  <a:gd name="connsiteY2" fmla="*/ 3530 h 10589"/>
                  <a:gd name="connsiteX3" fmla="*/ 49586 w 66731"/>
                  <a:gd name="connsiteY3" fmla="*/ 1681 h 10589"/>
                  <a:gd name="connsiteX4" fmla="*/ 49418 w 66731"/>
                  <a:gd name="connsiteY4" fmla="*/ 1597 h 10589"/>
                  <a:gd name="connsiteX5" fmla="*/ 44712 w 66731"/>
                  <a:gd name="connsiteY5" fmla="*/ 168 h 10589"/>
                  <a:gd name="connsiteX6" fmla="*/ 40005 w 66731"/>
                  <a:gd name="connsiteY6" fmla="*/ 1597 h 10589"/>
                  <a:gd name="connsiteX7" fmla="*/ 39837 w 66731"/>
                  <a:gd name="connsiteY7" fmla="*/ 1681 h 10589"/>
                  <a:gd name="connsiteX8" fmla="*/ 33702 w 66731"/>
                  <a:gd name="connsiteY8" fmla="*/ 3530 h 10589"/>
                  <a:gd name="connsiteX9" fmla="*/ 27567 w 66731"/>
                  <a:gd name="connsiteY9" fmla="*/ 1681 h 10589"/>
                  <a:gd name="connsiteX10" fmla="*/ 27398 w 66731"/>
                  <a:gd name="connsiteY10" fmla="*/ 1597 h 10589"/>
                  <a:gd name="connsiteX11" fmla="*/ 22692 w 66731"/>
                  <a:gd name="connsiteY11" fmla="*/ 168 h 10589"/>
                  <a:gd name="connsiteX12" fmla="*/ 17649 w 66731"/>
                  <a:gd name="connsiteY12" fmla="*/ 1513 h 10589"/>
                  <a:gd name="connsiteX13" fmla="*/ 11514 w 66731"/>
                  <a:gd name="connsiteY13" fmla="*/ 3362 h 10589"/>
                  <a:gd name="connsiteX14" fmla="*/ 5379 w 66731"/>
                  <a:gd name="connsiteY14" fmla="*/ 1513 h 10589"/>
                  <a:gd name="connsiteX15" fmla="*/ 5211 w 66731"/>
                  <a:gd name="connsiteY15" fmla="*/ 1429 h 10589"/>
                  <a:gd name="connsiteX16" fmla="*/ 588 w 66731"/>
                  <a:gd name="connsiteY16" fmla="*/ 0 h 10589"/>
                  <a:gd name="connsiteX17" fmla="*/ 0 w 66731"/>
                  <a:gd name="connsiteY17" fmla="*/ 0 h 10589"/>
                  <a:gd name="connsiteX18" fmla="*/ 0 w 66731"/>
                  <a:gd name="connsiteY18" fmla="*/ 7060 h 10589"/>
                  <a:gd name="connsiteX19" fmla="*/ 588 w 66731"/>
                  <a:gd name="connsiteY19" fmla="*/ 7060 h 10589"/>
                  <a:gd name="connsiteX20" fmla="*/ 3950 w 66731"/>
                  <a:gd name="connsiteY20" fmla="*/ 8237 h 10589"/>
                  <a:gd name="connsiteX21" fmla="*/ 4454 w 66731"/>
                  <a:gd name="connsiteY21" fmla="*/ 8489 h 10589"/>
                  <a:gd name="connsiteX22" fmla="*/ 11514 w 66731"/>
                  <a:gd name="connsiteY22" fmla="*/ 10590 h 10589"/>
                  <a:gd name="connsiteX23" fmla="*/ 19078 w 66731"/>
                  <a:gd name="connsiteY23" fmla="*/ 8237 h 10589"/>
                  <a:gd name="connsiteX24" fmla="*/ 19246 w 66731"/>
                  <a:gd name="connsiteY24" fmla="*/ 8153 h 10589"/>
                  <a:gd name="connsiteX25" fmla="*/ 22692 w 66731"/>
                  <a:gd name="connsiteY25" fmla="*/ 7060 h 10589"/>
                  <a:gd name="connsiteX26" fmla="*/ 26306 w 66731"/>
                  <a:gd name="connsiteY26" fmla="*/ 8237 h 10589"/>
                  <a:gd name="connsiteX27" fmla="*/ 26726 w 66731"/>
                  <a:gd name="connsiteY27" fmla="*/ 8489 h 10589"/>
                  <a:gd name="connsiteX28" fmla="*/ 33870 w 66731"/>
                  <a:gd name="connsiteY28" fmla="*/ 10590 h 10589"/>
                  <a:gd name="connsiteX29" fmla="*/ 41434 w 66731"/>
                  <a:gd name="connsiteY29" fmla="*/ 8237 h 10589"/>
                  <a:gd name="connsiteX30" fmla="*/ 41602 w 66731"/>
                  <a:gd name="connsiteY30" fmla="*/ 8153 h 10589"/>
                  <a:gd name="connsiteX31" fmla="*/ 45048 w 66731"/>
                  <a:gd name="connsiteY31" fmla="*/ 7060 h 10589"/>
                  <a:gd name="connsiteX32" fmla="*/ 48662 w 66731"/>
                  <a:gd name="connsiteY32" fmla="*/ 8237 h 10589"/>
                  <a:gd name="connsiteX33" fmla="*/ 49082 w 66731"/>
                  <a:gd name="connsiteY33" fmla="*/ 8489 h 10589"/>
                  <a:gd name="connsiteX34" fmla="*/ 56226 w 66731"/>
                  <a:gd name="connsiteY34" fmla="*/ 10590 h 10589"/>
                  <a:gd name="connsiteX35" fmla="*/ 63790 w 66731"/>
                  <a:gd name="connsiteY35" fmla="*/ 8237 h 10589"/>
                  <a:gd name="connsiteX36" fmla="*/ 66227 w 66731"/>
                  <a:gd name="connsiteY36" fmla="*/ 7144 h 10589"/>
                  <a:gd name="connsiteX37" fmla="*/ 66731 w 66731"/>
                  <a:gd name="connsiteY37" fmla="*/ 7060 h 10589"/>
                  <a:gd name="connsiteX38" fmla="*/ 66731 w 66731"/>
                  <a:gd name="connsiteY38" fmla="*/ 0 h 10589"/>
                  <a:gd name="connsiteX39" fmla="*/ 66059 w 66731"/>
                  <a:gd name="connsiteY39" fmla="*/ 84 h 10589"/>
                  <a:gd name="connsiteX40" fmla="*/ 62529 w 66731"/>
                  <a:gd name="connsiteY40" fmla="*/ 1513 h 10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66731" h="10589">
                    <a:moveTo>
                      <a:pt x="62529" y="1513"/>
                    </a:moveTo>
                    <a:cubicBezTo>
                      <a:pt x="62193" y="1681"/>
                      <a:pt x="61856" y="1849"/>
                      <a:pt x="61604" y="1933"/>
                    </a:cubicBezTo>
                    <a:cubicBezTo>
                      <a:pt x="60008" y="2689"/>
                      <a:pt x="58327" y="3530"/>
                      <a:pt x="55721" y="3530"/>
                    </a:cubicBezTo>
                    <a:cubicBezTo>
                      <a:pt x="52528" y="3530"/>
                      <a:pt x="51015" y="2522"/>
                      <a:pt x="49586" y="1681"/>
                    </a:cubicBezTo>
                    <a:lnTo>
                      <a:pt x="49418" y="1597"/>
                    </a:lnTo>
                    <a:cubicBezTo>
                      <a:pt x="48157" y="841"/>
                      <a:pt x="46981" y="168"/>
                      <a:pt x="44712" y="168"/>
                    </a:cubicBezTo>
                    <a:cubicBezTo>
                      <a:pt x="42442" y="168"/>
                      <a:pt x="41182" y="841"/>
                      <a:pt x="40005" y="1597"/>
                    </a:cubicBezTo>
                    <a:lnTo>
                      <a:pt x="39837" y="1681"/>
                    </a:lnTo>
                    <a:cubicBezTo>
                      <a:pt x="38492" y="2522"/>
                      <a:pt x="36895" y="3530"/>
                      <a:pt x="33702" y="3530"/>
                    </a:cubicBezTo>
                    <a:cubicBezTo>
                      <a:pt x="30508" y="3530"/>
                      <a:pt x="28911" y="2522"/>
                      <a:pt x="27567" y="1681"/>
                    </a:cubicBezTo>
                    <a:lnTo>
                      <a:pt x="27398" y="1597"/>
                    </a:lnTo>
                    <a:cubicBezTo>
                      <a:pt x="26138" y="841"/>
                      <a:pt x="24961" y="168"/>
                      <a:pt x="22692" y="168"/>
                    </a:cubicBezTo>
                    <a:cubicBezTo>
                      <a:pt x="20255" y="168"/>
                      <a:pt x="19078" y="757"/>
                      <a:pt x="17649" y="1513"/>
                    </a:cubicBezTo>
                    <a:cubicBezTo>
                      <a:pt x="16305" y="2353"/>
                      <a:pt x="14708" y="3362"/>
                      <a:pt x="11514" y="3362"/>
                    </a:cubicBezTo>
                    <a:cubicBezTo>
                      <a:pt x="8404" y="3362"/>
                      <a:pt x="6724" y="2353"/>
                      <a:pt x="5379" y="1513"/>
                    </a:cubicBezTo>
                    <a:lnTo>
                      <a:pt x="5211" y="1429"/>
                    </a:lnTo>
                    <a:cubicBezTo>
                      <a:pt x="3950" y="672"/>
                      <a:pt x="2773" y="0"/>
                      <a:pt x="588" y="0"/>
                    </a:cubicBezTo>
                    <a:lnTo>
                      <a:pt x="0" y="0"/>
                    </a:lnTo>
                    <a:lnTo>
                      <a:pt x="0" y="7060"/>
                    </a:lnTo>
                    <a:lnTo>
                      <a:pt x="588" y="7060"/>
                    </a:lnTo>
                    <a:cubicBezTo>
                      <a:pt x="2101" y="7060"/>
                      <a:pt x="2858" y="7480"/>
                      <a:pt x="3950" y="8237"/>
                    </a:cubicBezTo>
                    <a:lnTo>
                      <a:pt x="4454" y="8489"/>
                    </a:lnTo>
                    <a:cubicBezTo>
                      <a:pt x="5967" y="9329"/>
                      <a:pt x="8068" y="10590"/>
                      <a:pt x="11514" y="10590"/>
                    </a:cubicBezTo>
                    <a:cubicBezTo>
                      <a:pt x="15212" y="10590"/>
                      <a:pt x="17313" y="9413"/>
                      <a:pt x="19078" y="8237"/>
                    </a:cubicBezTo>
                    <a:lnTo>
                      <a:pt x="19246" y="8153"/>
                    </a:lnTo>
                    <a:cubicBezTo>
                      <a:pt x="20339" y="7480"/>
                      <a:pt x="21011" y="7060"/>
                      <a:pt x="22692" y="7060"/>
                    </a:cubicBezTo>
                    <a:cubicBezTo>
                      <a:pt x="24373" y="7060"/>
                      <a:pt x="25297" y="7564"/>
                      <a:pt x="26306" y="8237"/>
                    </a:cubicBezTo>
                    <a:lnTo>
                      <a:pt x="26726" y="8489"/>
                    </a:lnTo>
                    <a:cubicBezTo>
                      <a:pt x="28239" y="9329"/>
                      <a:pt x="30340" y="10590"/>
                      <a:pt x="33870" y="10590"/>
                    </a:cubicBezTo>
                    <a:cubicBezTo>
                      <a:pt x="37568" y="10590"/>
                      <a:pt x="39669" y="9413"/>
                      <a:pt x="41434" y="8237"/>
                    </a:cubicBezTo>
                    <a:lnTo>
                      <a:pt x="41602" y="8153"/>
                    </a:lnTo>
                    <a:cubicBezTo>
                      <a:pt x="42694" y="7480"/>
                      <a:pt x="43367" y="7060"/>
                      <a:pt x="45048" y="7060"/>
                    </a:cubicBezTo>
                    <a:cubicBezTo>
                      <a:pt x="46729" y="7060"/>
                      <a:pt x="47653" y="7564"/>
                      <a:pt x="48662" y="8237"/>
                    </a:cubicBezTo>
                    <a:lnTo>
                      <a:pt x="49082" y="8489"/>
                    </a:lnTo>
                    <a:cubicBezTo>
                      <a:pt x="50595" y="9329"/>
                      <a:pt x="52696" y="10590"/>
                      <a:pt x="56226" y="10590"/>
                    </a:cubicBezTo>
                    <a:cubicBezTo>
                      <a:pt x="59923" y="10590"/>
                      <a:pt x="62025" y="9413"/>
                      <a:pt x="63790" y="8237"/>
                    </a:cubicBezTo>
                    <a:cubicBezTo>
                      <a:pt x="64630" y="7648"/>
                      <a:pt x="65302" y="7228"/>
                      <a:pt x="66227" y="7144"/>
                    </a:cubicBezTo>
                    <a:lnTo>
                      <a:pt x="66731" y="7060"/>
                    </a:lnTo>
                    <a:lnTo>
                      <a:pt x="66731" y="0"/>
                    </a:lnTo>
                    <a:lnTo>
                      <a:pt x="66059" y="84"/>
                    </a:lnTo>
                    <a:cubicBezTo>
                      <a:pt x="64546" y="337"/>
                      <a:pt x="63537" y="841"/>
                      <a:pt x="62529" y="151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776" name="Freeform: Shape 541">
                <a:extLst>
                  <a:ext uri="{FF2B5EF4-FFF2-40B4-BE49-F238E27FC236}">
                    <a16:creationId xmlns:a16="http://schemas.microsoft.com/office/drawing/2014/main" id="{193434CF-8D6A-954F-BA8B-69FA7BD3FEC9}"/>
                  </a:ext>
                </a:extLst>
              </p:cNvPr>
              <p:cNvSpPr/>
              <p:nvPr/>
            </p:nvSpPr>
            <p:spPr>
              <a:xfrm>
                <a:off x="2294459" y="3101465"/>
                <a:ext cx="8908" cy="8908"/>
              </a:xfrm>
              <a:custGeom>
                <a:avLst/>
                <a:gdLst>
                  <a:gd name="connsiteX0" fmla="*/ 8909 w 8908"/>
                  <a:gd name="connsiteY0" fmla="*/ 4454 h 8908"/>
                  <a:gd name="connsiteX1" fmla="*/ 4454 w 8908"/>
                  <a:gd name="connsiteY1" fmla="*/ 8909 h 8908"/>
                  <a:gd name="connsiteX2" fmla="*/ 0 w 8908"/>
                  <a:gd name="connsiteY2" fmla="*/ 4454 h 8908"/>
                  <a:gd name="connsiteX3" fmla="*/ 4454 w 8908"/>
                  <a:gd name="connsiteY3" fmla="*/ 0 h 8908"/>
                  <a:gd name="connsiteX4" fmla="*/ 8909 w 8908"/>
                  <a:gd name="connsiteY4" fmla="*/ 4454 h 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8">
                    <a:moveTo>
                      <a:pt x="8909" y="4454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4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1933"/>
                      <a:pt x="8909" y="4454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777" name="Freeform: Shape 542">
                <a:extLst>
                  <a:ext uri="{FF2B5EF4-FFF2-40B4-BE49-F238E27FC236}">
                    <a16:creationId xmlns:a16="http://schemas.microsoft.com/office/drawing/2014/main" id="{90469879-B4B9-694D-86BE-C34533D5566D}"/>
                  </a:ext>
                </a:extLst>
              </p:cNvPr>
              <p:cNvSpPr/>
              <p:nvPr/>
            </p:nvSpPr>
            <p:spPr>
              <a:xfrm>
                <a:off x="2287231" y="3068441"/>
                <a:ext cx="14623" cy="29573"/>
              </a:xfrm>
              <a:custGeom>
                <a:avLst/>
                <a:gdLst>
                  <a:gd name="connsiteX0" fmla="*/ 0 w 14623"/>
                  <a:gd name="connsiteY0" fmla="*/ 163 h 29573"/>
                  <a:gd name="connsiteX1" fmla="*/ 4370 w 14623"/>
                  <a:gd name="connsiteY1" fmla="*/ 22519 h 29573"/>
                  <a:gd name="connsiteX2" fmla="*/ 14624 w 14623"/>
                  <a:gd name="connsiteY2" fmla="*/ 29410 h 29573"/>
                  <a:gd name="connsiteX3" fmla="*/ 10253 w 14623"/>
                  <a:gd name="connsiteY3" fmla="*/ 7054 h 29573"/>
                  <a:gd name="connsiteX4" fmla="*/ 0 w 14623"/>
                  <a:gd name="connsiteY4" fmla="*/ 163 h 29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3">
                    <a:moveTo>
                      <a:pt x="0" y="163"/>
                    </a:moveTo>
                    <a:lnTo>
                      <a:pt x="4370" y="22519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778" name="Freeform: Shape 543">
                <a:extLst>
                  <a:ext uri="{FF2B5EF4-FFF2-40B4-BE49-F238E27FC236}">
                    <a16:creationId xmlns:a16="http://schemas.microsoft.com/office/drawing/2014/main" id="{57C56DC2-6CAD-724D-A640-F5912DEEB8F7}"/>
                  </a:ext>
                </a:extLst>
              </p:cNvPr>
              <p:cNvSpPr/>
              <p:nvPr/>
            </p:nvSpPr>
            <p:spPr>
              <a:xfrm>
                <a:off x="2270285" y="3107348"/>
                <a:ext cx="22294" cy="27397"/>
              </a:xfrm>
              <a:custGeom>
                <a:avLst/>
                <a:gdLst>
                  <a:gd name="connsiteX0" fmla="*/ 2154 w 22294"/>
                  <a:gd name="connsiteY0" fmla="*/ 27398 h 27397"/>
                  <a:gd name="connsiteX1" fmla="*/ 19299 w 22294"/>
                  <a:gd name="connsiteY1" fmla="*/ 12354 h 27397"/>
                  <a:gd name="connsiteX2" fmla="*/ 20140 w 22294"/>
                  <a:gd name="connsiteY2" fmla="*/ 0 h 27397"/>
                  <a:gd name="connsiteX3" fmla="*/ 2995 w 22294"/>
                  <a:gd name="connsiteY3" fmla="*/ 14960 h 27397"/>
                  <a:gd name="connsiteX4" fmla="*/ 2154 w 22294"/>
                  <a:gd name="connsiteY4" fmla="*/ 27398 h 27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7">
                    <a:moveTo>
                      <a:pt x="2154" y="27398"/>
                    </a:moveTo>
                    <a:lnTo>
                      <a:pt x="19299" y="12354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7"/>
                      <a:pt x="-1039" y="23784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779" name="Freeform: Shape 544">
                <a:extLst>
                  <a:ext uri="{FF2B5EF4-FFF2-40B4-BE49-F238E27FC236}">
                    <a16:creationId xmlns:a16="http://schemas.microsoft.com/office/drawing/2014/main" id="{610A3186-2EA9-EC4E-AB43-A4244D361A5A}"/>
                  </a:ext>
                </a:extLst>
              </p:cNvPr>
              <p:cNvSpPr/>
              <p:nvPr/>
            </p:nvSpPr>
            <p:spPr>
              <a:xfrm>
                <a:off x="2304376" y="3106564"/>
                <a:ext cx="32693" cy="13670"/>
              </a:xfrm>
              <a:custGeom>
                <a:avLst/>
                <a:gdLst>
                  <a:gd name="connsiteX0" fmla="*/ 32693 w 32693"/>
                  <a:gd name="connsiteY0" fmla="*/ 7676 h 13670"/>
                  <a:gd name="connsiteX1" fmla="*/ 11094 w 32693"/>
                  <a:gd name="connsiteY1" fmla="*/ 448 h 13670"/>
                  <a:gd name="connsiteX2" fmla="*/ 0 w 32693"/>
                  <a:gd name="connsiteY2" fmla="*/ 5995 h 13670"/>
                  <a:gd name="connsiteX3" fmla="*/ 21599 w 32693"/>
                  <a:gd name="connsiteY3" fmla="*/ 13223 h 13670"/>
                  <a:gd name="connsiteX4" fmla="*/ 32693 w 32693"/>
                  <a:gd name="connsiteY4" fmla="*/ 7676 h 13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70">
                    <a:moveTo>
                      <a:pt x="32693" y="7676"/>
                    </a:moveTo>
                    <a:lnTo>
                      <a:pt x="11094" y="448"/>
                    </a:lnTo>
                    <a:cubicBezTo>
                      <a:pt x="6555" y="-1065"/>
                      <a:pt x="1513" y="1373"/>
                      <a:pt x="0" y="5995"/>
                    </a:cubicBezTo>
                    <a:lnTo>
                      <a:pt x="21599" y="13223"/>
                    </a:lnTo>
                    <a:cubicBezTo>
                      <a:pt x="26222" y="14735"/>
                      <a:pt x="31180" y="12298"/>
                      <a:pt x="32693" y="76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780" name="Freeform: Shape 545">
                <a:extLst>
                  <a:ext uri="{FF2B5EF4-FFF2-40B4-BE49-F238E27FC236}">
                    <a16:creationId xmlns:a16="http://schemas.microsoft.com/office/drawing/2014/main" id="{25130A41-3F05-7140-9C9B-0F33048267CC}"/>
                  </a:ext>
                </a:extLst>
              </p:cNvPr>
              <p:cNvSpPr/>
              <p:nvPr/>
            </p:nvSpPr>
            <p:spPr>
              <a:xfrm>
                <a:off x="2293114" y="3114975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3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3"/>
                      <a:pt x="420" y="21872"/>
                      <a:pt x="0" y="33555"/>
                    </a:cubicBezTo>
                    <a:cubicBezTo>
                      <a:pt x="1765" y="34984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</p:grpSp>
        <p:sp>
          <p:nvSpPr>
            <p:cNvPr id="774" name="TextBox 773">
              <a:extLst>
                <a:ext uri="{FF2B5EF4-FFF2-40B4-BE49-F238E27FC236}">
                  <a16:creationId xmlns:a16="http://schemas.microsoft.com/office/drawing/2014/main" id="{1F96A9C0-1739-E849-A394-92E21C9A6747}"/>
                </a:ext>
              </a:extLst>
            </p:cNvPr>
            <p:cNvSpPr txBox="1"/>
            <p:nvPr/>
          </p:nvSpPr>
          <p:spPr>
            <a:xfrm>
              <a:off x="2441703" y="3134600"/>
              <a:ext cx="210995" cy="10409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2400"/>
                </a:spcBef>
              </a:pPr>
              <a:r>
                <a:rPr lang="en-US" sz="867">
                  <a:solidFill>
                    <a:schemeClr val="accent1"/>
                  </a:solidFill>
                </a:rPr>
                <a:t>Lincs</a:t>
              </a:r>
              <a:endParaRPr lang="en-US" sz="867">
                <a:solidFill>
                  <a:schemeClr val="accent2"/>
                </a:solidFill>
              </a:endParaRPr>
            </a:p>
          </p:txBody>
        </p:sp>
      </p:grpSp>
      <p:grpSp>
        <p:nvGrpSpPr>
          <p:cNvPr id="781" name="Group 780">
            <a:extLst>
              <a:ext uri="{FF2B5EF4-FFF2-40B4-BE49-F238E27FC236}">
                <a16:creationId xmlns:a16="http://schemas.microsoft.com/office/drawing/2014/main" id="{BCAB132E-7D67-624B-8F25-405D7904F1F1}"/>
              </a:ext>
            </a:extLst>
          </p:cNvPr>
          <p:cNvGrpSpPr>
            <a:grpSpLocks/>
          </p:cNvGrpSpPr>
          <p:nvPr/>
        </p:nvGrpSpPr>
        <p:grpSpPr>
          <a:xfrm>
            <a:off x="8894139" y="4480843"/>
            <a:ext cx="767969" cy="189840"/>
            <a:chOff x="2199788" y="3084446"/>
            <a:chExt cx="623975" cy="154245"/>
          </a:xfrm>
        </p:grpSpPr>
        <p:grpSp>
          <p:nvGrpSpPr>
            <p:cNvPr id="782" name="Group 781">
              <a:extLst>
                <a:ext uri="{FF2B5EF4-FFF2-40B4-BE49-F238E27FC236}">
                  <a16:creationId xmlns:a16="http://schemas.microsoft.com/office/drawing/2014/main" id="{D199767F-1905-4D41-ABEC-238C7DDD0DE8}"/>
                </a:ext>
              </a:extLst>
            </p:cNvPr>
            <p:cNvGrpSpPr/>
            <p:nvPr/>
          </p:nvGrpSpPr>
          <p:grpSpPr>
            <a:xfrm>
              <a:off x="2199788" y="3084446"/>
              <a:ext cx="106316" cy="141664"/>
              <a:chOff x="2265548" y="3068441"/>
              <a:chExt cx="71521" cy="95300"/>
            </a:xfrm>
            <a:solidFill>
              <a:schemeClr val="accent1"/>
            </a:solidFill>
          </p:grpSpPr>
          <p:sp>
            <p:nvSpPr>
              <p:cNvPr id="784" name="Freeform: Shape 549">
                <a:extLst>
                  <a:ext uri="{FF2B5EF4-FFF2-40B4-BE49-F238E27FC236}">
                    <a16:creationId xmlns:a16="http://schemas.microsoft.com/office/drawing/2014/main" id="{0E4EF131-1FEE-2344-A42E-DE4DC4D85591}"/>
                  </a:ext>
                </a:extLst>
              </p:cNvPr>
              <p:cNvSpPr/>
              <p:nvPr/>
            </p:nvSpPr>
            <p:spPr>
              <a:xfrm>
                <a:off x="2265548" y="3153152"/>
                <a:ext cx="66731" cy="10589"/>
              </a:xfrm>
              <a:custGeom>
                <a:avLst/>
                <a:gdLst>
                  <a:gd name="connsiteX0" fmla="*/ 62529 w 66731"/>
                  <a:gd name="connsiteY0" fmla="*/ 1513 h 10589"/>
                  <a:gd name="connsiteX1" fmla="*/ 61604 w 66731"/>
                  <a:gd name="connsiteY1" fmla="*/ 1933 h 10589"/>
                  <a:gd name="connsiteX2" fmla="*/ 55721 w 66731"/>
                  <a:gd name="connsiteY2" fmla="*/ 3530 h 10589"/>
                  <a:gd name="connsiteX3" fmla="*/ 49586 w 66731"/>
                  <a:gd name="connsiteY3" fmla="*/ 1681 h 10589"/>
                  <a:gd name="connsiteX4" fmla="*/ 49418 w 66731"/>
                  <a:gd name="connsiteY4" fmla="*/ 1597 h 10589"/>
                  <a:gd name="connsiteX5" fmla="*/ 44712 w 66731"/>
                  <a:gd name="connsiteY5" fmla="*/ 168 h 10589"/>
                  <a:gd name="connsiteX6" fmla="*/ 40005 w 66731"/>
                  <a:gd name="connsiteY6" fmla="*/ 1597 h 10589"/>
                  <a:gd name="connsiteX7" fmla="*/ 39837 w 66731"/>
                  <a:gd name="connsiteY7" fmla="*/ 1681 h 10589"/>
                  <a:gd name="connsiteX8" fmla="*/ 33702 w 66731"/>
                  <a:gd name="connsiteY8" fmla="*/ 3530 h 10589"/>
                  <a:gd name="connsiteX9" fmla="*/ 27567 w 66731"/>
                  <a:gd name="connsiteY9" fmla="*/ 1681 h 10589"/>
                  <a:gd name="connsiteX10" fmla="*/ 27398 w 66731"/>
                  <a:gd name="connsiteY10" fmla="*/ 1597 h 10589"/>
                  <a:gd name="connsiteX11" fmla="*/ 22692 w 66731"/>
                  <a:gd name="connsiteY11" fmla="*/ 168 h 10589"/>
                  <a:gd name="connsiteX12" fmla="*/ 17649 w 66731"/>
                  <a:gd name="connsiteY12" fmla="*/ 1513 h 10589"/>
                  <a:gd name="connsiteX13" fmla="*/ 11514 w 66731"/>
                  <a:gd name="connsiteY13" fmla="*/ 3362 h 10589"/>
                  <a:gd name="connsiteX14" fmla="*/ 5379 w 66731"/>
                  <a:gd name="connsiteY14" fmla="*/ 1513 h 10589"/>
                  <a:gd name="connsiteX15" fmla="*/ 5211 w 66731"/>
                  <a:gd name="connsiteY15" fmla="*/ 1429 h 10589"/>
                  <a:gd name="connsiteX16" fmla="*/ 588 w 66731"/>
                  <a:gd name="connsiteY16" fmla="*/ 0 h 10589"/>
                  <a:gd name="connsiteX17" fmla="*/ 0 w 66731"/>
                  <a:gd name="connsiteY17" fmla="*/ 0 h 10589"/>
                  <a:gd name="connsiteX18" fmla="*/ 0 w 66731"/>
                  <a:gd name="connsiteY18" fmla="*/ 7060 h 10589"/>
                  <a:gd name="connsiteX19" fmla="*/ 588 w 66731"/>
                  <a:gd name="connsiteY19" fmla="*/ 7060 h 10589"/>
                  <a:gd name="connsiteX20" fmla="*/ 3950 w 66731"/>
                  <a:gd name="connsiteY20" fmla="*/ 8237 h 10589"/>
                  <a:gd name="connsiteX21" fmla="*/ 4454 w 66731"/>
                  <a:gd name="connsiteY21" fmla="*/ 8489 h 10589"/>
                  <a:gd name="connsiteX22" fmla="*/ 11514 w 66731"/>
                  <a:gd name="connsiteY22" fmla="*/ 10590 h 10589"/>
                  <a:gd name="connsiteX23" fmla="*/ 19078 w 66731"/>
                  <a:gd name="connsiteY23" fmla="*/ 8237 h 10589"/>
                  <a:gd name="connsiteX24" fmla="*/ 19246 w 66731"/>
                  <a:gd name="connsiteY24" fmla="*/ 8153 h 10589"/>
                  <a:gd name="connsiteX25" fmla="*/ 22692 w 66731"/>
                  <a:gd name="connsiteY25" fmla="*/ 7060 h 10589"/>
                  <a:gd name="connsiteX26" fmla="*/ 26306 w 66731"/>
                  <a:gd name="connsiteY26" fmla="*/ 8237 h 10589"/>
                  <a:gd name="connsiteX27" fmla="*/ 26726 w 66731"/>
                  <a:gd name="connsiteY27" fmla="*/ 8489 h 10589"/>
                  <a:gd name="connsiteX28" fmla="*/ 33870 w 66731"/>
                  <a:gd name="connsiteY28" fmla="*/ 10590 h 10589"/>
                  <a:gd name="connsiteX29" fmla="*/ 41434 w 66731"/>
                  <a:gd name="connsiteY29" fmla="*/ 8237 h 10589"/>
                  <a:gd name="connsiteX30" fmla="*/ 41602 w 66731"/>
                  <a:gd name="connsiteY30" fmla="*/ 8153 h 10589"/>
                  <a:gd name="connsiteX31" fmla="*/ 45048 w 66731"/>
                  <a:gd name="connsiteY31" fmla="*/ 7060 h 10589"/>
                  <a:gd name="connsiteX32" fmla="*/ 48662 w 66731"/>
                  <a:gd name="connsiteY32" fmla="*/ 8237 h 10589"/>
                  <a:gd name="connsiteX33" fmla="*/ 49082 w 66731"/>
                  <a:gd name="connsiteY33" fmla="*/ 8489 h 10589"/>
                  <a:gd name="connsiteX34" fmla="*/ 56226 w 66731"/>
                  <a:gd name="connsiteY34" fmla="*/ 10590 h 10589"/>
                  <a:gd name="connsiteX35" fmla="*/ 63790 w 66731"/>
                  <a:gd name="connsiteY35" fmla="*/ 8237 h 10589"/>
                  <a:gd name="connsiteX36" fmla="*/ 66227 w 66731"/>
                  <a:gd name="connsiteY36" fmla="*/ 7144 h 10589"/>
                  <a:gd name="connsiteX37" fmla="*/ 66731 w 66731"/>
                  <a:gd name="connsiteY37" fmla="*/ 7060 h 10589"/>
                  <a:gd name="connsiteX38" fmla="*/ 66731 w 66731"/>
                  <a:gd name="connsiteY38" fmla="*/ 0 h 10589"/>
                  <a:gd name="connsiteX39" fmla="*/ 66059 w 66731"/>
                  <a:gd name="connsiteY39" fmla="*/ 84 h 10589"/>
                  <a:gd name="connsiteX40" fmla="*/ 62529 w 66731"/>
                  <a:gd name="connsiteY40" fmla="*/ 1513 h 10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66731" h="10589">
                    <a:moveTo>
                      <a:pt x="62529" y="1513"/>
                    </a:moveTo>
                    <a:cubicBezTo>
                      <a:pt x="62193" y="1681"/>
                      <a:pt x="61856" y="1849"/>
                      <a:pt x="61604" y="1933"/>
                    </a:cubicBezTo>
                    <a:cubicBezTo>
                      <a:pt x="60008" y="2689"/>
                      <a:pt x="58327" y="3530"/>
                      <a:pt x="55721" y="3530"/>
                    </a:cubicBezTo>
                    <a:cubicBezTo>
                      <a:pt x="52528" y="3530"/>
                      <a:pt x="51015" y="2522"/>
                      <a:pt x="49586" y="1681"/>
                    </a:cubicBezTo>
                    <a:lnTo>
                      <a:pt x="49418" y="1597"/>
                    </a:lnTo>
                    <a:cubicBezTo>
                      <a:pt x="48157" y="841"/>
                      <a:pt x="46981" y="168"/>
                      <a:pt x="44712" y="168"/>
                    </a:cubicBezTo>
                    <a:cubicBezTo>
                      <a:pt x="42442" y="168"/>
                      <a:pt x="41182" y="841"/>
                      <a:pt x="40005" y="1597"/>
                    </a:cubicBezTo>
                    <a:lnTo>
                      <a:pt x="39837" y="1681"/>
                    </a:lnTo>
                    <a:cubicBezTo>
                      <a:pt x="38492" y="2522"/>
                      <a:pt x="36895" y="3530"/>
                      <a:pt x="33702" y="3530"/>
                    </a:cubicBezTo>
                    <a:cubicBezTo>
                      <a:pt x="30508" y="3530"/>
                      <a:pt x="28911" y="2522"/>
                      <a:pt x="27567" y="1681"/>
                    </a:cubicBezTo>
                    <a:lnTo>
                      <a:pt x="27398" y="1597"/>
                    </a:lnTo>
                    <a:cubicBezTo>
                      <a:pt x="26138" y="841"/>
                      <a:pt x="24961" y="168"/>
                      <a:pt x="22692" y="168"/>
                    </a:cubicBezTo>
                    <a:cubicBezTo>
                      <a:pt x="20255" y="168"/>
                      <a:pt x="19078" y="757"/>
                      <a:pt x="17649" y="1513"/>
                    </a:cubicBezTo>
                    <a:cubicBezTo>
                      <a:pt x="16305" y="2353"/>
                      <a:pt x="14708" y="3362"/>
                      <a:pt x="11514" y="3362"/>
                    </a:cubicBezTo>
                    <a:cubicBezTo>
                      <a:pt x="8404" y="3362"/>
                      <a:pt x="6724" y="2353"/>
                      <a:pt x="5379" y="1513"/>
                    </a:cubicBezTo>
                    <a:lnTo>
                      <a:pt x="5211" y="1429"/>
                    </a:lnTo>
                    <a:cubicBezTo>
                      <a:pt x="3950" y="672"/>
                      <a:pt x="2773" y="0"/>
                      <a:pt x="588" y="0"/>
                    </a:cubicBezTo>
                    <a:lnTo>
                      <a:pt x="0" y="0"/>
                    </a:lnTo>
                    <a:lnTo>
                      <a:pt x="0" y="7060"/>
                    </a:lnTo>
                    <a:lnTo>
                      <a:pt x="588" y="7060"/>
                    </a:lnTo>
                    <a:cubicBezTo>
                      <a:pt x="2101" y="7060"/>
                      <a:pt x="2858" y="7480"/>
                      <a:pt x="3950" y="8237"/>
                    </a:cubicBezTo>
                    <a:lnTo>
                      <a:pt x="4454" y="8489"/>
                    </a:lnTo>
                    <a:cubicBezTo>
                      <a:pt x="5967" y="9329"/>
                      <a:pt x="8068" y="10590"/>
                      <a:pt x="11514" y="10590"/>
                    </a:cubicBezTo>
                    <a:cubicBezTo>
                      <a:pt x="15212" y="10590"/>
                      <a:pt x="17313" y="9413"/>
                      <a:pt x="19078" y="8237"/>
                    </a:cubicBezTo>
                    <a:lnTo>
                      <a:pt x="19246" y="8153"/>
                    </a:lnTo>
                    <a:cubicBezTo>
                      <a:pt x="20339" y="7480"/>
                      <a:pt x="21011" y="7060"/>
                      <a:pt x="22692" y="7060"/>
                    </a:cubicBezTo>
                    <a:cubicBezTo>
                      <a:pt x="24373" y="7060"/>
                      <a:pt x="25297" y="7564"/>
                      <a:pt x="26306" y="8237"/>
                    </a:cubicBezTo>
                    <a:lnTo>
                      <a:pt x="26726" y="8489"/>
                    </a:lnTo>
                    <a:cubicBezTo>
                      <a:pt x="28239" y="9329"/>
                      <a:pt x="30340" y="10590"/>
                      <a:pt x="33870" y="10590"/>
                    </a:cubicBezTo>
                    <a:cubicBezTo>
                      <a:pt x="37568" y="10590"/>
                      <a:pt x="39669" y="9413"/>
                      <a:pt x="41434" y="8237"/>
                    </a:cubicBezTo>
                    <a:lnTo>
                      <a:pt x="41602" y="8153"/>
                    </a:lnTo>
                    <a:cubicBezTo>
                      <a:pt x="42694" y="7480"/>
                      <a:pt x="43367" y="7060"/>
                      <a:pt x="45048" y="7060"/>
                    </a:cubicBezTo>
                    <a:cubicBezTo>
                      <a:pt x="46729" y="7060"/>
                      <a:pt x="47653" y="7564"/>
                      <a:pt x="48662" y="8237"/>
                    </a:cubicBezTo>
                    <a:lnTo>
                      <a:pt x="49082" y="8489"/>
                    </a:lnTo>
                    <a:cubicBezTo>
                      <a:pt x="50595" y="9329"/>
                      <a:pt x="52696" y="10590"/>
                      <a:pt x="56226" y="10590"/>
                    </a:cubicBezTo>
                    <a:cubicBezTo>
                      <a:pt x="59923" y="10590"/>
                      <a:pt x="62025" y="9413"/>
                      <a:pt x="63790" y="8237"/>
                    </a:cubicBezTo>
                    <a:cubicBezTo>
                      <a:pt x="64630" y="7648"/>
                      <a:pt x="65302" y="7228"/>
                      <a:pt x="66227" y="7144"/>
                    </a:cubicBezTo>
                    <a:lnTo>
                      <a:pt x="66731" y="7060"/>
                    </a:lnTo>
                    <a:lnTo>
                      <a:pt x="66731" y="0"/>
                    </a:lnTo>
                    <a:lnTo>
                      <a:pt x="66059" y="84"/>
                    </a:lnTo>
                    <a:cubicBezTo>
                      <a:pt x="64546" y="337"/>
                      <a:pt x="63537" y="841"/>
                      <a:pt x="62529" y="151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785" name="Freeform: Shape 550">
                <a:extLst>
                  <a:ext uri="{FF2B5EF4-FFF2-40B4-BE49-F238E27FC236}">
                    <a16:creationId xmlns:a16="http://schemas.microsoft.com/office/drawing/2014/main" id="{550D2417-0469-744D-82CD-3C12032313CB}"/>
                  </a:ext>
                </a:extLst>
              </p:cNvPr>
              <p:cNvSpPr/>
              <p:nvPr/>
            </p:nvSpPr>
            <p:spPr>
              <a:xfrm>
                <a:off x="2294459" y="3101465"/>
                <a:ext cx="8908" cy="8908"/>
              </a:xfrm>
              <a:custGeom>
                <a:avLst/>
                <a:gdLst>
                  <a:gd name="connsiteX0" fmla="*/ 8909 w 8908"/>
                  <a:gd name="connsiteY0" fmla="*/ 4454 h 8908"/>
                  <a:gd name="connsiteX1" fmla="*/ 4454 w 8908"/>
                  <a:gd name="connsiteY1" fmla="*/ 8909 h 8908"/>
                  <a:gd name="connsiteX2" fmla="*/ 0 w 8908"/>
                  <a:gd name="connsiteY2" fmla="*/ 4454 h 8908"/>
                  <a:gd name="connsiteX3" fmla="*/ 4454 w 8908"/>
                  <a:gd name="connsiteY3" fmla="*/ 0 h 8908"/>
                  <a:gd name="connsiteX4" fmla="*/ 8909 w 8908"/>
                  <a:gd name="connsiteY4" fmla="*/ 4454 h 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8">
                    <a:moveTo>
                      <a:pt x="8909" y="4454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4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1933"/>
                      <a:pt x="8909" y="4454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786" name="Freeform: Shape 551">
                <a:extLst>
                  <a:ext uri="{FF2B5EF4-FFF2-40B4-BE49-F238E27FC236}">
                    <a16:creationId xmlns:a16="http://schemas.microsoft.com/office/drawing/2014/main" id="{5A9D05C8-FF53-954E-A0D9-4983CE366A47}"/>
                  </a:ext>
                </a:extLst>
              </p:cNvPr>
              <p:cNvSpPr/>
              <p:nvPr/>
            </p:nvSpPr>
            <p:spPr>
              <a:xfrm>
                <a:off x="2287231" y="3068441"/>
                <a:ext cx="14623" cy="29573"/>
              </a:xfrm>
              <a:custGeom>
                <a:avLst/>
                <a:gdLst>
                  <a:gd name="connsiteX0" fmla="*/ 0 w 14623"/>
                  <a:gd name="connsiteY0" fmla="*/ 163 h 29573"/>
                  <a:gd name="connsiteX1" fmla="*/ 4370 w 14623"/>
                  <a:gd name="connsiteY1" fmla="*/ 22519 h 29573"/>
                  <a:gd name="connsiteX2" fmla="*/ 14624 w 14623"/>
                  <a:gd name="connsiteY2" fmla="*/ 29410 h 29573"/>
                  <a:gd name="connsiteX3" fmla="*/ 10253 w 14623"/>
                  <a:gd name="connsiteY3" fmla="*/ 7054 h 29573"/>
                  <a:gd name="connsiteX4" fmla="*/ 0 w 14623"/>
                  <a:gd name="connsiteY4" fmla="*/ 163 h 29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3">
                    <a:moveTo>
                      <a:pt x="0" y="163"/>
                    </a:moveTo>
                    <a:lnTo>
                      <a:pt x="4370" y="22519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787" name="Freeform: Shape 552">
                <a:extLst>
                  <a:ext uri="{FF2B5EF4-FFF2-40B4-BE49-F238E27FC236}">
                    <a16:creationId xmlns:a16="http://schemas.microsoft.com/office/drawing/2014/main" id="{CCBE0C90-06DF-4B44-A28E-7F04EDBD551A}"/>
                  </a:ext>
                </a:extLst>
              </p:cNvPr>
              <p:cNvSpPr/>
              <p:nvPr/>
            </p:nvSpPr>
            <p:spPr>
              <a:xfrm>
                <a:off x="2270285" y="3107348"/>
                <a:ext cx="22294" cy="27397"/>
              </a:xfrm>
              <a:custGeom>
                <a:avLst/>
                <a:gdLst>
                  <a:gd name="connsiteX0" fmla="*/ 2154 w 22294"/>
                  <a:gd name="connsiteY0" fmla="*/ 27398 h 27397"/>
                  <a:gd name="connsiteX1" fmla="*/ 19299 w 22294"/>
                  <a:gd name="connsiteY1" fmla="*/ 12354 h 27397"/>
                  <a:gd name="connsiteX2" fmla="*/ 20140 w 22294"/>
                  <a:gd name="connsiteY2" fmla="*/ 0 h 27397"/>
                  <a:gd name="connsiteX3" fmla="*/ 2995 w 22294"/>
                  <a:gd name="connsiteY3" fmla="*/ 14960 h 27397"/>
                  <a:gd name="connsiteX4" fmla="*/ 2154 w 22294"/>
                  <a:gd name="connsiteY4" fmla="*/ 27398 h 27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7">
                    <a:moveTo>
                      <a:pt x="2154" y="27398"/>
                    </a:moveTo>
                    <a:lnTo>
                      <a:pt x="19299" y="12354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7"/>
                      <a:pt x="-1039" y="23784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788" name="Freeform: Shape 553">
                <a:extLst>
                  <a:ext uri="{FF2B5EF4-FFF2-40B4-BE49-F238E27FC236}">
                    <a16:creationId xmlns:a16="http://schemas.microsoft.com/office/drawing/2014/main" id="{188CE0CE-8F44-8D4E-A438-57B446AD1EB8}"/>
                  </a:ext>
                </a:extLst>
              </p:cNvPr>
              <p:cNvSpPr/>
              <p:nvPr/>
            </p:nvSpPr>
            <p:spPr>
              <a:xfrm>
                <a:off x="2304376" y="3106564"/>
                <a:ext cx="32693" cy="13670"/>
              </a:xfrm>
              <a:custGeom>
                <a:avLst/>
                <a:gdLst>
                  <a:gd name="connsiteX0" fmla="*/ 32693 w 32693"/>
                  <a:gd name="connsiteY0" fmla="*/ 7676 h 13670"/>
                  <a:gd name="connsiteX1" fmla="*/ 11094 w 32693"/>
                  <a:gd name="connsiteY1" fmla="*/ 448 h 13670"/>
                  <a:gd name="connsiteX2" fmla="*/ 0 w 32693"/>
                  <a:gd name="connsiteY2" fmla="*/ 5995 h 13670"/>
                  <a:gd name="connsiteX3" fmla="*/ 21599 w 32693"/>
                  <a:gd name="connsiteY3" fmla="*/ 13223 h 13670"/>
                  <a:gd name="connsiteX4" fmla="*/ 32693 w 32693"/>
                  <a:gd name="connsiteY4" fmla="*/ 7676 h 13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70">
                    <a:moveTo>
                      <a:pt x="32693" y="7676"/>
                    </a:moveTo>
                    <a:lnTo>
                      <a:pt x="11094" y="448"/>
                    </a:lnTo>
                    <a:cubicBezTo>
                      <a:pt x="6555" y="-1065"/>
                      <a:pt x="1513" y="1373"/>
                      <a:pt x="0" y="5995"/>
                    </a:cubicBezTo>
                    <a:lnTo>
                      <a:pt x="21599" y="13223"/>
                    </a:lnTo>
                    <a:cubicBezTo>
                      <a:pt x="26222" y="14735"/>
                      <a:pt x="31180" y="12298"/>
                      <a:pt x="32693" y="76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789" name="Freeform: Shape 554">
                <a:extLst>
                  <a:ext uri="{FF2B5EF4-FFF2-40B4-BE49-F238E27FC236}">
                    <a16:creationId xmlns:a16="http://schemas.microsoft.com/office/drawing/2014/main" id="{19E7D54F-D227-B54E-8EA9-F89F6694D434}"/>
                  </a:ext>
                </a:extLst>
              </p:cNvPr>
              <p:cNvSpPr/>
              <p:nvPr/>
            </p:nvSpPr>
            <p:spPr>
              <a:xfrm>
                <a:off x="2293114" y="3114975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3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3"/>
                      <a:pt x="420" y="21872"/>
                      <a:pt x="0" y="33555"/>
                    </a:cubicBezTo>
                    <a:cubicBezTo>
                      <a:pt x="1765" y="34984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</p:grpSp>
        <p:sp>
          <p:nvSpPr>
            <p:cNvPr id="783" name="TextBox 782">
              <a:extLst>
                <a:ext uri="{FF2B5EF4-FFF2-40B4-BE49-F238E27FC236}">
                  <a16:creationId xmlns:a16="http://schemas.microsoft.com/office/drawing/2014/main" id="{DD838484-EF7A-A441-9F82-2155BF90B821}"/>
                </a:ext>
              </a:extLst>
            </p:cNvPr>
            <p:cNvSpPr txBox="1"/>
            <p:nvPr/>
          </p:nvSpPr>
          <p:spPr>
            <a:xfrm>
              <a:off x="2360094" y="3134600"/>
              <a:ext cx="463669" cy="10409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2400"/>
                </a:spcBef>
              </a:pPr>
              <a:r>
                <a:rPr lang="en-US" sz="867">
                  <a:solidFill>
                    <a:schemeClr val="accent1"/>
                  </a:solidFill>
                </a:rPr>
                <a:t>Race Bank</a:t>
              </a:r>
              <a:endParaRPr lang="en-US" sz="867">
                <a:solidFill>
                  <a:schemeClr val="accent2"/>
                </a:solidFill>
              </a:endParaRPr>
            </a:p>
          </p:txBody>
        </p:sp>
      </p:grpSp>
      <p:grpSp>
        <p:nvGrpSpPr>
          <p:cNvPr id="790" name="Group 789">
            <a:extLst>
              <a:ext uri="{FF2B5EF4-FFF2-40B4-BE49-F238E27FC236}">
                <a16:creationId xmlns:a16="http://schemas.microsoft.com/office/drawing/2014/main" id="{55850934-670A-CB45-8F52-EB07BA86BCC5}"/>
              </a:ext>
            </a:extLst>
          </p:cNvPr>
          <p:cNvGrpSpPr>
            <a:grpSpLocks/>
          </p:cNvGrpSpPr>
          <p:nvPr/>
        </p:nvGrpSpPr>
        <p:grpSpPr>
          <a:xfrm>
            <a:off x="7052122" y="4542823"/>
            <a:ext cx="1425075" cy="157892"/>
            <a:chOff x="2245728" y="3880963"/>
            <a:chExt cx="1157873" cy="128287"/>
          </a:xfrm>
        </p:grpSpPr>
        <p:grpSp>
          <p:nvGrpSpPr>
            <p:cNvPr id="791" name="Group 790">
              <a:extLst>
                <a:ext uri="{FF2B5EF4-FFF2-40B4-BE49-F238E27FC236}">
                  <a16:creationId xmlns:a16="http://schemas.microsoft.com/office/drawing/2014/main" id="{86CD94F0-DB1A-3443-BA40-717B918994D2}"/>
                </a:ext>
              </a:extLst>
            </p:cNvPr>
            <p:cNvGrpSpPr/>
            <p:nvPr/>
          </p:nvGrpSpPr>
          <p:grpSpPr>
            <a:xfrm>
              <a:off x="2245728" y="3880963"/>
              <a:ext cx="104035" cy="128287"/>
              <a:chOff x="3270799" y="3187874"/>
              <a:chExt cx="69986" cy="86301"/>
            </a:xfrm>
            <a:solidFill>
              <a:schemeClr val="accent2"/>
            </a:solidFill>
          </p:grpSpPr>
          <p:sp>
            <p:nvSpPr>
              <p:cNvPr id="793" name="Freeform: Shape 406">
                <a:extLst>
                  <a:ext uri="{FF2B5EF4-FFF2-40B4-BE49-F238E27FC236}">
                    <a16:creationId xmlns:a16="http://schemas.microsoft.com/office/drawing/2014/main" id="{B5EBC9BA-2B2D-7F44-8A55-FE8A26F20466}"/>
                  </a:ext>
                </a:extLst>
              </p:cNvPr>
              <p:cNvSpPr/>
              <p:nvPr/>
            </p:nvSpPr>
            <p:spPr>
              <a:xfrm>
                <a:off x="3323663" y="3213412"/>
                <a:ext cx="14791" cy="8572"/>
              </a:xfrm>
              <a:custGeom>
                <a:avLst/>
                <a:gdLst>
                  <a:gd name="connsiteX0" fmla="*/ 0 w 14791"/>
                  <a:gd name="connsiteY0" fmla="*/ 0 h 8572"/>
                  <a:gd name="connsiteX1" fmla="*/ 14792 w 14791"/>
                  <a:gd name="connsiteY1" fmla="*/ 0 h 8572"/>
                  <a:gd name="connsiteX2" fmla="*/ 14792 w 14791"/>
                  <a:gd name="connsiteY2" fmla="*/ 8573 h 8572"/>
                  <a:gd name="connsiteX3" fmla="*/ 0 w 14791"/>
                  <a:gd name="connsiteY3" fmla="*/ 8573 h 8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791" h="8572">
                    <a:moveTo>
                      <a:pt x="0" y="0"/>
                    </a:moveTo>
                    <a:lnTo>
                      <a:pt x="14792" y="0"/>
                    </a:lnTo>
                    <a:lnTo>
                      <a:pt x="14792" y="8573"/>
                    </a:lnTo>
                    <a:lnTo>
                      <a:pt x="0" y="8573"/>
                    </a:lnTo>
                    <a:close/>
                  </a:path>
                </a:pathLst>
              </a:custGeom>
              <a:solidFill>
                <a:srgbClr val="4099DA"/>
              </a:solidFill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794" name="Freeform: Shape 407">
                <a:extLst>
                  <a:ext uri="{FF2B5EF4-FFF2-40B4-BE49-F238E27FC236}">
                    <a16:creationId xmlns:a16="http://schemas.microsoft.com/office/drawing/2014/main" id="{96FE8F96-63EC-9148-8FB8-D26E2A8C04CF}"/>
                  </a:ext>
                </a:extLst>
              </p:cNvPr>
              <p:cNvSpPr/>
              <p:nvPr/>
            </p:nvSpPr>
            <p:spPr>
              <a:xfrm rot="17847868">
                <a:off x="3309988" y="3190354"/>
                <a:ext cx="13531" cy="8572"/>
              </a:xfrm>
              <a:custGeom>
                <a:avLst/>
                <a:gdLst>
                  <a:gd name="connsiteX0" fmla="*/ 0 w 13531"/>
                  <a:gd name="connsiteY0" fmla="*/ 0 h 8572"/>
                  <a:gd name="connsiteX1" fmla="*/ 13531 w 13531"/>
                  <a:gd name="connsiteY1" fmla="*/ 0 h 8572"/>
                  <a:gd name="connsiteX2" fmla="*/ 13531 w 13531"/>
                  <a:gd name="connsiteY2" fmla="*/ 8572 h 8572"/>
                  <a:gd name="connsiteX3" fmla="*/ 0 w 13531"/>
                  <a:gd name="connsiteY3" fmla="*/ 8572 h 8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531" h="8572">
                    <a:moveTo>
                      <a:pt x="0" y="0"/>
                    </a:moveTo>
                    <a:lnTo>
                      <a:pt x="13531" y="0"/>
                    </a:lnTo>
                    <a:lnTo>
                      <a:pt x="13531" y="8572"/>
                    </a:lnTo>
                    <a:lnTo>
                      <a:pt x="0" y="8572"/>
                    </a:lnTo>
                    <a:close/>
                  </a:path>
                </a:pathLst>
              </a:custGeom>
              <a:solidFill>
                <a:srgbClr val="4099DA"/>
              </a:solidFill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795" name="Freeform: Shape 408">
                <a:extLst>
                  <a:ext uri="{FF2B5EF4-FFF2-40B4-BE49-F238E27FC236}">
                    <a16:creationId xmlns:a16="http://schemas.microsoft.com/office/drawing/2014/main" id="{60C24C55-F0B3-F14C-9A47-14A8459AEE10}"/>
                  </a:ext>
                </a:extLst>
              </p:cNvPr>
              <p:cNvSpPr/>
              <p:nvPr/>
            </p:nvSpPr>
            <p:spPr>
              <a:xfrm rot="19840763">
                <a:off x="3327759" y="3195696"/>
                <a:ext cx="13026" cy="8572"/>
              </a:xfrm>
              <a:custGeom>
                <a:avLst/>
                <a:gdLst>
                  <a:gd name="connsiteX0" fmla="*/ 0 w 13026"/>
                  <a:gd name="connsiteY0" fmla="*/ 0 h 8572"/>
                  <a:gd name="connsiteX1" fmla="*/ 13027 w 13026"/>
                  <a:gd name="connsiteY1" fmla="*/ 0 h 8572"/>
                  <a:gd name="connsiteX2" fmla="*/ 13027 w 13026"/>
                  <a:gd name="connsiteY2" fmla="*/ 8573 h 8572"/>
                  <a:gd name="connsiteX3" fmla="*/ 0 w 13026"/>
                  <a:gd name="connsiteY3" fmla="*/ 8573 h 8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26" h="8572">
                    <a:moveTo>
                      <a:pt x="0" y="0"/>
                    </a:moveTo>
                    <a:lnTo>
                      <a:pt x="13027" y="0"/>
                    </a:lnTo>
                    <a:lnTo>
                      <a:pt x="13027" y="8573"/>
                    </a:lnTo>
                    <a:lnTo>
                      <a:pt x="0" y="8573"/>
                    </a:lnTo>
                    <a:close/>
                  </a:path>
                </a:pathLst>
              </a:custGeom>
              <a:solidFill>
                <a:srgbClr val="4099DA"/>
              </a:solidFill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grpSp>
            <p:nvGrpSpPr>
              <p:cNvPr id="796" name="Graphic 2">
                <a:extLst>
                  <a:ext uri="{FF2B5EF4-FFF2-40B4-BE49-F238E27FC236}">
                    <a16:creationId xmlns:a16="http://schemas.microsoft.com/office/drawing/2014/main" id="{8F35D261-78D7-2649-9B8A-64CC400E799A}"/>
                  </a:ext>
                </a:extLst>
              </p:cNvPr>
              <p:cNvGrpSpPr/>
              <p:nvPr/>
            </p:nvGrpSpPr>
            <p:grpSpPr>
              <a:xfrm>
                <a:off x="3270799" y="3187946"/>
                <a:ext cx="57822" cy="86229"/>
                <a:chOff x="3270799" y="3187946"/>
                <a:chExt cx="57822" cy="86229"/>
              </a:xfrm>
              <a:grpFill/>
            </p:grpSpPr>
            <p:sp>
              <p:nvSpPr>
                <p:cNvPr id="797" name="Freeform: Shape 410">
                  <a:extLst>
                    <a:ext uri="{FF2B5EF4-FFF2-40B4-BE49-F238E27FC236}">
                      <a16:creationId xmlns:a16="http://schemas.microsoft.com/office/drawing/2014/main" id="{E9273377-56F3-1B4C-892E-24FC1CF1A05E}"/>
                    </a:ext>
                  </a:extLst>
                </p:cNvPr>
                <p:cNvSpPr/>
                <p:nvPr/>
              </p:nvSpPr>
              <p:spPr>
                <a:xfrm>
                  <a:off x="3293659" y="3210974"/>
                  <a:ext cx="14455" cy="14455"/>
                </a:xfrm>
                <a:custGeom>
                  <a:avLst/>
                  <a:gdLst>
                    <a:gd name="connsiteX0" fmla="*/ 14456 w 14455"/>
                    <a:gd name="connsiteY0" fmla="*/ 7228 h 14455"/>
                    <a:gd name="connsiteX1" fmla="*/ 7228 w 14455"/>
                    <a:gd name="connsiteY1" fmla="*/ 0 h 14455"/>
                    <a:gd name="connsiteX2" fmla="*/ 0 w 14455"/>
                    <a:gd name="connsiteY2" fmla="*/ 7228 h 14455"/>
                    <a:gd name="connsiteX3" fmla="*/ 7228 w 14455"/>
                    <a:gd name="connsiteY3" fmla="*/ 14456 h 14455"/>
                    <a:gd name="connsiteX4" fmla="*/ 14456 w 14455"/>
                    <a:gd name="connsiteY4" fmla="*/ 7228 h 144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455" h="14455">
                      <a:moveTo>
                        <a:pt x="14456" y="7228"/>
                      </a:moveTo>
                      <a:cubicBezTo>
                        <a:pt x="14456" y="3278"/>
                        <a:pt x="11178" y="0"/>
                        <a:pt x="7228" y="0"/>
                      </a:cubicBezTo>
                      <a:cubicBezTo>
                        <a:pt x="3278" y="0"/>
                        <a:pt x="0" y="3194"/>
                        <a:pt x="0" y="7228"/>
                      </a:cubicBezTo>
                      <a:cubicBezTo>
                        <a:pt x="0" y="11178"/>
                        <a:pt x="3194" y="14456"/>
                        <a:pt x="7228" y="14456"/>
                      </a:cubicBezTo>
                      <a:cubicBezTo>
                        <a:pt x="11262" y="14372"/>
                        <a:pt x="14456" y="11178"/>
                        <a:pt x="14456" y="7228"/>
                      </a:cubicBezTo>
                    </a:path>
                  </a:pathLst>
                </a:custGeom>
                <a:solidFill>
                  <a:srgbClr val="4099DA"/>
                </a:solidFill>
                <a:ln w="840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2400"/>
                </a:p>
              </p:txBody>
            </p:sp>
            <p:sp>
              <p:nvSpPr>
                <p:cNvPr id="798" name="Freeform: Shape 411">
                  <a:extLst>
                    <a:ext uri="{FF2B5EF4-FFF2-40B4-BE49-F238E27FC236}">
                      <a16:creationId xmlns:a16="http://schemas.microsoft.com/office/drawing/2014/main" id="{91136B93-48B6-D14F-8BB0-94BD2FB7CB49}"/>
                    </a:ext>
                  </a:extLst>
                </p:cNvPr>
                <p:cNvSpPr/>
                <p:nvPr/>
              </p:nvSpPr>
              <p:spPr>
                <a:xfrm>
                  <a:off x="3270799" y="3187946"/>
                  <a:ext cx="57822" cy="86229"/>
                </a:xfrm>
                <a:custGeom>
                  <a:avLst/>
                  <a:gdLst>
                    <a:gd name="connsiteX0" fmla="*/ 57822 w 57822"/>
                    <a:gd name="connsiteY0" fmla="*/ 42526 h 86229"/>
                    <a:gd name="connsiteX1" fmla="*/ 43199 w 57822"/>
                    <a:gd name="connsiteY1" fmla="*/ 33366 h 86229"/>
                    <a:gd name="connsiteX2" fmla="*/ 39669 w 57822"/>
                    <a:gd name="connsiteY2" fmla="*/ 39669 h 86229"/>
                    <a:gd name="connsiteX3" fmla="*/ 30172 w 57822"/>
                    <a:gd name="connsiteY3" fmla="*/ 43619 h 86229"/>
                    <a:gd name="connsiteX4" fmla="*/ 16725 w 57822"/>
                    <a:gd name="connsiteY4" fmla="*/ 30172 h 86229"/>
                    <a:gd name="connsiteX5" fmla="*/ 20675 w 57822"/>
                    <a:gd name="connsiteY5" fmla="*/ 20675 h 86229"/>
                    <a:gd name="connsiteX6" fmla="*/ 30172 w 57822"/>
                    <a:gd name="connsiteY6" fmla="*/ 16725 h 86229"/>
                    <a:gd name="connsiteX7" fmla="*/ 34374 w 57822"/>
                    <a:gd name="connsiteY7" fmla="*/ 17397 h 86229"/>
                    <a:gd name="connsiteX8" fmla="*/ 34374 w 57822"/>
                    <a:gd name="connsiteY8" fmla="*/ 0 h 86229"/>
                    <a:gd name="connsiteX9" fmla="*/ 25802 w 57822"/>
                    <a:gd name="connsiteY9" fmla="*/ 0 h 86229"/>
                    <a:gd name="connsiteX10" fmla="*/ 25802 w 57822"/>
                    <a:gd name="connsiteY10" fmla="*/ 12607 h 86229"/>
                    <a:gd name="connsiteX11" fmla="*/ 20003 w 57822"/>
                    <a:gd name="connsiteY11" fmla="*/ 1429 h 86229"/>
                    <a:gd name="connsiteX12" fmla="*/ 12354 w 57822"/>
                    <a:gd name="connsiteY12" fmla="*/ 5379 h 86229"/>
                    <a:gd name="connsiteX13" fmla="*/ 18994 w 57822"/>
                    <a:gd name="connsiteY13" fmla="*/ 18154 h 86229"/>
                    <a:gd name="connsiteX14" fmla="*/ 6808 w 57822"/>
                    <a:gd name="connsiteY14" fmla="*/ 10506 h 86229"/>
                    <a:gd name="connsiteX15" fmla="*/ 2269 w 57822"/>
                    <a:gd name="connsiteY15" fmla="*/ 17817 h 86229"/>
                    <a:gd name="connsiteX16" fmla="*/ 15128 w 57822"/>
                    <a:gd name="connsiteY16" fmla="*/ 25886 h 86229"/>
                    <a:gd name="connsiteX17" fmla="*/ 0 w 57822"/>
                    <a:gd name="connsiteY17" fmla="*/ 25886 h 86229"/>
                    <a:gd name="connsiteX18" fmla="*/ 0 w 57822"/>
                    <a:gd name="connsiteY18" fmla="*/ 34458 h 86229"/>
                    <a:gd name="connsiteX19" fmla="*/ 13531 w 57822"/>
                    <a:gd name="connsiteY19" fmla="*/ 34458 h 86229"/>
                    <a:gd name="connsiteX20" fmla="*/ 1681 w 57822"/>
                    <a:gd name="connsiteY20" fmla="*/ 41014 h 86229"/>
                    <a:gd name="connsiteX21" fmla="*/ 5883 w 57822"/>
                    <a:gd name="connsiteY21" fmla="*/ 48578 h 86229"/>
                    <a:gd name="connsiteX22" fmla="*/ 19750 w 57822"/>
                    <a:gd name="connsiteY22" fmla="*/ 40845 h 86229"/>
                    <a:gd name="connsiteX23" fmla="*/ 12438 w 57822"/>
                    <a:gd name="connsiteY23" fmla="*/ 54881 h 86229"/>
                    <a:gd name="connsiteX24" fmla="*/ 20087 w 57822"/>
                    <a:gd name="connsiteY24" fmla="*/ 58831 h 86229"/>
                    <a:gd name="connsiteX25" fmla="*/ 26474 w 57822"/>
                    <a:gd name="connsiteY25" fmla="*/ 46561 h 86229"/>
                    <a:gd name="connsiteX26" fmla="*/ 26558 w 57822"/>
                    <a:gd name="connsiteY26" fmla="*/ 86229 h 86229"/>
                    <a:gd name="connsiteX27" fmla="*/ 33954 w 57822"/>
                    <a:gd name="connsiteY27" fmla="*/ 86229 h 86229"/>
                    <a:gd name="connsiteX28" fmla="*/ 33870 w 57822"/>
                    <a:gd name="connsiteY28" fmla="*/ 46477 h 86229"/>
                    <a:gd name="connsiteX29" fmla="*/ 40257 w 57822"/>
                    <a:gd name="connsiteY29" fmla="*/ 58831 h 86229"/>
                    <a:gd name="connsiteX30" fmla="*/ 47905 w 57822"/>
                    <a:gd name="connsiteY30" fmla="*/ 54881 h 86229"/>
                    <a:gd name="connsiteX31" fmla="*/ 41266 w 57822"/>
                    <a:gd name="connsiteY31" fmla="*/ 42106 h 86229"/>
                    <a:gd name="connsiteX32" fmla="*/ 53452 w 57822"/>
                    <a:gd name="connsiteY32" fmla="*/ 49754 h 86229"/>
                    <a:gd name="connsiteX33" fmla="*/ 57822 w 57822"/>
                    <a:gd name="connsiteY33" fmla="*/ 42526 h 862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</a:cxnLst>
                  <a:rect l="l" t="t" r="r" b="b"/>
                  <a:pathLst>
                    <a:path w="57822" h="86229">
                      <a:moveTo>
                        <a:pt x="57822" y="42526"/>
                      </a:moveTo>
                      <a:lnTo>
                        <a:pt x="43199" y="33366"/>
                      </a:lnTo>
                      <a:cubicBezTo>
                        <a:pt x="42610" y="35719"/>
                        <a:pt x="41434" y="37904"/>
                        <a:pt x="39669" y="39669"/>
                      </a:cubicBezTo>
                      <a:cubicBezTo>
                        <a:pt x="37147" y="42190"/>
                        <a:pt x="33786" y="43619"/>
                        <a:pt x="30172" y="43619"/>
                      </a:cubicBezTo>
                      <a:cubicBezTo>
                        <a:pt x="22776" y="43619"/>
                        <a:pt x="16725" y="37568"/>
                        <a:pt x="16725" y="30172"/>
                      </a:cubicBezTo>
                      <a:cubicBezTo>
                        <a:pt x="16725" y="26558"/>
                        <a:pt x="18154" y="23196"/>
                        <a:pt x="20675" y="20675"/>
                      </a:cubicBezTo>
                      <a:cubicBezTo>
                        <a:pt x="23196" y="18154"/>
                        <a:pt x="26558" y="16725"/>
                        <a:pt x="30172" y="16725"/>
                      </a:cubicBezTo>
                      <a:cubicBezTo>
                        <a:pt x="31601" y="16725"/>
                        <a:pt x="33029" y="16977"/>
                        <a:pt x="34374" y="17397"/>
                      </a:cubicBezTo>
                      <a:lnTo>
                        <a:pt x="34374" y="0"/>
                      </a:lnTo>
                      <a:lnTo>
                        <a:pt x="25802" y="0"/>
                      </a:lnTo>
                      <a:lnTo>
                        <a:pt x="25802" y="12607"/>
                      </a:lnTo>
                      <a:lnTo>
                        <a:pt x="20003" y="1429"/>
                      </a:lnTo>
                      <a:lnTo>
                        <a:pt x="12354" y="5379"/>
                      </a:lnTo>
                      <a:lnTo>
                        <a:pt x="18994" y="18154"/>
                      </a:lnTo>
                      <a:lnTo>
                        <a:pt x="6808" y="10506"/>
                      </a:lnTo>
                      <a:lnTo>
                        <a:pt x="2269" y="17817"/>
                      </a:lnTo>
                      <a:lnTo>
                        <a:pt x="15128" y="25886"/>
                      </a:lnTo>
                      <a:lnTo>
                        <a:pt x="0" y="25886"/>
                      </a:lnTo>
                      <a:lnTo>
                        <a:pt x="0" y="34458"/>
                      </a:lnTo>
                      <a:lnTo>
                        <a:pt x="13531" y="34458"/>
                      </a:lnTo>
                      <a:lnTo>
                        <a:pt x="1681" y="41014"/>
                      </a:lnTo>
                      <a:lnTo>
                        <a:pt x="5883" y="48578"/>
                      </a:lnTo>
                      <a:lnTo>
                        <a:pt x="19750" y="40845"/>
                      </a:lnTo>
                      <a:lnTo>
                        <a:pt x="12438" y="54881"/>
                      </a:lnTo>
                      <a:lnTo>
                        <a:pt x="20087" y="58831"/>
                      </a:lnTo>
                      <a:lnTo>
                        <a:pt x="26474" y="46561"/>
                      </a:lnTo>
                      <a:lnTo>
                        <a:pt x="26558" y="86229"/>
                      </a:lnTo>
                      <a:lnTo>
                        <a:pt x="33954" y="86229"/>
                      </a:lnTo>
                      <a:lnTo>
                        <a:pt x="33870" y="46477"/>
                      </a:lnTo>
                      <a:lnTo>
                        <a:pt x="40257" y="58831"/>
                      </a:lnTo>
                      <a:lnTo>
                        <a:pt x="47905" y="54881"/>
                      </a:lnTo>
                      <a:lnTo>
                        <a:pt x="41266" y="42106"/>
                      </a:lnTo>
                      <a:lnTo>
                        <a:pt x="53452" y="49754"/>
                      </a:lnTo>
                      <a:lnTo>
                        <a:pt x="57822" y="42526"/>
                      </a:lnTo>
                      <a:close/>
                    </a:path>
                  </a:pathLst>
                </a:custGeom>
                <a:solidFill>
                  <a:srgbClr val="4099DA"/>
                </a:solidFill>
                <a:ln w="840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2400"/>
                </a:p>
              </p:txBody>
            </p:sp>
          </p:grpSp>
        </p:grpSp>
        <p:sp>
          <p:nvSpPr>
            <p:cNvPr id="792" name="TextBox 791">
              <a:extLst>
                <a:ext uri="{FF2B5EF4-FFF2-40B4-BE49-F238E27FC236}">
                  <a16:creationId xmlns:a16="http://schemas.microsoft.com/office/drawing/2014/main" id="{C4A821BC-A26D-9946-AA73-190FF753F577}"/>
                </a:ext>
              </a:extLst>
            </p:cNvPr>
            <p:cNvSpPr txBox="1"/>
            <p:nvPr/>
          </p:nvSpPr>
          <p:spPr>
            <a:xfrm>
              <a:off x="2391605" y="3894216"/>
              <a:ext cx="1011996" cy="10409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2400"/>
                </a:spcBef>
              </a:pPr>
              <a:r>
                <a:rPr lang="en-US" sz="867">
                  <a:solidFill>
                    <a:srgbClr val="4099DA"/>
                  </a:solidFill>
                </a:rPr>
                <a:t>Renescience Northwich</a:t>
              </a:r>
            </a:p>
          </p:txBody>
        </p:sp>
      </p:grpSp>
      <p:grpSp>
        <p:nvGrpSpPr>
          <p:cNvPr id="799" name="Group 798">
            <a:extLst>
              <a:ext uri="{FF2B5EF4-FFF2-40B4-BE49-F238E27FC236}">
                <a16:creationId xmlns:a16="http://schemas.microsoft.com/office/drawing/2014/main" id="{1E12A0B6-647B-FE4E-90C6-E9D17F70F08E}"/>
              </a:ext>
            </a:extLst>
          </p:cNvPr>
          <p:cNvGrpSpPr>
            <a:grpSpLocks/>
          </p:cNvGrpSpPr>
          <p:nvPr/>
        </p:nvGrpSpPr>
        <p:grpSpPr>
          <a:xfrm>
            <a:off x="6929970" y="4343950"/>
            <a:ext cx="1006507" cy="140033"/>
            <a:chOff x="2217223" y="3717992"/>
            <a:chExt cx="817787" cy="113777"/>
          </a:xfrm>
        </p:grpSpPr>
        <p:grpSp>
          <p:nvGrpSpPr>
            <p:cNvPr id="800" name="Group 799">
              <a:extLst>
                <a:ext uri="{FF2B5EF4-FFF2-40B4-BE49-F238E27FC236}">
                  <a16:creationId xmlns:a16="http://schemas.microsoft.com/office/drawing/2014/main" id="{94745882-4BBE-9845-B408-AC4519963217}"/>
                </a:ext>
              </a:extLst>
            </p:cNvPr>
            <p:cNvGrpSpPr/>
            <p:nvPr/>
          </p:nvGrpSpPr>
          <p:grpSpPr>
            <a:xfrm>
              <a:off x="2217223" y="3717992"/>
              <a:ext cx="126930" cy="106316"/>
              <a:chOff x="3260714" y="3305692"/>
              <a:chExt cx="85388" cy="71521"/>
            </a:xfrm>
            <a:solidFill>
              <a:schemeClr val="accent1"/>
            </a:solidFill>
          </p:grpSpPr>
          <p:sp>
            <p:nvSpPr>
              <p:cNvPr id="802" name="Freeform: Shape 418">
                <a:extLst>
                  <a:ext uri="{FF2B5EF4-FFF2-40B4-BE49-F238E27FC236}">
                    <a16:creationId xmlns:a16="http://schemas.microsoft.com/office/drawing/2014/main" id="{A7F01E47-16BC-DD45-B689-102A87D250DF}"/>
                  </a:ext>
                </a:extLst>
              </p:cNvPr>
              <p:cNvSpPr/>
              <p:nvPr/>
            </p:nvSpPr>
            <p:spPr>
              <a:xfrm>
                <a:off x="3333244" y="3323594"/>
                <a:ext cx="6723" cy="41097"/>
              </a:xfrm>
              <a:custGeom>
                <a:avLst/>
                <a:gdLst>
                  <a:gd name="connsiteX0" fmla="*/ 0 w 6723"/>
                  <a:gd name="connsiteY0" fmla="*/ 0 h 41097"/>
                  <a:gd name="connsiteX1" fmla="*/ 6724 w 6723"/>
                  <a:gd name="connsiteY1" fmla="*/ 0 h 41097"/>
                  <a:gd name="connsiteX2" fmla="*/ 6724 w 6723"/>
                  <a:gd name="connsiteY2" fmla="*/ 41098 h 41097"/>
                  <a:gd name="connsiteX3" fmla="*/ 0 w 6723"/>
                  <a:gd name="connsiteY3" fmla="*/ 41098 h 41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723" h="41097">
                    <a:moveTo>
                      <a:pt x="0" y="0"/>
                    </a:moveTo>
                    <a:lnTo>
                      <a:pt x="6724" y="0"/>
                    </a:lnTo>
                    <a:lnTo>
                      <a:pt x="6724" y="41098"/>
                    </a:lnTo>
                    <a:lnTo>
                      <a:pt x="0" y="41098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03" name="Freeform: Shape 419">
                <a:extLst>
                  <a:ext uri="{FF2B5EF4-FFF2-40B4-BE49-F238E27FC236}">
                    <a16:creationId xmlns:a16="http://schemas.microsoft.com/office/drawing/2014/main" id="{FC628B1C-A529-CA48-8C35-625C8112290F}"/>
                  </a:ext>
                </a:extLst>
              </p:cNvPr>
              <p:cNvSpPr/>
              <p:nvPr/>
            </p:nvSpPr>
            <p:spPr>
              <a:xfrm>
                <a:off x="3266765" y="3323594"/>
                <a:ext cx="6723" cy="41097"/>
              </a:xfrm>
              <a:custGeom>
                <a:avLst/>
                <a:gdLst>
                  <a:gd name="connsiteX0" fmla="*/ 0 w 6723"/>
                  <a:gd name="connsiteY0" fmla="*/ 0 h 41097"/>
                  <a:gd name="connsiteX1" fmla="*/ 6724 w 6723"/>
                  <a:gd name="connsiteY1" fmla="*/ 0 h 41097"/>
                  <a:gd name="connsiteX2" fmla="*/ 6724 w 6723"/>
                  <a:gd name="connsiteY2" fmla="*/ 41098 h 41097"/>
                  <a:gd name="connsiteX3" fmla="*/ 0 w 6723"/>
                  <a:gd name="connsiteY3" fmla="*/ 41098 h 41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723" h="41097">
                    <a:moveTo>
                      <a:pt x="0" y="0"/>
                    </a:moveTo>
                    <a:lnTo>
                      <a:pt x="6724" y="0"/>
                    </a:lnTo>
                    <a:lnTo>
                      <a:pt x="6724" y="41098"/>
                    </a:lnTo>
                    <a:lnTo>
                      <a:pt x="0" y="41098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04" name="Freeform: Shape 420">
                <a:extLst>
                  <a:ext uri="{FF2B5EF4-FFF2-40B4-BE49-F238E27FC236}">
                    <a16:creationId xmlns:a16="http://schemas.microsoft.com/office/drawing/2014/main" id="{B0A85EFF-ABDA-F444-9200-E5A0A2B2C83D}"/>
                  </a:ext>
                </a:extLst>
              </p:cNvPr>
              <p:cNvSpPr/>
              <p:nvPr/>
            </p:nvSpPr>
            <p:spPr>
              <a:xfrm>
                <a:off x="3280969" y="3305692"/>
                <a:ext cx="44879" cy="58999"/>
              </a:xfrm>
              <a:custGeom>
                <a:avLst/>
                <a:gdLst>
                  <a:gd name="connsiteX0" fmla="*/ 21683 w 44879"/>
                  <a:gd name="connsiteY0" fmla="*/ 46729 h 58999"/>
                  <a:gd name="connsiteX1" fmla="*/ 21683 w 44879"/>
                  <a:gd name="connsiteY1" fmla="*/ 33954 h 58999"/>
                  <a:gd name="connsiteX2" fmla="*/ 12691 w 44879"/>
                  <a:gd name="connsiteY2" fmla="*/ 33954 h 58999"/>
                  <a:gd name="connsiteX3" fmla="*/ 16641 w 44879"/>
                  <a:gd name="connsiteY3" fmla="*/ 17817 h 58999"/>
                  <a:gd name="connsiteX4" fmla="*/ 29499 w 44879"/>
                  <a:gd name="connsiteY4" fmla="*/ 17817 h 58999"/>
                  <a:gd name="connsiteX5" fmla="*/ 24457 w 44879"/>
                  <a:gd name="connsiteY5" fmla="*/ 28071 h 58999"/>
                  <a:gd name="connsiteX6" fmla="*/ 33281 w 44879"/>
                  <a:gd name="connsiteY6" fmla="*/ 28071 h 58999"/>
                  <a:gd name="connsiteX7" fmla="*/ 21683 w 44879"/>
                  <a:gd name="connsiteY7" fmla="*/ 46729 h 58999"/>
                  <a:gd name="connsiteX8" fmla="*/ 44880 w 44879"/>
                  <a:gd name="connsiteY8" fmla="*/ 0 h 58999"/>
                  <a:gd name="connsiteX9" fmla="*/ 0 w 44879"/>
                  <a:gd name="connsiteY9" fmla="*/ 0 h 58999"/>
                  <a:gd name="connsiteX10" fmla="*/ 0 w 44879"/>
                  <a:gd name="connsiteY10" fmla="*/ 58999 h 58999"/>
                  <a:gd name="connsiteX11" fmla="*/ 44880 w 44879"/>
                  <a:gd name="connsiteY11" fmla="*/ 58999 h 58999"/>
                  <a:gd name="connsiteX12" fmla="*/ 44880 w 44879"/>
                  <a:gd name="connsiteY12" fmla="*/ 0 h 58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879" h="58999">
                    <a:moveTo>
                      <a:pt x="21683" y="46729"/>
                    </a:moveTo>
                    <a:lnTo>
                      <a:pt x="21683" y="33954"/>
                    </a:lnTo>
                    <a:lnTo>
                      <a:pt x="12691" y="33954"/>
                    </a:lnTo>
                    <a:lnTo>
                      <a:pt x="16641" y="17817"/>
                    </a:lnTo>
                    <a:lnTo>
                      <a:pt x="29499" y="17817"/>
                    </a:lnTo>
                    <a:lnTo>
                      <a:pt x="24457" y="28071"/>
                    </a:lnTo>
                    <a:lnTo>
                      <a:pt x="33281" y="28071"/>
                    </a:lnTo>
                    <a:lnTo>
                      <a:pt x="21683" y="46729"/>
                    </a:lnTo>
                    <a:close/>
                    <a:moveTo>
                      <a:pt x="44880" y="0"/>
                    </a:moveTo>
                    <a:lnTo>
                      <a:pt x="0" y="0"/>
                    </a:lnTo>
                    <a:lnTo>
                      <a:pt x="0" y="58999"/>
                    </a:lnTo>
                    <a:lnTo>
                      <a:pt x="44880" y="58999"/>
                    </a:lnTo>
                    <a:lnTo>
                      <a:pt x="44880" y="0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05" name="Freeform: Shape 421">
                <a:extLst>
                  <a:ext uri="{FF2B5EF4-FFF2-40B4-BE49-F238E27FC236}">
                    <a16:creationId xmlns:a16="http://schemas.microsoft.com/office/drawing/2014/main" id="{58888708-FC81-0149-8596-966AF3C89057}"/>
                  </a:ext>
                </a:extLst>
              </p:cNvPr>
              <p:cNvSpPr/>
              <p:nvPr/>
            </p:nvSpPr>
            <p:spPr>
              <a:xfrm>
                <a:off x="3260714" y="3370490"/>
                <a:ext cx="85388" cy="6723"/>
              </a:xfrm>
              <a:custGeom>
                <a:avLst/>
                <a:gdLst>
                  <a:gd name="connsiteX0" fmla="*/ 0 w 85388"/>
                  <a:gd name="connsiteY0" fmla="*/ 0 h 6723"/>
                  <a:gd name="connsiteX1" fmla="*/ 85389 w 85388"/>
                  <a:gd name="connsiteY1" fmla="*/ 0 h 6723"/>
                  <a:gd name="connsiteX2" fmla="*/ 85389 w 85388"/>
                  <a:gd name="connsiteY2" fmla="*/ 6724 h 6723"/>
                  <a:gd name="connsiteX3" fmla="*/ 0 w 85388"/>
                  <a:gd name="connsiteY3" fmla="*/ 6724 h 6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388" h="6723">
                    <a:moveTo>
                      <a:pt x="0" y="0"/>
                    </a:moveTo>
                    <a:lnTo>
                      <a:pt x="85389" y="0"/>
                    </a:lnTo>
                    <a:lnTo>
                      <a:pt x="85389" y="6724"/>
                    </a:lnTo>
                    <a:lnTo>
                      <a:pt x="0" y="6724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</p:grpSp>
        <p:sp>
          <p:nvSpPr>
            <p:cNvPr id="801" name="TextBox 800">
              <a:extLst>
                <a:ext uri="{FF2B5EF4-FFF2-40B4-BE49-F238E27FC236}">
                  <a16:creationId xmlns:a16="http://schemas.microsoft.com/office/drawing/2014/main" id="{319809E1-1463-A641-92F7-DF2AB1D66230}"/>
                </a:ext>
              </a:extLst>
            </p:cNvPr>
            <p:cNvSpPr txBox="1"/>
            <p:nvPr/>
          </p:nvSpPr>
          <p:spPr>
            <a:xfrm>
              <a:off x="2391605" y="3727678"/>
              <a:ext cx="643405" cy="10409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2400"/>
                </a:spcBef>
              </a:pPr>
              <a:r>
                <a:rPr lang="en-US" sz="867">
                  <a:solidFill>
                    <a:schemeClr val="accent1"/>
                  </a:solidFill>
                </a:rPr>
                <a:t>Carnegie Road</a:t>
              </a:r>
              <a:endParaRPr lang="en-US" sz="867">
                <a:solidFill>
                  <a:schemeClr val="accent2"/>
                </a:solidFill>
              </a:endParaRPr>
            </a:p>
          </p:txBody>
        </p:sp>
      </p:grpSp>
      <p:grpSp>
        <p:nvGrpSpPr>
          <p:cNvPr id="806" name="Group 805">
            <a:extLst>
              <a:ext uri="{FF2B5EF4-FFF2-40B4-BE49-F238E27FC236}">
                <a16:creationId xmlns:a16="http://schemas.microsoft.com/office/drawing/2014/main" id="{146B5A20-7AF8-CB4B-88DD-546C781E3AED}"/>
              </a:ext>
            </a:extLst>
          </p:cNvPr>
          <p:cNvGrpSpPr>
            <a:grpSpLocks/>
          </p:cNvGrpSpPr>
          <p:nvPr/>
        </p:nvGrpSpPr>
        <p:grpSpPr>
          <a:xfrm>
            <a:off x="6983634" y="4188706"/>
            <a:ext cx="1701813" cy="131843"/>
            <a:chOff x="2217223" y="3717992"/>
            <a:chExt cx="1382724" cy="107122"/>
          </a:xfrm>
        </p:grpSpPr>
        <p:grpSp>
          <p:nvGrpSpPr>
            <p:cNvPr id="807" name="Group 806">
              <a:extLst>
                <a:ext uri="{FF2B5EF4-FFF2-40B4-BE49-F238E27FC236}">
                  <a16:creationId xmlns:a16="http://schemas.microsoft.com/office/drawing/2014/main" id="{F6FA4353-D349-9A40-9791-2C632278EDE1}"/>
                </a:ext>
              </a:extLst>
            </p:cNvPr>
            <p:cNvGrpSpPr/>
            <p:nvPr/>
          </p:nvGrpSpPr>
          <p:grpSpPr>
            <a:xfrm>
              <a:off x="2217223" y="3717992"/>
              <a:ext cx="126930" cy="106316"/>
              <a:chOff x="3260714" y="3305692"/>
              <a:chExt cx="85388" cy="71521"/>
            </a:xfrm>
            <a:solidFill>
              <a:schemeClr val="accent1"/>
            </a:solidFill>
          </p:grpSpPr>
          <p:sp>
            <p:nvSpPr>
              <p:cNvPr id="809" name="Freeform: Shape 425">
                <a:extLst>
                  <a:ext uri="{FF2B5EF4-FFF2-40B4-BE49-F238E27FC236}">
                    <a16:creationId xmlns:a16="http://schemas.microsoft.com/office/drawing/2014/main" id="{CE1A5FC5-99C5-8748-AA84-05AF08F3FF55}"/>
                  </a:ext>
                </a:extLst>
              </p:cNvPr>
              <p:cNvSpPr/>
              <p:nvPr/>
            </p:nvSpPr>
            <p:spPr>
              <a:xfrm>
                <a:off x="3333244" y="3323594"/>
                <a:ext cx="6723" cy="41097"/>
              </a:xfrm>
              <a:custGeom>
                <a:avLst/>
                <a:gdLst>
                  <a:gd name="connsiteX0" fmla="*/ 0 w 6723"/>
                  <a:gd name="connsiteY0" fmla="*/ 0 h 41097"/>
                  <a:gd name="connsiteX1" fmla="*/ 6724 w 6723"/>
                  <a:gd name="connsiteY1" fmla="*/ 0 h 41097"/>
                  <a:gd name="connsiteX2" fmla="*/ 6724 w 6723"/>
                  <a:gd name="connsiteY2" fmla="*/ 41098 h 41097"/>
                  <a:gd name="connsiteX3" fmla="*/ 0 w 6723"/>
                  <a:gd name="connsiteY3" fmla="*/ 41098 h 41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723" h="41097">
                    <a:moveTo>
                      <a:pt x="0" y="0"/>
                    </a:moveTo>
                    <a:lnTo>
                      <a:pt x="6724" y="0"/>
                    </a:lnTo>
                    <a:lnTo>
                      <a:pt x="6724" y="41098"/>
                    </a:lnTo>
                    <a:lnTo>
                      <a:pt x="0" y="41098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10" name="Freeform: Shape 426">
                <a:extLst>
                  <a:ext uri="{FF2B5EF4-FFF2-40B4-BE49-F238E27FC236}">
                    <a16:creationId xmlns:a16="http://schemas.microsoft.com/office/drawing/2014/main" id="{364DA7B2-8043-2B4F-A7FE-F9B5D8DF3FF2}"/>
                  </a:ext>
                </a:extLst>
              </p:cNvPr>
              <p:cNvSpPr/>
              <p:nvPr/>
            </p:nvSpPr>
            <p:spPr>
              <a:xfrm>
                <a:off x="3266765" y="3323594"/>
                <a:ext cx="6723" cy="41097"/>
              </a:xfrm>
              <a:custGeom>
                <a:avLst/>
                <a:gdLst>
                  <a:gd name="connsiteX0" fmla="*/ 0 w 6723"/>
                  <a:gd name="connsiteY0" fmla="*/ 0 h 41097"/>
                  <a:gd name="connsiteX1" fmla="*/ 6724 w 6723"/>
                  <a:gd name="connsiteY1" fmla="*/ 0 h 41097"/>
                  <a:gd name="connsiteX2" fmla="*/ 6724 w 6723"/>
                  <a:gd name="connsiteY2" fmla="*/ 41098 h 41097"/>
                  <a:gd name="connsiteX3" fmla="*/ 0 w 6723"/>
                  <a:gd name="connsiteY3" fmla="*/ 41098 h 41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723" h="41097">
                    <a:moveTo>
                      <a:pt x="0" y="0"/>
                    </a:moveTo>
                    <a:lnTo>
                      <a:pt x="6724" y="0"/>
                    </a:lnTo>
                    <a:lnTo>
                      <a:pt x="6724" y="41098"/>
                    </a:lnTo>
                    <a:lnTo>
                      <a:pt x="0" y="41098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11" name="Freeform: Shape 427">
                <a:extLst>
                  <a:ext uri="{FF2B5EF4-FFF2-40B4-BE49-F238E27FC236}">
                    <a16:creationId xmlns:a16="http://schemas.microsoft.com/office/drawing/2014/main" id="{4A0D87BB-97D7-1F40-9EE2-0374167DA5EB}"/>
                  </a:ext>
                </a:extLst>
              </p:cNvPr>
              <p:cNvSpPr/>
              <p:nvPr/>
            </p:nvSpPr>
            <p:spPr>
              <a:xfrm>
                <a:off x="3280969" y="3305692"/>
                <a:ext cx="44879" cy="58999"/>
              </a:xfrm>
              <a:custGeom>
                <a:avLst/>
                <a:gdLst>
                  <a:gd name="connsiteX0" fmla="*/ 21683 w 44879"/>
                  <a:gd name="connsiteY0" fmla="*/ 46729 h 58999"/>
                  <a:gd name="connsiteX1" fmla="*/ 21683 w 44879"/>
                  <a:gd name="connsiteY1" fmla="*/ 33954 h 58999"/>
                  <a:gd name="connsiteX2" fmla="*/ 12691 w 44879"/>
                  <a:gd name="connsiteY2" fmla="*/ 33954 h 58999"/>
                  <a:gd name="connsiteX3" fmla="*/ 16641 w 44879"/>
                  <a:gd name="connsiteY3" fmla="*/ 17817 h 58999"/>
                  <a:gd name="connsiteX4" fmla="*/ 29499 w 44879"/>
                  <a:gd name="connsiteY4" fmla="*/ 17817 h 58999"/>
                  <a:gd name="connsiteX5" fmla="*/ 24457 w 44879"/>
                  <a:gd name="connsiteY5" fmla="*/ 28071 h 58999"/>
                  <a:gd name="connsiteX6" fmla="*/ 33281 w 44879"/>
                  <a:gd name="connsiteY6" fmla="*/ 28071 h 58999"/>
                  <a:gd name="connsiteX7" fmla="*/ 21683 w 44879"/>
                  <a:gd name="connsiteY7" fmla="*/ 46729 h 58999"/>
                  <a:gd name="connsiteX8" fmla="*/ 44880 w 44879"/>
                  <a:gd name="connsiteY8" fmla="*/ 0 h 58999"/>
                  <a:gd name="connsiteX9" fmla="*/ 0 w 44879"/>
                  <a:gd name="connsiteY9" fmla="*/ 0 h 58999"/>
                  <a:gd name="connsiteX10" fmla="*/ 0 w 44879"/>
                  <a:gd name="connsiteY10" fmla="*/ 58999 h 58999"/>
                  <a:gd name="connsiteX11" fmla="*/ 44880 w 44879"/>
                  <a:gd name="connsiteY11" fmla="*/ 58999 h 58999"/>
                  <a:gd name="connsiteX12" fmla="*/ 44880 w 44879"/>
                  <a:gd name="connsiteY12" fmla="*/ 0 h 58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879" h="58999">
                    <a:moveTo>
                      <a:pt x="21683" y="46729"/>
                    </a:moveTo>
                    <a:lnTo>
                      <a:pt x="21683" y="33954"/>
                    </a:lnTo>
                    <a:lnTo>
                      <a:pt x="12691" y="33954"/>
                    </a:lnTo>
                    <a:lnTo>
                      <a:pt x="16641" y="17817"/>
                    </a:lnTo>
                    <a:lnTo>
                      <a:pt x="29499" y="17817"/>
                    </a:lnTo>
                    <a:lnTo>
                      <a:pt x="24457" y="28071"/>
                    </a:lnTo>
                    <a:lnTo>
                      <a:pt x="33281" y="28071"/>
                    </a:lnTo>
                    <a:lnTo>
                      <a:pt x="21683" y="46729"/>
                    </a:lnTo>
                    <a:close/>
                    <a:moveTo>
                      <a:pt x="44880" y="0"/>
                    </a:moveTo>
                    <a:lnTo>
                      <a:pt x="0" y="0"/>
                    </a:lnTo>
                    <a:lnTo>
                      <a:pt x="0" y="58999"/>
                    </a:lnTo>
                    <a:lnTo>
                      <a:pt x="44880" y="58999"/>
                    </a:lnTo>
                    <a:lnTo>
                      <a:pt x="44880" y="0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12" name="Freeform: Shape 428">
                <a:extLst>
                  <a:ext uri="{FF2B5EF4-FFF2-40B4-BE49-F238E27FC236}">
                    <a16:creationId xmlns:a16="http://schemas.microsoft.com/office/drawing/2014/main" id="{2EBD9A5F-4366-8349-8BA6-5565F0CE5DA0}"/>
                  </a:ext>
                </a:extLst>
              </p:cNvPr>
              <p:cNvSpPr/>
              <p:nvPr/>
            </p:nvSpPr>
            <p:spPr>
              <a:xfrm>
                <a:off x="3260714" y="3370490"/>
                <a:ext cx="85388" cy="6723"/>
              </a:xfrm>
              <a:custGeom>
                <a:avLst/>
                <a:gdLst>
                  <a:gd name="connsiteX0" fmla="*/ 0 w 85388"/>
                  <a:gd name="connsiteY0" fmla="*/ 0 h 6723"/>
                  <a:gd name="connsiteX1" fmla="*/ 85389 w 85388"/>
                  <a:gd name="connsiteY1" fmla="*/ 0 h 6723"/>
                  <a:gd name="connsiteX2" fmla="*/ 85389 w 85388"/>
                  <a:gd name="connsiteY2" fmla="*/ 6724 h 6723"/>
                  <a:gd name="connsiteX3" fmla="*/ 0 w 85388"/>
                  <a:gd name="connsiteY3" fmla="*/ 6724 h 6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388" h="6723">
                    <a:moveTo>
                      <a:pt x="0" y="0"/>
                    </a:moveTo>
                    <a:lnTo>
                      <a:pt x="85389" y="0"/>
                    </a:lnTo>
                    <a:lnTo>
                      <a:pt x="85389" y="6724"/>
                    </a:lnTo>
                    <a:lnTo>
                      <a:pt x="0" y="6724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</p:grpSp>
        <p:sp>
          <p:nvSpPr>
            <p:cNvPr id="808" name="TextBox 807">
              <a:extLst>
                <a:ext uri="{FF2B5EF4-FFF2-40B4-BE49-F238E27FC236}">
                  <a16:creationId xmlns:a16="http://schemas.microsoft.com/office/drawing/2014/main" id="{793C3351-1E2C-564C-B9C1-89342FFC2792}"/>
                </a:ext>
              </a:extLst>
            </p:cNvPr>
            <p:cNvSpPr txBox="1"/>
            <p:nvPr/>
          </p:nvSpPr>
          <p:spPr>
            <a:xfrm>
              <a:off x="2374350" y="3721023"/>
              <a:ext cx="1225597" cy="10409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2400"/>
                </a:spcBef>
              </a:pPr>
              <a:r>
                <a:rPr lang="en-US" sz="867">
                  <a:solidFill>
                    <a:schemeClr val="accent1"/>
                  </a:solidFill>
                </a:rPr>
                <a:t>Burbo Bank Battery Storage</a:t>
              </a:r>
              <a:endParaRPr lang="en-US" sz="867">
                <a:solidFill>
                  <a:schemeClr val="accent2"/>
                </a:solidFill>
              </a:endParaRPr>
            </a:p>
          </p:txBody>
        </p:sp>
      </p:grpSp>
      <p:grpSp>
        <p:nvGrpSpPr>
          <p:cNvPr id="813" name="Group 812">
            <a:extLst>
              <a:ext uri="{FF2B5EF4-FFF2-40B4-BE49-F238E27FC236}">
                <a16:creationId xmlns:a16="http://schemas.microsoft.com/office/drawing/2014/main" id="{094E4AA8-1BFA-9C4F-831F-5496C8012F63}"/>
              </a:ext>
            </a:extLst>
          </p:cNvPr>
          <p:cNvGrpSpPr>
            <a:grpSpLocks/>
          </p:cNvGrpSpPr>
          <p:nvPr/>
        </p:nvGrpSpPr>
        <p:grpSpPr>
          <a:xfrm>
            <a:off x="6048612" y="3896634"/>
            <a:ext cx="757736" cy="174563"/>
            <a:chOff x="1559317" y="3432402"/>
            <a:chExt cx="615661" cy="141832"/>
          </a:xfrm>
        </p:grpSpPr>
        <p:grpSp>
          <p:nvGrpSpPr>
            <p:cNvPr id="814" name="Group 813">
              <a:extLst>
                <a:ext uri="{FF2B5EF4-FFF2-40B4-BE49-F238E27FC236}">
                  <a16:creationId xmlns:a16="http://schemas.microsoft.com/office/drawing/2014/main" id="{953EAD34-361D-9245-B47D-58E60149DE55}"/>
                </a:ext>
              </a:extLst>
            </p:cNvPr>
            <p:cNvGrpSpPr/>
            <p:nvPr/>
          </p:nvGrpSpPr>
          <p:grpSpPr>
            <a:xfrm>
              <a:off x="2068662" y="3432402"/>
              <a:ext cx="106316" cy="141664"/>
              <a:chOff x="2265548" y="3068441"/>
              <a:chExt cx="71521" cy="95300"/>
            </a:xfrm>
            <a:solidFill>
              <a:schemeClr val="accent1"/>
            </a:solidFill>
          </p:grpSpPr>
          <p:sp>
            <p:nvSpPr>
              <p:cNvPr id="816" name="Freeform: Shape 432">
                <a:extLst>
                  <a:ext uri="{FF2B5EF4-FFF2-40B4-BE49-F238E27FC236}">
                    <a16:creationId xmlns:a16="http://schemas.microsoft.com/office/drawing/2014/main" id="{F7D6B41C-1520-1B4A-A8A2-22782D07BF78}"/>
                  </a:ext>
                </a:extLst>
              </p:cNvPr>
              <p:cNvSpPr/>
              <p:nvPr/>
            </p:nvSpPr>
            <p:spPr>
              <a:xfrm>
                <a:off x="2265548" y="3153152"/>
                <a:ext cx="66731" cy="10589"/>
              </a:xfrm>
              <a:custGeom>
                <a:avLst/>
                <a:gdLst>
                  <a:gd name="connsiteX0" fmla="*/ 62529 w 66731"/>
                  <a:gd name="connsiteY0" fmla="*/ 1513 h 10589"/>
                  <a:gd name="connsiteX1" fmla="*/ 61604 w 66731"/>
                  <a:gd name="connsiteY1" fmla="*/ 1933 h 10589"/>
                  <a:gd name="connsiteX2" fmla="*/ 55721 w 66731"/>
                  <a:gd name="connsiteY2" fmla="*/ 3530 h 10589"/>
                  <a:gd name="connsiteX3" fmla="*/ 49586 w 66731"/>
                  <a:gd name="connsiteY3" fmla="*/ 1681 h 10589"/>
                  <a:gd name="connsiteX4" fmla="*/ 49418 w 66731"/>
                  <a:gd name="connsiteY4" fmla="*/ 1597 h 10589"/>
                  <a:gd name="connsiteX5" fmla="*/ 44712 w 66731"/>
                  <a:gd name="connsiteY5" fmla="*/ 168 h 10589"/>
                  <a:gd name="connsiteX6" fmla="*/ 40005 w 66731"/>
                  <a:gd name="connsiteY6" fmla="*/ 1597 h 10589"/>
                  <a:gd name="connsiteX7" fmla="*/ 39837 w 66731"/>
                  <a:gd name="connsiteY7" fmla="*/ 1681 h 10589"/>
                  <a:gd name="connsiteX8" fmla="*/ 33702 w 66731"/>
                  <a:gd name="connsiteY8" fmla="*/ 3530 h 10589"/>
                  <a:gd name="connsiteX9" fmla="*/ 27567 w 66731"/>
                  <a:gd name="connsiteY9" fmla="*/ 1681 h 10589"/>
                  <a:gd name="connsiteX10" fmla="*/ 27398 w 66731"/>
                  <a:gd name="connsiteY10" fmla="*/ 1597 h 10589"/>
                  <a:gd name="connsiteX11" fmla="*/ 22692 w 66731"/>
                  <a:gd name="connsiteY11" fmla="*/ 168 h 10589"/>
                  <a:gd name="connsiteX12" fmla="*/ 17649 w 66731"/>
                  <a:gd name="connsiteY12" fmla="*/ 1513 h 10589"/>
                  <a:gd name="connsiteX13" fmla="*/ 11514 w 66731"/>
                  <a:gd name="connsiteY13" fmla="*/ 3362 h 10589"/>
                  <a:gd name="connsiteX14" fmla="*/ 5379 w 66731"/>
                  <a:gd name="connsiteY14" fmla="*/ 1513 h 10589"/>
                  <a:gd name="connsiteX15" fmla="*/ 5211 w 66731"/>
                  <a:gd name="connsiteY15" fmla="*/ 1429 h 10589"/>
                  <a:gd name="connsiteX16" fmla="*/ 588 w 66731"/>
                  <a:gd name="connsiteY16" fmla="*/ 0 h 10589"/>
                  <a:gd name="connsiteX17" fmla="*/ 0 w 66731"/>
                  <a:gd name="connsiteY17" fmla="*/ 0 h 10589"/>
                  <a:gd name="connsiteX18" fmla="*/ 0 w 66731"/>
                  <a:gd name="connsiteY18" fmla="*/ 7060 h 10589"/>
                  <a:gd name="connsiteX19" fmla="*/ 588 w 66731"/>
                  <a:gd name="connsiteY19" fmla="*/ 7060 h 10589"/>
                  <a:gd name="connsiteX20" fmla="*/ 3950 w 66731"/>
                  <a:gd name="connsiteY20" fmla="*/ 8237 h 10589"/>
                  <a:gd name="connsiteX21" fmla="*/ 4454 w 66731"/>
                  <a:gd name="connsiteY21" fmla="*/ 8489 h 10589"/>
                  <a:gd name="connsiteX22" fmla="*/ 11514 w 66731"/>
                  <a:gd name="connsiteY22" fmla="*/ 10590 h 10589"/>
                  <a:gd name="connsiteX23" fmla="*/ 19078 w 66731"/>
                  <a:gd name="connsiteY23" fmla="*/ 8237 h 10589"/>
                  <a:gd name="connsiteX24" fmla="*/ 19246 w 66731"/>
                  <a:gd name="connsiteY24" fmla="*/ 8153 h 10589"/>
                  <a:gd name="connsiteX25" fmla="*/ 22692 w 66731"/>
                  <a:gd name="connsiteY25" fmla="*/ 7060 h 10589"/>
                  <a:gd name="connsiteX26" fmla="*/ 26306 w 66731"/>
                  <a:gd name="connsiteY26" fmla="*/ 8237 h 10589"/>
                  <a:gd name="connsiteX27" fmla="*/ 26726 w 66731"/>
                  <a:gd name="connsiteY27" fmla="*/ 8489 h 10589"/>
                  <a:gd name="connsiteX28" fmla="*/ 33870 w 66731"/>
                  <a:gd name="connsiteY28" fmla="*/ 10590 h 10589"/>
                  <a:gd name="connsiteX29" fmla="*/ 41434 w 66731"/>
                  <a:gd name="connsiteY29" fmla="*/ 8237 h 10589"/>
                  <a:gd name="connsiteX30" fmla="*/ 41602 w 66731"/>
                  <a:gd name="connsiteY30" fmla="*/ 8153 h 10589"/>
                  <a:gd name="connsiteX31" fmla="*/ 45048 w 66731"/>
                  <a:gd name="connsiteY31" fmla="*/ 7060 h 10589"/>
                  <a:gd name="connsiteX32" fmla="*/ 48662 w 66731"/>
                  <a:gd name="connsiteY32" fmla="*/ 8237 h 10589"/>
                  <a:gd name="connsiteX33" fmla="*/ 49082 w 66731"/>
                  <a:gd name="connsiteY33" fmla="*/ 8489 h 10589"/>
                  <a:gd name="connsiteX34" fmla="*/ 56226 w 66731"/>
                  <a:gd name="connsiteY34" fmla="*/ 10590 h 10589"/>
                  <a:gd name="connsiteX35" fmla="*/ 63790 w 66731"/>
                  <a:gd name="connsiteY35" fmla="*/ 8237 h 10589"/>
                  <a:gd name="connsiteX36" fmla="*/ 66227 w 66731"/>
                  <a:gd name="connsiteY36" fmla="*/ 7144 h 10589"/>
                  <a:gd name="connsiteX37" fmla="*/ 66731 w 66731"/>
                  <a:gd name="connsiteY37" fmla="*/ 7060 h 10589"/>
                  <a:gd name="connsiteX38" fmla="*/ 66731 w 66731"/>
                  <a:gd name="connsiteY38" fmla="*/ 0 h 10589"/>
                  <a:gd name="connsiteX39" fmla="*/ 66059 w 66731"/>
                  <a:gd name="connsiteY39" fmla="*/ 84 h 10589"/>
                  <a:gd name="connsiteX40" fmla="*/ 62529 w 66731"/>
                  <a:gd name="connsiteY40" fmla="*/ 1513 h 10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66731" h="10589">
                    <a:moveTo>
                      <a:pt x="62529" y="1513"/>
                    </a:moveTo>
                    <a:cubicBezTo>
                      <a:pt x="62193" y="1681"/>
                      <a:pt x="61856" y="1849"/>
                      <a:pt x="61604" y="1933"/>
                    </a:cubicBezTo>
                    <a:cubicBezTo>
                      <a:pt x="60008" y="2689"/>
                      <a:pt x="58327" y="3530"/>
                      <a:pt x="55721" y="3530"/>
                    </a:cubicBezTo>
                    <a:cubicBezTo>
                      <a:pt x="52528" y="3530"/>
                      <a:pt x="51015" y="2522"/>
                      <a:pt x="49586" y="1681"/>
                    </a:cubicBezTo>
                    <a:lnTo>
                      <a:pt x="49418" y="1597"/>
                    </a:lnTo>
                    <a:cubicBezTo>
                      <a:pt x="48157" y="841"/>
                      <a:pt x="46981" y="168"/>
                      <a:pt x="44712" y="168"/>
                    </a:cubicBezTo>
                    <a:cubicBezTo>
                      <a:pt x="42442" y="168"/>
                      <a:pt x="41182" y="841"/>
                      <a:pt x="40005" y="1597"/>
                    </a:cubicBezTo>
                    <a:lnTo>
                      <a:pt x="39837" y="1681"/>
                    </a:lnTo>
                    <a:cubicBezTo>
                      <a:pt x="38492" y="2522"/>
                      <a:pt x="36895" y="3530"/>
                      <a:pt x="33702" y="3530"/>
                    </a:cubicBezTo>
                    <a:cubicBezTo>
                      <a:pt x="30508" y="3530"/>
                      <a:pt x="28911" y="2522"/>
                      <a:pt x="27567" y="1681"/>
                    </a:cubicBezTo>
                    <a:lnTo>
                      <a:pt x="27398" y="1597"/>
                    </a:lnTo>
                    <a:cubicBezTo>
                      <a:pt x="26138" y="841"/>
                      <a:pt x="24961" y="168"/>
                      <a:pt x="22692" y="168"/>
                    </a:cubicBezTo>
                    <a:cubicBezTo>
                      <a:pt x="20255" y="168"/>
                      <a:pt x="19078" y="757"/>
                      <a:pt x="17649" y="1513"/>
                    </a:cubicBezTo>
                    <a:cubicBezTo>
                      <a:pt x="16305" y="2353"/>
                      <a:pt x="14708" y="3362"/>
                      <a:pt x="11514" y="3362"/>
                    </a:cubicBezTo>
                    <a:cubicBezTo>
                      <a:pt x="8404" y="3362"/>
                      <a:pt x="6724" y="2353"/>
                      <a:pt x="5379" y="1513"/>
                    </a:cubicBezTo>
                    <a:lnTo>
                      <a:pt x="5211" y="1429"/>
                    </a:lnTo>
                    <a:cubicBezTo>
                      <a:pt x="3950" y="672"/>
                      <a:pt x="2773" y="0"/>
                      <a:pt x="588" y="0"/>
                    </a:cubicBezTo>
                    <a:lnTo>
                      <a:pt x="0" y="0"/>
                    </a:lnTo>
                    <a:lnTo>
                      <a:pt x="0" y="7060"/>
                    </a:lnTo>
                    <a:lnTo>
                      <a:pt x="588" y="7060"/>
                    </a:lnTo>
                    <a:cubicBezTo>
                      <a:pt x="2101" y="7060"/>
                      <a:pt x="2858" y="7480"/>
                      <a:pt x="3950" y="8237"/>
                    </a:cubicBezTo>
                    <a:lnTo>
                      <a:pt x="4454" y="8489"/>
                    </a:lnTo>
                    <a:cubicBezTo>
                      <a:pt x="5967" y="9329"/>
                      <a:pt x="8068" y="10590"/>
                      <a:pt x="11514" y="10590"/>
                    </a:cubicBezTo>
                    <a:cubicBezTo>
                      <a:pt x="15212" y="10590"/>
                      <a:pt x="17313" y="9413"/>
                      <a:pt x="19078" y="8237"/>
                    </a:cubicBezTo>
                    <a:lnTo>
                      <a:pt x="19246" y="8153"/>
                    </a:lnTo>
                    <a:cubicBezTo>
                      <a:pt x="20339" y="7480"/>
                      <a:pt x="21011" y="7060"/>
                      <a:pt x="22692" y="7060"/>
                    </a:cubicBezTo>
                    <a:cubicBezTo>
                      <a:pt x="24373" y="7060"/>
                      <a:pt x="25297" y="7564"/>
                      <a:pt x="26306" y="8237"/>
                    </a:cubicBezTo>
                    <a:lnTo>
                      <a:pt x="26726" y="8489"/>
                    </a:lnTo>
                    <a:cubicBezTo>
                      <a:pt x="28239" y="9329"/>
                      <a:pt x="30340" y="10590"/>
                      <a:pt x="33870" y="10590"/>
                    </a:cubicBezTo>
                    <a:cubicBezTo>
                      <a:pt x="37568" y="10590"/>
                      <a:pt x="39669" y="9413"/>
                      <a:pt x="41434" y="8237"/>
                    </a:cubicBezTo>
                    <a:lnTo>
                      <a:pt x="41602" y="8153"/>
                    </a:lnTo>
                    <a:cubicBezTo>
                      <a:pt x="42694" y="7480"/>
                      <a:pt x="43367" y="7060"/>
                      <a:pt x="45048" y="7060"/>
                    </a:cubicBezTo>
                    <a:cubicBezTo>
                      <a:pt x="46729" y="7060"/>
                      <a:pt x="47653" y="7564"/>
                      <a:pt x="48662" y="8237"/>
                    </a:cubicBezTo>
                    <a:lnTo>
                      <a:pt x="49082" y="8489"/>
                    </a:lnTo>
                    <a:cubicBezTo>
                      <a:pt x="50595" y="9329"/>
                      <a:pt x="52696" y="10590"/>
                      <a:pt x="56226" y="10590"/>
                    </a:cubicBezTo>
                    <a:cubicBezTo>
                      <a:pt x="59923" y="10590"/>
                      <a:pt x="62025" y="9413"/>
                      <a:pt x="63790" y="8237"/>
                    </a:cubicBezTo>
                    <a:cubicBezTo>
                      <a:pt x="64630" y="7648"/>
                      <a:pt x="65302" y="7228"/>
                      <a:pt x="66227" y="7144"/>
                    </a:cubicBezTo>
                    <a:lnTo>
                      <a:pt x="66731" y="7060"/>
                    </a:lnTo>
                    <a:lnTo>
                      <a:pt x="66731" y="0"/>
                    </a:lnTo>
                    <a:lnTo>
                      <a:pt x="66059" y="84"/>
                    </a:lnTo>
                    <a:cubicBezTo>
                      <a:pt x="64546" y="337"/>
                      <a:pt x="63537" y="841"/>
                      <a:pt x="62529" y="151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17" name="Freeform: Shape 433">
                <a:extLst>
                  <a:ext uri="{FF2B5EF4-FFF2-40B4-BE49-F238E27FC236}">
                    <a16:creationId xmlns:a16="http://schemas.microsoft.com/office/drawing/2014/main" id="{D482B9C2-6F77-B644-BE9F-D9846852D2EF}"/>
                  </a:ext>
                </a:extLst>
              </p:cNvPr>
              <p:cNvSpPr/>
              <p:nvPr/>
            </p:nvSpPr>
            <p:spPr>
              <a:xfrm>
                <a:off x="2294459" y="3101465"/>
                <a:ext cx="8908" cy="8908"/>
              </a:xfrm>
              <a:custGeom>
                <a:avLst/>
                <a:gdLst>
                  <a:gd name="connsiteX0" fmla="*/ 8909 w 8908"/>
                  <a:gd name="connsiteY0" fmla="*/ 4454 h 8908"/>
                  <a:gd name="connsiteX1" fmla="*/ 4454 w 8908"/>
                  <a:gd name="connsiteY1" fmla="*/ 8909 h 8908"/>
                  <a:gd name="connsiteX2" fmla="*/ 0 w 8908"/>
                  <a:gd name="connsiteY2" fmla="*/ 4454 h 8908"/>
                  <a:gd name="connsiteX3" fmla="*/ 4454 w 8908"/>
                  <a:gd name="connsiteY3" fmla="*/ 0 h 8908"/>
                  <a:gd name="connsiteX4" fmla="*/ 8909 w 8908"/>
                  <a:gd name="connsiteY4" fmla="*/ 4454 h 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8">
                    <a:moveTo>
                      <a:pt x="8909" y="4454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4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1933"/>
                      <a:pt x="8909" y="4454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18" name="Freeform: Shape 434">
                <a:extLst>
                  <a:ext uri="{FF2B5EF4-FFF2-40B4-BE49-F238E27FC236}">
                    <a16:creationId xmlns:a16="http://schemas.microsoft.com/office/drawing/2014/main" id="{CFF569F0-245D-BD4F-B726-DE7FE058ECC9}"/>
                  </a:ext>
                </a:extLst>
              </p:cNvPr>
              <p:cNvSpPr/>
              <p:nvPr/>
            </p:nvSpPr>
            <p:spPr>
              <a:xfrm>
                <a:off x="2287231" y="3068441"/>
                <a:ext cx="14623" cy="29573"/>
              </a:xfrm>
              <a:custGeom>
                <a:avLst/>
                <a:gdLst>
                  <a:gd name="connsiteX0" fmla="*/ 0 w 14623"/>
                  <a:gd name="connsiteY0" fmla="*/ 163 h 29573"/>
                  <a:gd name="connsiteX1" fmla="*/ 4370 w 14623"/>
                  <a:gd name="connsiteY1" fmla="*/ 22519 h 29573"/>
                  <a:gd name="connsiteX2" fmla="*/ 14624 w 14623"/>
                  <a:gd name="connsiteY2" fmla="*/ 29410 h 29573"/>
                  <a:gd name="connsiteX3" fmla="*/ 10253 w 14623"/>
                  <a:gd name="connsiteY3" fmla="*/ 7054 h 29573"/>
                  <a:gd name="connsiteX4" fmla="*/ 0 w 14623"/>
                  <a:gd name="connsiteY4" fmla="*/ 163 h 29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3">
                    <a:moveTo>
                      <a:pt x="0" y="163"/>
                    </a:moveTo>
                    <a:lnTo>
                      <a:pt x="4370" y="22519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19" name="Freeform: Shape 435">
                <a:extLst>
                  <a:ext uri="{FF2B5EF4-FFF2-40B4-BE49-F238E27FC236}">
                    <a16:creationId xmlns:a16="http://schemas.microsoft.com/office/drawing/2014/main" id="{36453348-6A8C-084E-B789-F52C681E3B15}"/>
                  </a:ext>
                </a:extLst>
              </p:cNvPr>
              <p:cNvSpPr/>
              <p:nvPr/>
            </p:nvSpPr>
            <p:spPr>
              <a:xfrm>
                <a:off x="2270285" y="3107348"/>
                <a:ext cx="22294" cy="27397"/>
              </a:xfrm>
              <a:custGeom>
                <a:avLst/>
                <a:gdLst>
                  <a:gd name="connsiteX0" fmla="*/ 2154 w 22294"/>
                  <a:gd name="connsiteY0" fmla="*/ 27398 h 27397"/>
                  <a:gd name="connsiteX1" fmla="*/ 19299 w 22294"/>
                  <a:gd name="connsiteY1" fmla="*/ 12354 h 27397"/>
                  <a:gd name="connsiteX2" fmla="*/ 20140 w 22294"/>
                  <a:gd name="connsiteY2" fmla="*/ 0 h 27397"/>
                  <a:gd name="connsiteX3" fmla="*/ 2995 w 22294"/>
                  <a:gd name="connsiteY3" fmla="*/ 14960 h 27397"/>
                  <a:gd name="connsiteX4" fmla="*/ 2154 w 22294"/>
                  <a:gd name="connsiteY4" fmla="*/ 27398 h 27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7">
                    <a:moveTo>
                      <a:pt x="2154" y="27398"/>
                    </a:moveTo>
                    <a:lnTo>
                      <a:pt x="19299" y="12354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7"/>
                      <a:pt x="-1039" y="23784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20" name="Freeform: Shape 436">
                <a:extLst>
                  <a:ext uri="{FF2B5EF4-FFF2-40B4-BE49-F238E27FC236}">
                    <a16:creationId xmlns:a16="http://schemas.microsoft.com/office/drawing/2014/main" id="{EDE7E577-9AFF-E648-9CB1-B859D7D02963}"/>
                  </a:ext>
                </a:extLst>
              </p:cNvPr>
              <p:cNvSpPr/>
              <p:nvPr/>
            </p:nvSpPr>
            <p:spPr>
              <a:xfrm>
                <a:off x="2304376" y="3106564"/>
                <a:ext cx="32693" cy="13670"/>
              </a:xfrm>
              <a:custGeom>
                <a:avLst/>
                <a:gdLst>
                  <a:gd name="connsiteX0" fmla="*/ 32693 w 32693"/>
                  <a:gd name="connsiteY0" fmla="*/ 7676 h 13670"/>
                  <a:gd name="connsiteX1" fmla="*/ 11094 w 32693"/>
                  <a:gd name="connsiteY1" fmla="*/ 448 h 13670"/>
                  <a:gd name="connsiteX2" fmla="*/ 0 w 32693"/>
                  <a:gd name="connsiteY2" fmla="*/ 5995 h 13670"/>
                  <a:gd name="connsiteX3" fmla="*/ 21599 w 32693"/>
                  <a:gd name="connsiteY3" fmla="*/ 13223 h 13670"/>
                  <a:gd name="connsiteX4" fmla="*/ 32693 w 32693"/>
                  <a:gd name="connsiteY4" fmla="*/ 7676 h 13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70">
                    <a:moveTo>
                      <a:pt x="32693" y="7676"/>
                    </a:moveTo>
                    <a:lnTo>
                      <a:pt x="11094" y="448"/>
                    </a:lnTo>
                    <a:cubicBezTo>
                      <a:pt x="6555" y="-1065"/>
                      <a:pt x="1513" y="1373"/>
                      <a:pt x="0" y="5995"/>
                    </a:cubicBezTo>
                    <a:lnTo>
                      <a:pt x="21599" y="13223"/>
                    </a:lnTo>
                    <a:cubicBezTo>
                      <a:pt x="26222" y="14735"/>
                      <a:pt x="31180" y="12298"/>
                      <a:pt x="32693" y="76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21" name="Freeform: Shape 437">
                <a:extLst>
                  <a:ext uri="{FF2B5EF4-FFF2-40B4-BE49-F238E27FC236}">
                    <a16:creationId xmlns:a16="http://schemas.microsoft.com/office/drawing/2014/main" id="{D80963C6-BFE9-CC48-BB8D-CCBC629AA257}"/>
                  </a:ext>
                </a:extLst>
              </p:cNvPr>
              <p:cNvSpPr/>
              <p:nvPr/>
            </p:nvSpPr>
            <p:spPr>
              <a:xfrm>
                <a:off x="2293114" y="3114975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3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3"/>
                      <a:pt x="420" y="21872"/>
                      <a:pt x="0" y="33555"/>
                    </a:cubicBezTo>
                    <a:cubicBezTo>
                      <a:pt x="1765" y="34984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</p:grpSp>
        <p:sp>
          <p:nvSpPr>
            <p:cNvPr id="815" name="TextBox 814">
              <a:extLst>
                <a:ext uri="{FF2B5EF4-FFF2-40B4-BE49-F238E27FC236}">
                  <a16:creationId xmlns:a16="http://schemas.microsoft.com/office/drawing/2014/main" id="{95D5EE0E-2450-E84B-836D-0136BBEAD82C}"/>
                </a:ext>
              </a:extLst>
            </p:cNvPr>
            <p:cNvSpPr txBox="1"/>
            <p:nvPr/>
          </p:nvSpPr>
          <p:spPr>
            <a:xfrm>
              <a:off x="1559317" y="3470143"/>
              <a:ext cx="501440" cy="10409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2400"/>
                </a:spcBef>
              </a:pPr>
              <a:r>
                <a:rPr lang="en-US" sz="867">
                  <a:solidFill>
                    <a:schemeClr val="accent1"/>
                  </a:solidFill>
                </a:rPr>
                <a:t>Burbo Bank</a:t>
              </a:r>
              <a:endParaRPr lang="en-US" sz="867">
                <a:solidFill>
                  <a:schemeClr val="accent2"/>
                </a:solidFill>
              </a:endParaRPr>
            </a:p>
          </p:txBody>
        </p:sp>
      </p:grpSp>
      <p:grpSp>
        <p:nvGrpSpPr>
          <p:cNvPr id="822" name="Group 821">
            <a:extLst>
              <a:ext uri="{FF2B5EF4-FFF2-40B4-BE49-F238E27FC236}">
                <a16:creationId xmlns:a16="http://schemas.microsoft.com/office/drawing/2014/main" id="{4BE35784-6C4C-4D45-9A7A-6BB58DA3E7C4}"/>
              </a:ext>
            </a:extLst>
          </p:cNvPr>
          <p:cNvGrpSpPr>
            <a:grpSpLocks/>
          </p:cNvGrpSpPr>
          <p:nvPr/>
        </p:nvGrpSpPr>
        <p:grpSpPr>
          <a:xfrm>
            <a:off x="6829153" y="3795429"/>
            <a:ext cx="1341547" cy="174355"/>
            <a:chOff x="2170157" y="3320653"/>
            <a:chExt cx="1090008" cy="141664"/>
          </a:xfrm>
        </p:grpSpPr>
        <p:grpSp>
          <p:nvGrpSpPr>
            <p:cNvPr id="823" name="Group 822">
              <a:extLst>
                <a:ext uri="{FF2B5EF4-FFF2-40B4-BE49-F238E27FC236}">
                  <a16:creationId xmlns:a16="http://schemas.microsoft.com/office/drawing/2014/main" id="{55CA5A53-E4EF-074C-978B-04691D8F68FE}"/>
                </a:ext>
              </a:extLst>
            </p:cNvPr>
            <p:cNvGrpSpPr/>
            <p:nvPr/>
          </p:nvGrpSpPr>
          <p:grpSpPr>
            <a:xfrm>
              <a:off x="2170157" y="3320653"/>
              <a:ext cx="106316" cy="141664"/>
              <a:chOff x="2265548" y="3068441"/>
              <a:chExt cx="71521" cy="95300"/>
            </a:xfrm>
            <a:solidFill>
              <a:schemeClr val="accent1"/>
            </a:solidFill>
          </p:grpSpPr>
          <p:sp>
            <p:nvSpPr>
              <p:cNvPr id="825" name="Freeform: Shape 441">
                <a:extLst>
                  <a:ext uri="{FF2B5EF4-FFF2-40B4-BE49-F238E27FC236}">
                    <a16:creationId xmlns:a16="http://schemas.microsoft.com/office/drawing/2014/main" id="{78DCAE43-D286-CE43-976F-40C8A69F7BB5}"/>
                  </a:ext>
                </a:extLst>
              </p:cNvPr>
              <p:cNvSpPr/>
              <p:nvPr/>
            </p:nvSpPr>
            <p:spPr>
              <a:xfrm>
                <a:off x="2265548" y="3153152"/>
                <a:ext cx="66731" cy="10589"/>
              </a:xfrm>
              <a:custGeom>
                <a:avLst/>
                <a:gdLst>
                  <a:gd name="connsiteX0" fmla="*/ 62529 w 66731"/>
                  <a:gd name="connsiteY0" fmla="*/ 1513 h 10589"/>
                  <a:gd name="connsiteX1" fmla="*/ 61604 w 66731"/>
                  <a:gd name="connsiteY1" fmla="*/ 1933 h 10589"/>
                  <a:gd name="connsiteX2" fmla="*/ 55721 w 66731"/>
                  <a:gd name="connsiteY2" fmla="*/ 3530 h 10589"/>
                  <a:gd name="connsiteX3" fmla="*/ 49586 w 66731"/>
                  <a:gd name="connsiteY3" fmla="*/ 1681 h 10589"/>
                  <a:gd name="connsiteX4" fmla="*/ 49418 w 66731"/>
                  <a:gd name="connsiteY4" fmla="*/ 1597 h 10589"/>
                  <a:gd name="connsiteX5" fmla="*/ 44712 w 66731"/>
                  <a:gd name="connsiteY5" fmla="*/ 168 h 10589"/>
                  <a:gd name="connsiteX6" fmla="*/ 40005 w 66731"/>
                  <a:gd name="connsiteY6" fmla="*/ 1597 h 10589"/>
                  <a:gd name="connsiteX7" fmla="*/ 39837 w 66731"/>
                  <a:gd name="connsiteY7" fmla="*/ 1681 h 10589"/>
                  <a:gd name="connsiteX8" fmla="*/ 33702 w 66731"/>
                  <a:gd name="connsiteY8" fmla="*/ 3530 h 10589"/>
                  <a:gd name="connsiteX9" fmla="*/ 27567 w 66731"/>
                  <a:gd name="connsiteY9" fmla="*/ 1681 h 10589"/>
                  <a:gd name="connsiteX10" fmla="*/ 27398 w 66731"/>
                  <a:gd name="connsiteY10" fmla="*/ 1597 h 10589"/>
                  <a:gd name="connsiteX11" fmla="*/ 22692 w 66731"/>
                  <a:gd name="connsiteY11" fmla="*/ 168 h 10589"/>
                  <a:gd name="connsiteX12" fmla="*/ 17649 w 66731"/>
                  <a:gd name="connsiteY12" fmla="*/ 1513 h 10589"/>
                  <a:gd name="connsiteX13" fmla="*/ 11514 w 66731"/>
                  <a:gd name="connsiteY13" fmla="*/ 3362 h 10589"/>
                  <a:gd name="connsiteX14" fmla="*/ 5379 w 66731"/>
                  <a:gd name="connsiteY14" fmla="*/ 1513 h 10589"/>
                  <a:gd name="connsiteX15" fmla="*/ 5211 w 66731"/>
                  <a:gd name="connsiteY15" fmla="*/ 1429 h 10589"/>
                  <a:gd name="connsiteX16" fmla="*/ 588 w 66731"/>
                  <a:gd name="connsiteY16" fmla="*/ 0 h 10589"/>
                  <a:gd name="connsiteX17" fmla="*/ 0 w 66731"/>
                  <a:gd name="connsiteY17" fmla="*/ 0 h 10589"/>
                  <a:gd name="connsiteX18" fmla="*/ 0 w 66731"/>
                  <a:gd name="connsiteY18" fmla="*/ 7060 h 10589"/>
                  <a:gd name="connsiteX19" fmla="*/ 588 w 66731"/>
                  <a:gd name="connsiteY19" fmla="*/ 7060 h 10589"/>
                  <a:gd name="connsiteX20" fmla="*/ 3950 w 66731"/>
                  <a:gd name="connsiteY20" fmla="*/ 8237 h 10589"/>
                  <a:gd name="connsiteX21" fmla="*/ 4454 w 66731"/>
                  <a:gd name="connsiteY21" fmla="*/ 8489 h 10589"/>
                  <a:gd name="connsiteX22" fmla="*/ 11514 w 66731"/>
                  <a:gd name="connsiteY22" fmla="*/ 10590 h 10589"/>
                  <a:gd name="connsiteX23" fmla="*/ 19078 w 66731"/>
                  <a:gd name="connsiteY23" fmla="*/ 8237 h 10589"/>
                  <a:gd name="connsiteX24" fmla="*/ 19246 w 66731"/>
                  <a:gd name="connsiteY24" fmla="*/ 8153 h 10589"/>
                  <a:gd name="connsiteX25" fmla="*/ 22692 w 66731"/>
                  <a:gd name="connsiteY25" fmla="*/ 7060 h 10589"/>
                  <a:gd name="connsiteX26" fmla="*/ 26306 w 66731"/>
                  <a:gd name="connsiteY26" fmla="*/ 8237 h 10589"/>
                  <a:gd name="connsiteX27" fmla="*/ 26726 w 66731"/>
                  <a:gd name="connsiteY27" fmla="*/ 8489 h 10589"/>
                  <a:gd name="connsiteX28" fmla="*/ 33870 w 66731"/>
                  <a:gd name="connsiteY28" fmla="*/ 10590 h 10589"/>
                  <a:gd name="connsiteX29" fmla="*/ 41434 w 66731"/>
                  <a:gd name="connsiteY29" fmla="*/ 8237 h 10589"/>
                  <a:gd name="connsiteX30" fmla="*/ 41602 w 66731"/>
                  <a:gd name="connsiteY30" fmla="*/ 8153 h 10589"/>
                  <a:gd name="connsiteX31" fmla="*/ 45048 w 66731"/>
                  <a:gd name="connsiteY31" fmla="*/ 7060 h 10589"/>
                  <a:gd name="connsiteX32" fmla="*/ 48662 w 66731"/>
                  <a:gd name="connsiteY32" fmla="*/ 8237 h 10589"/>
                  <a:gd name="connsiteX33" fmla="*/ 49082 w 66731"/>
                  <a:gd name="connsiteY33" fmla="*/ 8489 h 10589"/>
                  <a:gd name="connsiteX34" fmla="*/ 56226 w 66731"/>
                  <a:gd name="connsiteY34" fmla="*/ 10590 h 10589"/>
                  <a:gd name="connsiteX35" fmla="*/ 63790 w 66731"/>
                  <a:gd name="connsiteY35" fmla="*/ 8237 h 10589"/>
                  <a:gd name="connsiteX36" fmla="*/ 66227 w 66731"/>
                  <a:gd name="connsiteY36" fmla="*/ 7144 h 10589"/>
                  <a:gd name="connsiteX37" fmla="*/ 66731 w 66731"/>
                  <a:gd name="connsiteY37" fmla="*/ 7060 h 10589"/>
                  <a:gd name="connsiteX38" fmla="*/ 66731 w 66731"/>
                  <a:gd name="connsiteY38" fmla="*/ 0 h 10589"/>
                  <a:gd name="connsiteX39" fmla="*/ 66059 w 66731"/>
                  <a:gd name="connsiteY39" fmla="*/ 84 h 10589"/>
                  <a:gd name="connsiteX40" fmla="*/ 62529 w 66731"/>
                  <a:gd name="connsiteY40" fmla="*/ 1513 h 10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66731" h="10589">
                    <a:moveTo>
                      <a:pt x="62529" y="1513"/>
                    </a:moveTo>
                    <a:cubicBezTo>
                      <a:pt x="62193" y="1681"/>
                      <a:pt x="61856" y="1849"/>
                      <a:pt x="61604" y="1933"/>
                    </a:cubicBezTo>
                    <a:cubicBezTo>
                      <a:pt x="60008" y="2689"/>
                      <a:pt x="58327" y="3530"/>
                      <a:pt x="55721" y="3530"/>
                    </a:cubicBezTo>
                    <a:cubicBezTo>
                      <a:pt x="52528" y="3530"/>
                      <a:pt x="51015" y="2522"/>
                      <a:pt x="49586" y="1681"/>
                    </a:cubicBezTo>
                    <a:lnTo>
                      <a:pt x="49418" y="1597"/>
                    </a:lnTo>
                    <a:cubicBezTo>
                      <a:pt x="48157" y="841"/>
                      <a:pt x="46981" y="168"/>
                      <a:pt x="44712" y="168"/>
                    </a:cubicBezTo>
                    <a:cubicBezTo>
                      <a:pt x="42442" y="168"/>
                      <a:pt x="41182" y="841"/>
                      <a:pt x="40005" y="1597"/>
                    </a:cubicBezTo>
                    <a:lnTo>
                      <a:pt x="39837" y="1681"/>
                    </a:lnTo>
                    <a:cubicBezTo>
                      <a:pt x="38492" y="2522"/>
                      <a:pt x="36895" y="3530"/>
                      <a:pt x="33702" y="3530"/>
                    </a:cubicBezTo>
                    <a:cubicBezTo>
                      <a:pt x="30508" y="3530"/>
                      <a:pt x="28911" y="2522"/>
                      <a:pt x="27567" y="1681"/>
                    </a:cubicBezTo>
                    <a:lnTo>
                      <a:pt x="27398" y="1597"/>
                    </a:lnTo>
                    <a:cubicBezTo>
                      <a:pt x="26138" y="841"/>
                      <a:pt x="24961" y="168"/>
                      <a:pt x="22692" y="168"/>
                    </a:cubicBezTo>
                    <a:cubicBezTo>
                      <a:pt x="20255" y="168"/>
                      <a:pt x="19078" y="757"/>
                      <a:pt x="17649" y="1513"/>
                    </a:cubicBezTo>
                    <a:cubicBezTo>
                      <a:pt x="16305" y="2353"/>
                      <a:pt x="14708" y="3362"/>
                      <a:pt x="11514" y="3362"/>
                    </a:cubicBezTo>
                    <a:cubicBezTo>
                      <a:pt x="8404" y="3362"/>
                      <a:pt x="6724" y="2353"/>
                      <a:pt x="5379" y="1513"/>
                    </a:cubicBezTo>
                    <a:lnTo>
                      <a:pt x="5211" y="1429"/>
                    </a:lnTo>
                    <a:cubicBezTo>
                      <a:pt x="3950" y="672"/>
                      <a:pt x="2773" y="0"/>
                      <a:pt x="588" y="0"/>
                    </a:cubicBezTo>
                    <a:lnTo>
                      <a:pt x="0" y="0"/>
                    </a:lnTo>
                    <a:lnTo>
                      <a:pt x="0" y="7060"/>
                    </a:lnTo>
                    <a:lnTo>
                      <a:pt x="588" y="7060"/>
                    </a:lnTo>
                    <a:cubicBezTo>
                      <a:pt x="2101" y="7060"/>
                      <a:pt x="2858" y="7480"/>
                      <a:pt x="3950" y="8237"/>
                    </a:cubicBezTo>
                    <a:lnTo>
                      <a:pt x="4454" y="8489"/>
                    </a:lnTo>
                    <a:cubicBezTo>
                      <a:pt x="5967" y="9329"/>
                      <a:pt x="8068" y="10590"/>
                      <a:pt x="11514" y="10590"/>
                    </a:cubicBezTo>
                    <a:cubicBezTo>
                      <a:pt x="15212" y="10590"/>
                      <a:pt x="17313" y="9413"/>
                      <a:pt x="19078" y="8237"/>
                    </a:cubicBezTo>
                    <a:lnTo>
                      <a:pt x="19246" y="8153"/>
                    </a:lnTo>
                    <a:cubicBezTo>
                      <a:pt x="20339" y="7480"/>
                      <a:pt x="21011" y="7060"/>
                      <a:pt x="22692" y="7060"/>
                    </a:cubicBezTo>
                    <a:cubicBezTo>
                      <a:pt x="24373" y="7060"/>
                      <a:pt x="25297" y="7564"/>
                      <a:pt x="26306" y="8237"/>
                    </a:cubicBezTo>
                    <a:lnTo>
                      <a:pt x="26726" y="8489"/>
                    </a:lnTo>
                    <a:cubicBezTo>
                      <a:pt x="28239" y="9329"/>
                      <a:pt x="30340" y="10590"/>
                      <a:pt x="33870" y="10590"/>
                    </a:cubicBezTo>
                    <a:cubicBezTo>
                      <a:pt x="37568" y="10590"/>
                      <a:pt x="39669" y="9413"/>
                      <a:pt x="41434" y="8237"/>
                    </a:cubicBezTo>
                    <a:lnTo>
                      <a:pt x="41602" y="8153"/>
                    </a:lnTo>
                    <a:cubicBezTo>
                      <a:pt x="42694" y="7480"/>
                      <a:pt x="43367" y="7060"/>
                      <a:pt x="45048" y="7060"/>
                    </a:cubicBezTo>
                    <a:cubicBezTo>
                      <a:pt x="46729" y="7060"/>
                      <a:pt x="47653" y="7564"/>
                      <a:pt x="48662" y="8237"/>
                    </a:cubicBezTo>
                    <a:lnTo>
                      <a:pt x="49082" y="8489"/>
                    </a:lnTo>
                    <a:cubicBezTo>
                      <a:pt x="50595" y="9329"/>
                      <a:pt x="52696" y="10590"/>
                      <a:pt x="56226" y="10590"/>
                    </a:cubicBezTo>
                    <a:cubicBezTo>
                      <a:pt x="59923" y="10590"/>
                      <a:pt x="62025" y="9413"/>
                      <a:pt x="63790" y="8237"/>
                    </a:cubicBezTo>
                    <a:cubicBezTo>
                      <a:pt x="64630" y="7648"/>
                      <a:pt x="65302" y="7228"/>
                      <a:pt x="66227" y="7144"/>
                    </a:cubicBezTo>
                    <a:lnTo>
                      <a:pt x="66731" y="7060"/>
                    </a:lnTo>
                    <a:lnTo>
                      <a:pt x="66731" y="0"/>
                    </a:lnTo>
                    <a:lnTo>
                      <a:pt x="66059" y="84"/>
                    </a:lnTo>
                    <a:cubicBezTo>
                      <a:pt x="64546" y="337"/>
                      <a:pt x="63537" y="841"/>
                      <a:pt x="62529" y="151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26" name="Freeform: Shape 442">
                <a:extLst>
                  <a:ext uri="{FF2B5EF4-FFF2-40B4-BE49-F238E27FC236}">
                    <a16:creationId xmlns:a16="http://schemas.microsoft.com/office/drawing/2014/main" id="{0ECA1649-B368-894B-BF66-F497ACA1B331}"/>
                  </a:ext>
                </a:extLst>
              </p:cNvPr>
              <p:cNvSpPr/>
              <p:nvPr/>
            </p:nvSpPr>
            <p:spPr>
              <a:xfrm>
                <a:off x="2294459" y="3101465"/>
                <a:ext cx="8908" cy="8908"/>
              </a:xfrm>
              <a:custGeom>
                <a:avLst/>
                <a:gdLst>
                  <a:gd name="connsiteX0" fmla="*/ 8909 w 8908"/>
                  <a:gd name="connsiteY0" fmla="*/ 4454 h 8908"/>
                  <a:gd name="connsiteX1" fmla="*/ 4454 w 8908"/>
                  <a:gd name="connsiteY1" fmla="*/ 8909 h 8908"/>
                  <a:gd name="connsiteX2" fmla="*/ 0 w 8908"/>
                  <a:gd name="connsiteY2" fmla="*/ 4454 h 8908"/>
                  <a:gd name="connsiteX3" fmla="*/ 4454 w 8908"/>
                  <a:gd name="connsiteY3" fmla="*/ 0 h 8908"/>
                  <a:gd name="connsiteX4" fmla="*/ 8909 w 8908"/>
                  <a:gd name="connsiteY4" fmla="*/ 4454 h 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8">
                    <a:moveTo>
                      <a:pt x="8909" y="4454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4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1933"/>
                      <a:pt x="8909" y="4454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27" name="Freeform: Shape 443">
                <a:extLst>
                  <a:ext uri="{FF2B5EF4-FFF2-40B4-BE49-F238E27FC236}">
                    <a16:creationId xmlns:a16="http://schemas.microsoft.com/office/drawing/2014/main" id="{5C952306-0C1D-5940-8FDB-4EDFE16B591D}"/>
                  </a:ext>
                </a:extLst>
              </p:cNvPr>
              <p:cNvSpPr/>
              <p:nvPr/>
            </p:nvSpPr>
            <p:spPr>
              <a:xfrm>
                <a:off x="2287231" y="3068441"/>
                <a:ext cx="14623" cy="29573"/>
              </a:xfrm>
              <a:custGeom>
                <a:avLst/>
                <a:gdLst>
                  <a:gd name="connsiteX0" fmla="*/ 0 w 14623"/>
                  <a:gd name="connsiteY0" fmla="*/ 163 h 29573"/>
                  <a:gd name="connsiteX1" fmla="*/ 4370 w 14623"/>
                  <a:gd name="connsiteY1" fmla="*/ 22519 h 29573"/>
                  <a:gd name="connsiteX2" fmla="*/ 14624 w 14623"/>
                  <a:gd name="connsiteY2" fmla="*/ 29410 h 29573"/>
                  <a:gd name="connsiteX3" fmla="*/ 10253 w 14623"/>
                  <a:gd name="connsiteY3" fmla="*/ 7054 h 29573"/>
                  <a:gd name="connsiteX4" fmla="*/ 0 w 14623"/>
                  <a:gd name="connsiteY4" fmla="*/ 163 h 29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3">
                    <a:moveTo>
                      <a:pt x="0" y="163"/>
                    </a:moveTo>
                    <a:lnTo>
                      <a:pt x="4370" y="22519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28" name="Freeform: Shape 444">
                <a:extLst>
                  <a:ext uri="{FF2B5EF4-FFF2-40B4-BE49-F238E27FC236}">
                    <a16:creationId xmlns:a16="http://schemas.microsoft.com/office/drawing/2014/main" id="{6B86956F-B04B-414F-823D-73A90DC5783D}"/>
                  </a:ext>
                </a:extLst>
              </p:cNvPr>
              <p:cNvSpPr/>
              <p:nvPr/>
            </p:nvSpPr>
            <p:spPr>
              <a:xfrm>
                <a:off x="2270285" y="3107348"/>
                <a:ext cx="22294" cy="27397"/>
              </a:xfrm>
              <a:custGeom>
                <a:avLst/>
                <a:gdLst>
                  <a:gd name="connsiteX0" fmla="*/ 2154 w 22294"/>
                  <a:gd name="connsiteY0" fmla="*/ 27398 h 27397"/>
                  <a:gd name="connsiteX1" fmla="*/ 19299 w 22294"/>
                  <a:gd name="connsiteY1" fmla="*/ 12354 h 27397"/>
                  <a:gd name="connsiteX2" fmla="*/ 20140 w 22294"/>
                  <a:gd name="connsiteY2" fmla="*/ 0 h 27397"/>
                  <a:gd name="connsiteX3" fmla="*/ 2995 w 22294"/>
                  <a:gd name="connsiteY3" fmla="*/ 14960 h 27397"/>
                  <a:gd name="connsiteX4" fmla="*/ 2154 w 22294"/>
                  <a:gd name="connsiteY4" fmla="*/ 27398 h 27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7">
                    <a:moveTo>
                      <a:pt x="2154" y="27398"/>
                    </a:moveTo>
                    <a:lnTo>
                      <a:pt x="19299" y="12354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7"/>
                      <a:pt x="-1039" y="23784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29" name="Freeform: Shape 445">
                <a:extLst>
                  <a:ext uri="{FF2B5EF4-FFF2-40B4-BE49-F238E27FC236}">
                    <a16:creationId xmlns:a16="http://schemas.microsoft.com/office/drawing/2014/main" id="{58F9E2AE-2672-4244-BFEE-44900F947756}"/>
                  </a:ext>
                </a:extLst>
              </p:cNvPr>
              <p:cNvSpPr/>
              <p:nvPr/>
            </p:nvSpPr>
            <p:spPr>
              <a:xfrm>
                <a:off x="2304376" y="3106564"/>
                <a:ext cx="32693" cy="13670"/>
              </a:xfrm>
              <a:custGeom>
                <a:avLst/>
                <a:gdLst>
                  <a:gd name="connsiteX0" fmla="*/ 32693 w 32693"/>
                  <a:gd name="connsiteY0" fmla="*/ 7676 h 13670"/>
                  <a:gd name="connsiteX1" fmla="*/ 11094 w 32693"/>
                  <a:gd name="connsiteY1" fmla="*/ 448 h 13670"/>
                  <a:gd name="connsiteX2" fmla="*/ 0 w 32693"/>
                  <a:gd name="connsiteY2" fmla="*/ 5995 h 13670"/>
                  <a:gd name="connsiteX3" fmla="*/ 21599 w 32693"/>
                  <a:gd name="connsiteY3" fmla="*/ 13223 h 13670"/>
                  <a:gd name="connsiteX4" fmla="*/ 32693 w 32693"/>
                  <a:gd name="connsiteY4" fmla="*/ 7676 h 13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70">
                    <a:moveTo>
                      <a:pt x="32693" y="7676"/>
                    </a:moveTo>
                    <a:lnTo>
                      <a:pt x="11094" y="448"/>
                    </a:lnTo>
                    <a:cubicBezTo>
                      <a:pt x="6555" y="-1065"/>
                      <a:pt x="1513" y="1373"/>
                      <a:pt x="0" y="5995"/>
                    </a:cubicBezTo>
                    <a:lnTo>
                      <a:pt x="21599" y="13223"/>
                    </a:lnTo>
                    <a:cubicBezTo>
                      <a:pt x="26222" y="14735"/>
                      <a:pt x="31180" y="12298"/>
                      <a:pt x="32693" y="76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30" name="Freeform: Shape 446">
                <a:extLst>
                  <a:ext uri="{FF2B5EF4-FFF2-40B4-BE49-F238E27FC236}">
                    <a16:creationId xmlns:a16="http://schemas.microsoft.com/office/drawing/2014/main" id="{EF6E0350-A23A-B94E-9B68-61F6C38A063C}"/>
                  </a:ext>
                </a:extLst>
              </p:cNvPr>
              <p:cNvSpPr/>
              <p:nvPr/>
            </p:nvSpPr>
            <p:spPr>
              <a:xfrm>
                <a:off x="2293114" y="3114975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3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3"/>
                      <a:pt x="420" y="21872"/>
                      <a:pt x="0" y="33555"/>
                    </a:cubicBezTo>
                    <a:cubicBezTo>
                      <a:pt x="1765" y="34984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</p:grpSp>
        <p:sp>
          <p:nvSpPr>
            <p:cNvPr id="824" name="TextBox 823">
              <a:extLst>
                <a:ext uri="{FF2B5EF4-FFF2-40B4-BE49-F238E27FC236}">
                  <a16:creationId xmlns:a16="http://schemas.microsoft.com/office/drawing/2014/main" id="{30BF9BC6-1C2E-5E40-9516-AA25F2583D06}"/>
                </a:ext>
              </a:extLst>
            </p:cNvPr>
            <p:cNvSpPr txBox="1"/>
            <p:nvPr/>
          </p:nvSpPr>
          <p:spPr>
            <a:xfrm>
              <a:off x="2327617" y="3345834"/>
              <a:ext cx="932548" cy="10409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2400"/>
                </a:spcBef>
              </a:pPr>
              <a:r>
                <a:rPr lang="en-US" sz="867">
                  <a:solidFill>
                    <a:schemeClr val="accent1"/>
                  </a:solidFill>
                </a:rPr>
                <a:t>Burbo Bank Extension</a:t>
              </a:r>
              <a:endParaRPr lang="en-US" sz="867">
                <a:solidFill>
                  <a:schemeClr val="accent2"/>
                </a:solidFill>
              </a:endParaRPr>
            </a:p>
          </p:txBody>
        </p:sp>
      </p:grpSp>
      <p:grpSp>
        <p:nvGrpSpPr>
          <p:cNvPr id="831" name="Group 830">
            <a:extLst>
              <a:ext uri="{FF2B5EF4-FFF2-40B4-BE49-F238E27FC236}">
                <a16:creationId xmlns:a16="http://schemas.microsoft.com/office/drawing/2014/main" id="{C845F1E8-C9A7-8A4F-BEA9-354749B17CCB}"/>
              </a:ext>
            </a:extLst>
          </p:cNvPr>
          <p:cNvGrpSpPr>
            <a:grpSpLocks/>
          </p:cNvGrpSpPr>
          <p:nvPr/>
        </p:nvGrpSpPr>
        <p:grpSpPr>
          <a:xfrm>
            <a:off x="6907864" y="3471787"/>
            <a:ext cx="584927" cy="189847"/>
            <a:chOff x="2199788" y="3084446"/>
            <a:chExt cx="475254" cy="154252"/>
          </a:xfrm>
        </p:grpSpPr>
        <p:grpSp>
          <p:nvGrpSpPr>
            <p:cNvPr id="832" name="Group 831">
              <a:extLst>
                <a:ext uri="{FF2B5EF4-FFF2-40B4-BE49-F238E27FC236}">
                  <a16:creationId xmlns:a16="http://schemas.microsoft.com/office/drawing/2014/main" id="{EEE9D752-0898-BE4A-9024-440F8B86742F}"/>
                </a:ext>
              </a:extLst>
            </p:cNvPr>
            <p:cNvGrpSpPr/>
            <p:nvPr/>
          </p:nvGrpSpPr>
          <p:grpSpPr>
            <a:xfrm>
              <a:off x="2199788" y="3084446"/>
              <a:ext cx="106316" cy="141664"/>
              <a:chOff x="2265548" y="3068441"/>
              <a:chExt cx="71521" cy="95300"/>
            </a:xfrm>
            <a:solidFill>
              <a:schemeClr val="accent1"/>
            </a:solidFill>
          </p:grpSpPr>
          <p:sp>
            <p:nvSpPr>
              <p:cNvPr id="834" name="Freeform: Shape 450">
                <a:extLst>
                  <a:ext uri="{FF2B5EF4-FFF2-40B4-BE49-F238E27FC236}">
                    <a16:creationId xmlns:a16="http://schemas.microsoft.com/office/drawing/2014/main" id="{8F91E960-7790-3C42-805E-2FCC46BA214F}"/>
                  </a:ext>
                </a:extLst>
              </p:cNvPr>
              <p:cNvSpPr/>
              <p:nvPr/>
            </p:nvSpPr>
            <p:spPr>
              <a:xfrm>
                <a:off x="2265548" y="3153152"/>
                <a:ext cx="66731" cy="10589"/>
              </a:xfrm>
              <a:custGeom>
                <a:avLst/>
                <a:gdLst>
                  <a:gd name="connsiteX0" fmla="*/ 62529 w 66731"/>
                  <a:gd name="connsiteY0" fmla="*/ 1513 h 10589"/>
                  <a:gd name="connsiteX1" fmla="*/ 61604 w 66731"/>
                  <a:gd name="connsiteY1" fmla="*/ 1933 h 10589"/>
                  <a:gd name="connsiteX2" fmla="*/ 55721 w 66731"/>
                  <a:gd name="connsiteY2" fmla="*/ 3530 h 10589"/>
                  <a:gd name="connsiteX3" fmla="*/ 49586 w 66731"/>
                  <a:gd name="connsiteY3" fmla="*/ 1681 h 10589"/>
                  <a:gd name="connsiteX4" fmla="*/ 49418 w 66731"/>
                  <a:gd name="connsiteY4" fmla="*/ 1597 h 10589"/>
                  <a:gd name="connsiteX5" fmla="*/ 44712 w 66731"/>
                  <a:gd name="connsiteY5" fmla="*/ 168 h 10589"/>
                  <a:gd name="connsiteX6" fmla="*/ 40005 w 66731"/>
                  <a:gd name="connsiteY6" fmla="*/ 1597 h 10589"/>
                  <a:gd name="connsiteX7" fmla="*/ 39837 w 66731"/>
                  <a:gd name="connsiteY7" fmla="*/ 1681 h 10589"/>
                  <a:gd name="connsiteX8" fmla="*/ 33702 w 66731"/>
                  <a:gd name="connsiteY8" fmla="*/ 3530 h 10589"/>
                  <a:gd name="connsiteX9" fmla="*/ 27567 w 66731"/>
                  <a:gd name="connsiteY9" fmla="*/ 1681 h 10589"/>
                  <a:gd name="connsiteX10" fmla="*/ 27398 w 66731"/>
                  <a:gd name="connsiteY10" fmla="*/ 1597 h 10589"/>
                  <a:gd name="connsiteX11" fmla="*/ 22692 w 66731"/>
                  <a:gd name="connsiteY11" fmla="*/ 168 h 10589"/>
                  <a:gd name="connsiteX12" fmla="*/ 17649 w 66731"/>
                  <a:gd name="connsiteY12" fmla="*/ 1513 h 10589"/>
                  <a:gd name="connsiteX13" fmla="*/ 11514 w 66731"/>
                  <a:gd name="connsiteY13" fmla="*/ 3362 h 10589"/>
                  <a:gd name="connsiteX14" fmla="*/ 5379 w 66731"/>
                  <a:gd name="connsiteY14" fmla="*/ 1513 h 10589"/>
                  <a:gd name="connsiteX15" fmla="*/ 5211 w 66731"/>
                  <a:gd name="connsiteY15" fmla="*/ 1429 h 10589"/>
                  <a:gd name="connsiteX16" fmla="*/ 588 w 66731"/>
                  <a:gd name="connsiteY16" fmla="*/ 0 h 10589"/>
                  <a:gd name="connsiteX17" fmla="*/ 0 w 66731"/>
                  <a:gd name="connsiteY17" fmla="*/ 0 h 10589"/>
                  <a:gd name="connsiteX18" fmla="*/ 0 w 66731"/>
                  <a:gd name="connsiteY18" fmla="*/ 7060 h 10589"/>
                  <a:gd name="connsiteX19" fmla="*/ 588 w 66731"/>
                  <a:gd name="connsiteY19" fmla="*/ 7060 h 10589"/>
                  <a:gd name="connsiteX20" fmla="*/ 3950 w 66731"/>
                  <a:gd name="connsiteY20" fmla="*/ 8237 h 10589"/>
                  <a:gd name="connsiteX21" fmla="*/ 4454 w 66731"/>
                  <a:gd name="connsiteY21" fmla="*/ 8489 h 10589"/>
                  <a:gd name="connsiteX22" fmla="*/ 11514 w 66731"/>
                  <a:gd name="connsiteY22" fmla="*/ 10590 h 10589"/>
                  <a:gd name="connsiteX23" fmla="*/ 19078 w 66731"/>
                  <a:gd name="connsiteY23" fmla="*/ 8237 h 10589"/>
                  <a:gd name="connsiteX24" fmla="*/ 19246 w 66731"/>
                  <a:gd name="connsiteY24" fmla="*/ 8153 h 10589"/>
                  <a:gd name="connsiteX25" fmla="*/ 22692 w 66731"/>
                  <a:gd name="connsiteY25" fmla="*/ 7060 h 10589"/>
                  <a:gd name="connsiteX26" fmla="*/ 26306 w 66731"/>
                  <a:gd name="connsiteY26" fmla="*/ 8237 h 10589"/>
                  <a:gd name="connsiteX27" fmla="*/ 26726 w 66731"/>
                  <a:gd name="connsiteY27" fmla="*/ 8489 h 10589"/>
                  <a:gd name="connsiteX28" fmla="*/ 33870 w 66731"/>
                  <a:gd name="connsiteY28" fmla="*/ 10590 h 10589"/>
                  <a:gd name="connsiteX29" fmla="*/ 41434 w 66731"/>
                  <a:gd name="connsiteY29" fmla="*/ 8237 h 10589"/>
                  <a:gd name="connsiteX30" fmla="*/ 41602 w 66731"/>
                  <a:gd name="connsiteY30" fmla="*/ 8153 h 10589"/>
                  <a:gd name="connsiteX31" fmla="*/ 45048 w 66731"/>
                  <a:gd name="connsiteY31" fmla="*/ 7060 h 10589"/>
                  <a:gd name="connsiteX32" fmla="*/ 48662 w 66731"/>
                  <a:gd name="connsiteY32" fmla="*/ 8237 h 10589"/>
                  <a:gd name="connsiteX33" fmla="*/ 49082 w 66731"/>
                  <a:gd name="connsiteY33" fmla="*/ 8489 h 10589"/>
                  <a:gd name="connsiteX34" fmla="*/ 56226 w 66731"/>
                  <a:gd name="connsiteY34" fmla="*/ 10590 h 10589"/>
                  <a:gd name="connsiteX35" fmla="*/ 63790 w 66731"/>
                  <a:gd name="connsiteY35" fmla="*/ 8237 h 10589"/>
                  <a:gd name="connsiteX36" fmla="*/ 66227 w 66731"/>
                  <a:gd name="connsiteY36" fmla="*/ 7144 h 10589"/>
                  <a:gd name="connsiteX37" fmla="*/ 66731 w 66731"/>
                  <a:gd name="connsiteY37" fmla="*/ 7060 h 10589"/>
                  <a:gd name="connsiteX38" fmla="*/ 66731 w 66731"/>
                  <a:gd name="connsiteY38" fmla="*/ 0 h 10589"/>
                  <a:gd name="connsiteX39" fmla="*/ 66059 w 66731"/>
                  <a:gd name="connsiteY39" fmla="*/ 84 h 10589"/>
                  <a:gd name="connsiteX40" fmla="*/ 62529 w 66731"/>
                  <a:gd name="connsiteY40" fmla="*/ 1513 h 10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66731" h="10589">
                    <a:moveTo>
                      <a:pt x="62529" y="1513"/>
                    </a:moveTo>
                    <a:cubicBezTo>
                      <a:pt x="62193" y="1681"/>
                      <a:pt x="61856" y="1849"/>
                      <a:pt x="61604" y="1933"/>
                    </a:cubicBezTo>
                    <a:cubicBezTo>
                      <a:pt x="60008" y="2689"/>
                      <a:pt x="58327" y="3530"/>
                      <a:pt x="55721" y="3530"/>
                    </a:cubicBezTo>
                    <a:cubicBezTo>
                      <a:pt x="52528" y="3530"/>
                      <a:pt x="51015" y="2522"/>
                      <a:pt x="49586" y="1681"/>
                    </a:cubicBezTo>
                    <a:lnTo>
                      <a:pt x="49418" y="1597"/>
                    </a:lnTo>
                    <a:cubicBezTo>
                      <a:pt x="48157" y="841"/>
                      <a:pt x="46981" y="168"/>
                      <a:pt x="44712" y="168"/>
                    </a:cubicBezTo>
                    <a:cubicBezTo>
                      <a:pt x="42442" y="168"/>
                      <a:pt x="41182" y="841"/>
                      <a:pt x="40005" y="1597"/>
                    </a:cubicBezTo>
                    <a:lnTo>
                      <a:pt x="39837" y="1681"/>
                    </a:lnTo>
                    <a:cubicBezTo>
                      <a:pt x="38492" y="2522"/>
                      <a:pt x="36895" y="3530"/>
                      <a:pt x="33702" y="3530"/>
                    </a:cubicBezTo>
                    <a:cubicBezTo>
                      <a:pt x="30508" y="3530"/>
                      <a:pt x="28911" y="2522"/>
                      <a:pt x="27567" y="1681"/>
                    </a:cubicBezTo>
                    <a:lnTo>
                      <a:pt x="27398" y="1597"/>
                    </a:lnTo>
                    <a:cubicBezTo>
                      <a:pt x="26138" y="841"/>
                      <a:pt x="24961" y="168"/>
                      <a:pt x="22692" y="168"/>
                    </a:cubicBezTo>
                    <a:cubicBezTo>
                      <a:pt x="20255" y="168"/>
                      <a:pt x="19078" y="757"/>
                      <a:pt x="17649" y="1513"/>
                    </a:cubicBezTo>
                    <a:cubicBezTo>
                      <a:pt x="16305" y="2353"/>
                      <a:pt x="14708" y="3362"/>
                      <a:pt x="11514" y="3362"/>
                    </a:cubicBezTo>
                    <a:cubicBezTo>
                      <a:pt x="8404" y="3362"/>
                      <a:pt x="6724" y="2353"/>
                      <a:pt x="5379" y="1513"/>
                    </a:cubicBezTo>
                    <a:lnTo>
                      <a:pt x="5211" y="1429"/>
                    </a:lnTo>
                    <a:cubicBezTo>
                      <a:pt x="3950" y="672"/>
                      <a:pt x="2773" y="0"/>
                      <a:pt x="588" y="0"/>
                    </a:cubicBezTo>
                    <a:lnTo>
                      <a:pt x="0" y="0"/>
                    </a:lnTo>
                    <a:lnTo>
                      <a:pt x="0" y="7060"/>
                    </a:lnTo>
                    <a:lnTo>
                      <a:pt x="588" y="7060"/>
                    </a:lnTo>
                    <a:cubicBezTo>
                      <a:pt x="2101" y="7060"/>
                      <a:pt x="2858" y="7480"/>
                      <a:pt x="3950" y="8237"/>
                    </a:cubicBezTo>
                    <a:lnTo>
                      <a:pt x="4454" y="8489"/>
                    </a:lnTo>
                    <a:cubicBezTo>
                      <a:pt x="5967" y="9329"/>
                      <a:pt x="8068" y="10590"/>
                      <a:pt x="11514" y="10590"/>
                    </a:cubicBezTo>
                    <a:cubicBezTo>
                      <a:pt x="15212" y="10590"/>
                      <a:pt x="17313" y="9413"/>
                      <a:pt x="19078" y="8237"/>
                    </a:cubicBezTo>
                    <a:lnTo>
                      <a:pt x="19246" y="8153"/>
                    </a:lnTo>
                    <a:cubicBezTo>
                      <a:pt x="20339" y="7480"/>
                      <a:pt x="21011" y="7060"/>
                      <a:pt x="22692" y="7060"/>
                    </a:cubicBezTo>
                    <a:cubicBezTo>
                      <a:pt x="24373" y="7060"/>
                      <a:pt x="25297" y="7564"/>
                      <a:pt x="26306" y="8237"/>
                    </a:cubicBezTo>
                    <a:lnTo>
                      <a:pt x="26726" y="8489"/>
                    </a:lnTo>
                    <a:cubicBezTo>
                      <a:pt x="28239" y="9329"/>
                      <a:pt x="30340" y="10590"/>
                      <a:pt x="33870" y="10590"/>
                    </a:cubicBezTo>
                    <a:cubicBezTo>
                      <a:pt x="37568" y="10590"/>
                      <a:pt x="39669" y="9413"/>
                      <a:pt x="41434" y="8237"/>
                    </a:cubicBezTo>
                    <a:lnTo>
                      <a:pt x="41602" y="8153"/>
                    </a:lnTo>
                    <a:cubicBezTo>
                      <a:pt x="42694" y="7480"/>
                      <a:pt x="43367" y="7060"/>
                      <a:pt x="45048" y="7060"/>
                    </a:cubicBezTo>
                    <a:cubicBezTo>
                      <a:pt x="46729" y="7060"/>
                      <a:pt x="47653" y="7564"/>
                      <a:pt x="48662" y="8237"/>
                    </a:cubicBezTo>
                    <a:lnTo>
                      <a:pt x="49082" y="8489"/>
                    </a:lnTo>
                    <a:cubicBezTo>
                      <a:pt x="50595" y="9329"/>
                      <a:pt x="52696" y="10590"/>
                      <a:pt x="56226" y="10590"/>
                    </a:cubicBezTo>
                    <a:cubicBezTo>
                      <a:pt x="59923" y="10590"/>
                      <a:pt x="62025" y="9413"/>
                      <a:pt x="63790" y="8237"/>
                    </a:cubicBezTo>
                    <a:cubicBezTo>
                      <a:pt x="64630" y="7648"/>
                      <a:pt x="65302" y="7228"/>
                      <a:pt x="66227" y="7144"/>
                    </a:cubicBezTo>
                    <a:lnTo>
                      <a:pt x="66731" y="7060"/>
                    </a:lnTo>
                    <a:lnTo>
                      <a:pt x="66731" y="0"/>
                    </a:lnTo>
                    <a:lnTo>
                      <a:pt x="66059" y="84"/>
                    </a:lnTo>
                    <a:cubicBezTo>
                      <a:pt x="64546" y="337"/>
                      <a:pt x="63537" y="841"/>
                      <a:pt x="62529" y="151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35" name="Freeform: Shape 451">
                <a:extLst>
                  <a:ext uri="{FF2B5EF4-FFF2-40B4-BE49-F238E27FC236}">
                    <a16:creationId xmlns:a16="http://schemas.microsoft.com/office/drawing/2014/main" id="{8245AD71-951D-E149-9C03-47E78047DC5F}"/>
                  </a:ext>
                </a:extLst>
              </p:cNvPr>
              <p:cNvSpPr/>
              <p:nvPr/>
            </p:nvSpPr>
            <p:spPr>
              <a:xfrm>
                <a:off x="2294459" y="3101465"/>
                <a:ext cx="8908" cy="8908"/>
              </a:xfrm>
              <a:custGeom>
                <a:avLst/>
                <a:gdLst>
                  <a:gd name="connsiteX0" fmla="*/ 8909 w 8908"/>
                  <a:gd name="connsiteY0" fmla="*/ 4454 h 8908"/>
                  <a:gd name="connsiteX1" fmla="*/ 4454 w 8908"/>
                  <a:gd name="connsiteY1" fmla="*/ 8909 h 8908"/>
                  <a:gd name="connsiteX2" fmla="*/ 0 w 8908"/>
                  <a:gd name="connsiteY2" fmla="*/ 4454 h 8908"/>
                  <a:gd name="connsiteX3" fmla="*/ 4454 w 8908"/>
                  <a:gd name="connsiteY3" fmla="*/ 0 h 8908"/>
                  <a:gd name="connsiteX4" fmla="*/ 8909 w 8908"/>
                  <a:gd name="connsiteY4" fmla="*/ 4454 h 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8">
                    <a:moveTo>
                      <a:pt x="8909" y="4454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4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1933"/>
                      <a:pt x="8909" y="4454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36" name="Freeform: Shape 452">
                <a:extLst>
                  <a:ext uri="{FF2B5EF4-FFF2-40B4-BE49-F238E27FC236}">
                    <a16:creationId xmlns:a16="http://schemas.microsoft.com/office/drawing/2014/main" id="{3D697649-2045-B246-9ADE-393882CD74EA}"/>
                  </a:ext>
                </a:extLst>
              </p:cNvPr>
              <p:cNvSpPr/>
              <p:nvPr/>
            </p:nvSpPr>
            <p:spPr>
              <a:xfrm>
                <a:off x="2287231" y="3068441"/>
                <a:ext cx="14623" cy="29573"/>
              </a:xfrm>
              <a:custGeom>
                <a:avLst/>
                <a:gdLst>
                  <a:gd name="connsiteX0" fmla="*/ 0 w 14623"/>
                  <a:gd name="connsiteY0" fmla="*/ 163 h 29573"/>
                  <a:gd name="connsiteX1" fmla="*/ 4370 w 14623"/>
                  <a:gd name="connsiteY1" fmla="*/ 22519 h 29573"/>
                  <a:gd name="connsiteX2" fmla="*/ 14624 w 14623"/>
                  <a:gd name="connsiteY2" fmla="*/ 29410 h 29573"/>
                  <a:gd name="connsiteX3" fmla="*/ 10253 w 14623"/>
                  <a:gd name="connsiteY3" fmla="*/ 7054 h 29573"/>
                  <a:gd name="connsiteX4" fmla="*/ 0 w 14623"/>
                  <a:gd name="connsiteY4" fmla="*/ 163 h 29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3">
                    <a:moveTo>
                      <a:pt x="0" y="163"/>
                    </a:moveTo>
                    <a:lnTo>
                      <a:pt x="4370" y="22519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37" name="Freeform: Shape 453">
                <a:extLst>
                  <a:ext uri="{FF2B5EF4-FFF2-40B4-BE49-F238E27FC236}">
                    <a16:creationId xmlns:a16="http://schemas.microsoft.com/office/drawing/2014/main" id="{5312148E-CF58-634D-9F5A-CA87FED76A27}"/>
                  </a:ext>
                </a:extLst>
              </p:cNvPr>
              <p:cNvSpPr/>
              <p:nvPr/>
            </p:nvSpPr>
            <p:spPr>
              <a:xfrm>
                <a:off x="2270285" y="3107348"/>
                <a:ext cx="22294" cy="27397"/>
              </a:xfrm>
              <a:custGeom>
                <a:avLst/>
                <a:gdLst>
                  <a:gd name="connsiteX0" fmla="*/ 2154 w 22294"/>
                  <a:gd name="connsiteY0" fmla="*/ 27398 h 27397"/>
                  <a:gd name="connsiteX1" fmla="*/ 19299 w 22294"/>
                  <a:gd name="connsiteY1" fmla="*/ 12354 h 27397"/>
                  <a:gd name="connsiteX2" fmla="*/ 20140 w 22294"/>
                  <a:gd name="connsiteY2" fmla="*/ 0 h 27397"/>
                  <a:gd name="connsiteX3" fmla="*/ 2995 w 22294"/>
                  <a:gd name="connsiteY3" fmla="*/ 14960 h 27397"/>
                  <a:gd name="connsiteX4" fmla="*/ 2154 w 22294"/>
                  <a:gd name="connsiteY4" fmla="*/ 27398 h 27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7">
                    <a:moveTo>
                      <a:pt x="2154" y="27398"/>
                    </a:moveTo>
                    <a:lnTo>
                      <a:pt x="19299" y="12354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7"/>
                      <a:pt x="-1039" y="23784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38" name="Freeform: Shape 454">
                <a:extLst>
                  <a:ext uri="{FF2B5EF4-FFF2-40B4-BE49-F238E27FC236}">
                    <a16:creationId xmlns:a16="http://schemas.microsoft.com/office/drawing/2014/main" id="{0A130706-7CCF-E141-9511-24B7AABDEA99}"/>
                  </a:ext>
                </a:extLst>
              </p:cNvPr>
              <p:cNvSpPr/>
              <p:nvPr/>
            </p:nvSpPr>
            <p:spPr>
              <a:xfrm>
                <a:off x="2304376" y="3106564"/>
                <a:ext cx="32693" cy="13670"/>
              </a:xfrm>
              <a:custGeom>
                <a:avLst/>
                <a:gdLst>
                  <a:gd name="connsiteX0" fmla="*/ 32693 w 32693"/>
                  <a:gd name="connsiteY0" fmla="*/ 7676 h 13670"/>
                  <a:gd name="connsiteX1" fmla="*/ 11094 w 32693"/>
                  <a:gd name="connsiteY1" fmla="*/ 448 h 13670"/>
                  <a:gd name="connsiteX2" fmla="*/ 0 w 32693"/>
                  <a:gd name="connsiteY2" fmla="*/ 5995 h 13670"/>
                  <a:gd name="connsiteX3" fmla="*/ 21599 w 32693"/>
                  <a:gd name="connsiteY3" fmla="*/ 13223 h 13670"/>
                  <a:gd name="connsiteX4" fmla="*/ 32693 w 32693"/>
                  <a:gd name="connsiteY4" fmla="*/ 7676 h 13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70">
                    <a:moveTo>
                      <a:pt x="32693" y="7676"/>
                    </a:moveTo>
                    <a:lnTo>
                      <a:pt x="11094" y="448"/>
                    </a:lnTo>
                    <a:cubicBezTo>
                      <a:pt x="6555" y="-1065"/>
                      <a:pt x="1513" y="1373"/>
                      <a:pt x="0" y="5995"/>
                    </a:cubicBezTo>
                    <a:lnTo>
                      <a:pt x="21599" y="13223"/>
                    </a:lnTo>
                    <a:cubicBezTo>
                      <a:pt x="26222" y="14735"/>
                      <a:pt x="31180" y="12298"/>
                      <a:pt x="32693" y="76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39" name="Freeform: Shape 455">
                <a:extLst>
                  <a:ext uri="{FF2B5EF4-FFF2-40B4-BE49-F238E27FC236}">
                    <a16:creationId xmlns:a16="http://schemas.microsoft.com/office/drawing/2014/main" id="{FF66F688-1610-B14F-B523-4931C4150B3B}"/>
                  </a:ext>
                </a:extLst>
              </p:cNvPr>
              <p:cNvSpPr/>
              <p:nvPr/>
            </p:nvSpPr>
            <p:spPr>
              <a:xfrm>
                <a:off x="2293114" y="3114975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3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3"/>
                      <a:pt x="420" y="21872"/>
                      <a:pt x="0" y="33555"/>
                    </a:cubicBezTo>
                    <a:cubicBezTo>
                      <a:pt x="1765" y="34984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</p:grpSp>
        <p:sp>
          <p:nvSpPr>
            <p:cNvPr id="833" name="TextBox 832">
              <a:extLst>
                <a:ext uri="{FF2B5EF4-FFF2-40B4-BE49-F238E27FC236}">
                  <a16:creationId xmlns:a16="http://schemas.microsoft.com/office/drawing/2014/main" id="{CD1F9C6D-9269-834B-AC6F-6EFB1E4145C3}"/>
                </a:ext>
              </a:extLst>
            </p:cNvPr>
            <p:cNvSpPr txBox="1"/>
            <p:nvPr/>
          </p:nvSpPr>
          <p:spPr>
            <a:xfrm>
              <a:off x="2357246" y="3134606"/>
              <a:ext cx="317796" cy="10409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2400"/>
                </a:spcBef>
              </a:pPr>
              <a:r>
                <a:rPr lang="en-US" sz="867">
                  <a:solidFill>
                    <a:schemeClr val="accent1"/>
                  </a:solidFill>
                </a:rPr>
                <a:t>Barrow</a:t>
              </a:r>
              <a:endParaRPr lang="en-US" sz="867">
                <a:solidFill>
                  <a:schemeClr val="accent2"/>
                </a:solidFill>
              </a:endParaRPr>
            </a:p>
          </p:txBody>
        </p:sp>
      </p:grpSp>
      <p:grpSp>
        <p:nvGrpSpPr>
          <p:cNvPr id="840" name="Group 839">
            <a:extLst>
              <a:ext uri="{FF2B5EF4-FFF2-40B4-BE49-F238E27FC236}">
                <a16:creationId xmlns:a16="http://schemas.microsoft.com/office/drawing/2014/main" id="{6A38B848-A075-7B4A-BD83-54CEE509B67A}"/>
              </a:ext>
            </a:extLst>
          </p:cNvPr>
          <p:cNvGrpSpPr>
            <a:grpSpLocks/>
          </p:cNvGrpSpPr>
          <p:nvPr/>
        </p:nvGrpSpPr>
        <p:grpSpPr>
          <a:xfrm>
            <a:off x="5885405" y="3038086"/>
            <a:ext cx="782841" cy="174355"/>
            <a:chOff x="1274873" y="2874433"/>
            <a:chExt cx="636059" cy="141664"/>
          </a:xfrm>
        </p:grpSpPr>
        <p:sp>
          <p:nvSpPr>
            <p:cNvPr id="841" name="TextBox 840">
              <a:extLst>
                <a:ext uri="{FF2B5EF4-FFF2-40B4-BE49-F238E27FC236}">
                  <a16:creationId xmlns:a16="http://schemas.microsoft.com/office/drawing/2014/main" id="{B66CB2F4-D5D0-3545-BD1A-153FF2D59D30}"/>
                </a:ext>
              </a:extLst>
            </p:cNvPr>
            <p:cNvSpPr txBox="1"/>
            <p:nvPr/>
          </p:nvSpPr>
          <p:spPr>
            <a:xfrm>
              <a:off x="1274873" y="2898809"/>
              <a:ext cx="470181" cy="10409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>
                <a:lnSpc>
                  <a:spcPct val="96000"/>
                </a:lnSpc>
                <a:spcBef>
                  <a:spcPts val="2400"/>
                </a:spcBef>
              </a:pPr>
              <a:r>
                <a:rPr lang="en-US" sz="867">
                  <a:solidFill>
                    <a:schemeClr val="accent3"/>
                  </a:solidFill>
                </a:rPr>
                <a:t>Isle of man</a:t>
              </a:r>
            </a:p>
          </p:txBody>
        </p:sp>
        <p:grpSp>
          <p:nvGrpSpPr>
            <p:cNvPr id="842" name="Group 841">
              <a:extLst>
                <a:ext uri="{FF2B5EF4-FFF2-40B4-BE49-F238E27FC236}">
                  <a16:creationId xmlns:a16="http://schemas.microsoft.com/office/drawing/2014/main" id="{7DFF720C-89E5-334A-8543-B1BBBBDBF069}"/>
                </a:ext>
              </a:extLst>
            </p:cNvPr>
            <p:cNvGrpSpPr/>
            <p:nvPr/>
          </p:nvGrpSpPr>
          <p:grpSpPr>
            <a:xfrm>
              <a:off x="1804616" y="2874433"/>
              <a:ext cx="106316" cy="141664"/>
              <a:chOff x="2265548" y="3068441"/>
              <a:chExt cx="71521" cy="95300"/>
            </a:xfrm>
            <a:solidFill>
              <a:schemeClr val="accent3"/>
            </a:solidFill>
          </p:grpSpPr>
          <p:sp>
            <p:nvSpPr>
              <p:cNvPr id="843" name="Freeform: Shape 459">
                <a:extLst>
                  <a:ext uri="{FF2B5EF4-FFF2-40B4-BE49-F238E27FC236}">
                    <a16:creationId xmlns:a16="http://schemas.microsoft.com/office/drawing/2014/main" id="{3F46347F-163C-6D43-9E18-FB8A46993DA4}"/>
                  </a:ext>
                </a:extLst>
              </p:cNvPr>
              <p:cNvSpPr/>
              <p:nvPr/>
            </p:nvSpPr>
            <p:spPr>
              <a:xfrm>
                <a:off x="2265548" y="3153152"/>
                <a:ext cx="66731" cy="10589"/>
              </a:xfrm>
              <a:custGeom>
                <a:avLst/>
                <a:gdLst>
                  <a:gd name="connsiteX0" fmla="*/ 62529 w 66731"/>
                  <a:gd name="connsiteY0" fmla="*/ 1513 h 10589"/>
                  <a:gd name="connsiteX1" fmla="*/ 61604 w 66731"/>
                  <a:gd name="connsiteY1" fmla="*/ 1933 h 10589"/>
                  <a:gd name="connsiteX2" fmla="*/ 55721 w 66731"/>
                  <a:gd name="connsiteY2" fmla="*/ 3530 h 10589"/>
                  <a:gd name="connsiteX3" fmla="*/ 49586 w 66731"/>
                  <a:gd name="connsiteY3" fmla="*/ 1681 h 10589"/>
                  <a:gd name="connsiteX4" fmla="*/ 49418 w 66731"/>
                  <a:gd name="connsiteY4" fmla="*/ 1597 h 10589"/>
                  <a:gd name="connsiteX5" fmla="*/ 44712 w 66731"/>
                  <a:gd name="connsiteY5" fmla="*/ 168 h 10589"/>
                  <a:gd name="connsiteX6" fmla="*/ 40005 w 66731"/>
                  <a:gd name="connsiteY6" fmla="*/ 1597 h 10589"/>
                  <a:gd name="connsiteX7" fmla="*/ 39837 w 66731"/>
                  <a:gd name="connsiteY7" fmla="*/ 1681 h 10589"/>
                  <a:gd name="connsiteX8" fmla="*/ 33702 w 66731"/>
                  <a:gd name="connsiteY8" fmla="*/ 3530 h 10589"/>
                  <a:gd name="connsiteX9" fmla="*/ 27567 w 66731"/>
                  <a:gd name="connsiteY9" fmla="*/ 1681 h 10589"/>
                  <a:gd name="connsiteX10" fmla="*/ 27398 w 66731"/>
                  <a:gd name="connsiteY10" fmla="*/ 1597 h 10589"/>
                  <a:gd name="connsiteX11" fmla="*/ 22692 w 66731"/>
                  <a:gd name="connsiteY11" fmla="*/ 168 h 10589"/>
                  <a:gd name="connsiteX12" fmla="*/ 17649 w 66731"/>
                  <a:gd name="connsiteY12" fmla="*/ 1513 h 10589"/>
                  <a:gd name="connsiteX13" fmla="*/ 11514 w 66731"/>
                  <a:gd name="connsiteY13" fmla="*/ 3362 h 10589"/>
                  <a:gd name="connsiteX14" fmla="*/ 5379 w 66731"/>
                  <a:gd name="connsiteY14" fmla="*/ 1513 h 10589"/>
                  <a:gd name="connsiteX15" fmla="*/ 5211 w 66731"/>
                  <a:gd name="connsiteY15" fmla="*/ 1429 h 10589"/>
                  <a:gd name="connsiteX16" fmla="*/ 588 w 66731"/>
                  <a:gd name="connsiteY16" fmla="*/ 0 h 10589"/>
                  <a:gd name="connsiteX17" fmla="*/ 0 w 66731"/>
                  <a:gd name="connsiteY17" fmla="*/ 0 h 10589"/>
                  <a:gd name="connsiteX18" fmla="*/ 0 w 66731"/>
                  <a:gd name="connsiteY18" fmla="*/ 7060 h 10589"/>
                  <a:gd name="connsiteX19" fmla="*/ 588 w 66731"/>
                  <a:gd name="connsiteY19" fmla="*/ 7060 h 10589"/>
                  <a:gd name="connsiteX20" fmla="*/ 3950 w 66731"/>
                  <a:gd name="connsiteY20" fmla="*/ 8237 h 10589"/>
                  <a:gd name="connsiteX21" fmla="*/ 4454 w 66731"/>
                  <a:gd name="connsiteY21" fmla="*/ 8489 h 10589"/>
                  <a:gd name="connsiteX22" fmla="*/ 11514 w 66731"/>
                  <a:gd name="connsiteY22" fmla="*/ 10590 h 10589"/>
                  <a:gd name="connsiteX23" fmla="*/ 19078 w 66731"/>
                  <a:gd name="connsiteY23" fmla="*/ 8237 h 10589"/>
                  <a:gd name="connsiteX24" fmla="*/ 19246 w 66731"/>
                  <a:gd name="connsiteY24" fmla="*/ 8153 h 10589"/>
                  <a:gd name="connsiteX25" fmla="*/ 22692 w 66731"/>
                  <a:gd name="connsiteY25" fmla="*/ 7060 h 10589"/>
                  <a:gd name="connsiteX26" fmla="*/ 26306 w 66731"/>
                  <a:gd name="connsiteY26" fmla="*/ 8237 h 10589"/>
                  <a:gd name="connsiteX27" fmla="*/ 26726 w 66731"/>
                  <a:gd name="connsiteY27" fmla="*/ 8489 h 10589"/>
                  <a:gd name="connsiteX28" fmla="*/ 33870 w 66731"/>
                  <a:gd name="connsiteY28" fmla="*/ 10590 h 10589"/>
                  <a:gd name="connsiteX29" fmla="*/ 41434 w 66731"/>
                  <a:gd name="connsiteY29" fmla="*/ 8237 h 10589"/>
                  <a:gd name="connsiteX30" fmla="*/ 41602 w 66731"/>
                  <a:gd name="connsiteY30" fmla="*/ 8153 h 10589"/>
                  <a:gd name="connsiteX31" fmla="*/ 45048 w 66731"/>
                  <a:gd name="connsiteY31" fmla="*/ 7060 h 10589"/>
                  <a:gd name="connsiteX32" fmla="*/ 48662 w 66731"/>
                  <a:gd name="connsiteY32" fmla="*/ 8237 h 10589"/>
                  <a:gd name="connsiteX33" fmla="*/ 49082 w 66731"/>
                  <a:gd name="connsiteY33" fmla="*/ 8489 h 10589"/>
                  <a:gd name="connsiteX34" fmla="*/ 56226 w 66731"/>
                  <a:gd name="connsiteY34" fmla="*/ 10590 h 10589"/>
                  <a:gd name="connsiteX35" fmla="*/ 63790 w 66731"/>
                  <a:gd name="connsiteY35" fmla="*/ 8237 h 10589"/>
                  <a:gd name="connsiteX36" fmla="*/ 66227 w 66731"/>
                  <a:gd name="connsiteY36" fmla="*/ 7144 h 10589"/>
                  <a:gd name="connsiteX37" fmla="*/ 66731 w 66731"/>
                  <a:gd name="connsiteY37" fmla="*/ 7060 h 10589"/>
                  <a:gd name="connsiteX38" fmla="*/ 66731 w 66731"/>
                  <a:gd name="connsiteY38" fmla="*/ 0 h 10589"/>
                  <a:gd name="connsiteX39" fmla="*/ 66059 w 66731"/>
                  <a:gd name="connsiteY39" fmla="*/ 84 h 10589"/>
                  <a:gd name="connsiteX40" fmla="*/ 62529 w 66731"/>
                  <a:gd name="connsiteY40" fmla="*/ 1513 h 10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66731" h="10589">
                    <a:moveTo>
                      <a:pt x="62529" y="1513"/>
                    </a:moveTo>
                    <a:cubicBezTo>
                      <a:pt x="62193" y="1681"/>
                      <a:pt x="61856" y="1849"/>
                      <a:pt x="61604" y="1933"/>
                    </a:cubicBezTo>
                    <a:cubicBezTo>
                      <a:pt x="60008" y="2689"/>
                      <a:pt x="58327" y="3530"/>
                      <a:pt x="55721" y="3530"/>
                    </a:cubicBezTo>
                    <a:cubicBezTo>
                      <a:pt x="52528" y="3530"/>
                      <a:pt x="51015" y="2522"/>
                      <a:pt x="49586" y="1681"/>
                    </a:cubicBezTo>
                    <a:lnTo>
                      <a:pt x="49418" y="1597"/>
                    </a:lnTo>
                    <a:cubicBezTo>
                      <a:pt x="48157" y="841"/>
                      <a:pt x="46981" y="168"/>
                      <a:pt x="44712" y="168"/>
                    </a:cubicBezTo>
                    <a:cubicBezTo>
                      <a:pt x="42442" y="168"/>
                      <a:pt x="41182" y="841"/>
                      <a:pt x="40005" y="1597"/>
                    </a:cubicBezTo>
                    <a:lnTo>
                      <a:pt x="39837" y="1681"/>
                    </a:lnTo>
                    <a:cubicBezTo>
                      <a:pt x="38492" y="2522"/>
                      <a:pt x="36895" y="3530"/>
                      <a:pt x="33702" y="3530"/>
                    </a:cubicBezTo>
                    <a:cubicBezTo>
                      <a:pt x="30508" y="3530"/>
                      <a:pt x="28911" y="2522"/>
                      <a:pt x="27567" y="1681"/>
                    </a:cubicBezTo>
                    <a:lnTo>
                      <a:pt x="27398" y="1597"/>
                    </a:lnTo>
                    <a:cubicBezTo>
                      <a:pt x="26138" y="841"/>
                      <a:pt x="24961" y="168"/>
                      <a:pt x="22692" y="168"/>
                    </a:cubicBezTo>
                    <a:cubicBezTo>
                      <a:pt x="20255" y="168"/>
                      <a:pt x="19078" y="757"/>
                      <a:pt x="17649" y="1513"/>
                    </a:cubicBezTo>
                    <a:cubicBezTo>
                      <a:pt x="16305" y="2353"/>
                      <a:pt x="14708" y="3362"/>
                      <a:pt x="11514" y="3362"/>
                    </a:cubicBezTo>
                    <a:cubicBezTo>
                      <a:pt x="8404" y="3362"/>
                      <a:pt x="6724" y="2353"/>
                      <a:pt x="5379" y="1513"/>
                    </a:cubicBezTo>
                    <a:lnTo>
                      <a:pt x="5211" y="1429"/>
                    </a:lnTo>
                    <a:cubicBezTo>
                      <a:pt x="3950" y="672"/>
                      <a:pt x="2773" y="0"/>
                      <a:pt x="588" y="0"/>
                    </a:cubicBezTo>
                    <a:lnTo>
                      <a:pt x="0" y="0"/>
                    </a:lnTo>
                    <a:lnTo>
                      <a:pt x="0" y="7060"/>
                    </a:lnTo>
                    <a:lnTo>
                      <a:pt x="588" y="7060"/>
                    </a:lnTo>
                    <a:cubicBezTo>
                      <a:pt x="2101" y="7060"/>
                      <a:pt x="2858" y="7480"/>
                      <a:pt x="3950" y="8237"/>
                    </a:cubicBezTo>
                    <a:lnTo>
                      <a:pt x="4454" y="8489"/>
                    </a:lnTo>
                    <a:cubicBezTo>
                      <a:pt x="5967" y="9329"/>
                      <a:pt x="8068" y="10590"/>
                      <a:pt x="11514" y="10590"/>
                    </a:cubicBezTo>
                    <a:cubicBezTo>
                      <a:pt x="15212" y="10590"/>
                      <a:pt x="17313" y="9413"/>
                      <a:pt x="19078" y="8237"/>
                    </a:cubicBezTo>
                    <a:lnTo>
                      <a:pt x="19246" y="8153"/>
                    </a:lnTo>
                    <a:cubicBezTo>
                      <a:pt x="20339" y="7480"/>
                      <a:pt x="21011" y="7060"/>
                      <a:pt x="22692" y="7060"/>
                    </a:cubicBezTo>
                    <a:cubicBezTo>
                      <a:pt x="24373" y="7060"/>
                      <a:pt x="25297" y="7564"/>
                      <a:pt x="26306" y="8237"/>
                    </a:cubicBezTo>
                    <a:lnTo>
                      <a:pt x="26726" y="8489"/>
                    </a:lnTo>
                    <a:cubicBezTo>
                      <a:pt x="28239" y="9329"/>
                      <a:pt x="30340" y="10590"/>
                      <a:pt x="33870" y="10590"/>
                    </a:cubicBezTo>
                    <a:cubicBezTo>
                      <a:pt x="37568" y="10590"/>
                      <a:pt x="39669" y="9413"/>
                      <a:pt x="41434" y="8237"/>
                    </a:cubicBezTo>
                    <a:lnTo>
                      <a:pt x="41602" y="8153"/>
                    </a:lnTo>
                    <a:cubicBezTo>
                      <a:pt x="42694" y="7480"/>
                      <a:pt x="43367" y="7060"/>
                      <a:pt x="45048" y="7060"/>
                    </a:cubicBezTo>
                    <a:cubicBezTo>
                      <a:pt x="46729" y="7060"/>
                      <a:pt x="47653" y="7564"/>
                      <a:pt x="48662" y="8237"/>
                    </a:cubicBezTo>
                    <a:lnTo>
                      <a:pt x="49082" y="8489"/>
                    </a:lnTo>
                    <a:cubicBezTo>
                      <a:pt x="50595" y="9329"/>
                      <a:pt x="52696" y="10590"/>
                      <a:pt x="56226" y="10590"/>
                    </a:cubicBezTo>
                    <a:cubicBezTo>
                      <a:pt x="59923" y="10590"/>
                      <a:pt x="62025" y="9413"/>
                      <a:pt x="63790" y="8237"/>
                    </a:cubicBezTo>
                    <a:cubicBezTo>
                      <a:pt x="64630" y="7648"/>
                      <a:pt x="65302" y="7228"/>
                      <a:pt x="66227" y="7144"/>
                    </a:cubicBezTo>
                    <a:lnTo>
                      <a:pt x="66731" y="7060"/>
                    </a:lnTo>
                    <a:lnTo>
                      <a:pt x="66731" y="0"/>
                    </a:lnTo>
                    <a:lnTo>
                      <a:pt x="66059" y="84"/>
                    </a:lnTo>
                    <a:cubicBezTo>
                      <a:pt x="64546" y="337"/>
                      <a:pt x="63537" y="841"/>
                      <a:pt x="62529" y="151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44" name="Freeform: Shape 460">
                <a:extLst>
                  <a:ext uri="{FF2B5EF4-FFF2-40B4-BE49-F238E27FC236}">
                    <a16:creationId xmlns:a16="http://schemas.microsoft.com/office/drawing/2014/main" id="{7FCACD25-B76A-E440-9596-3007E8D076E7}"/>
                  </a:ext>
                </a:extLst>
              </p:cNvPr>
              <p:cNvSpPr/>
              <p:nvPr/>
            </p:nvSpPr>
            <p:spPr>
              <a:xfrm>
                <a:off x="2294459" y="3101465"/>
                <a:ext cx="8908" cy="8908"/>
              </a:xfrm>
              <a:custGeom>
                <a:avLst/>
                <a:gdLst>
                  <a:gd name="connsiteX0" fmla="*/ 8909 w 8908"/>
                  <a:gd name="connsiteY0" fmla="*/ 4454 h 8908"/>
                  <a:gd name="connsiteX1" fmla="*/ 4454 w 8908"/>
                  <a:gd name="connsiteY1" fmla="*/ 8909 h 8908"/>
                  <a:gd name="connsiteX2" fmla="*/ 0 w 8908"/>
                  <a:gd name="connsiteY2" fmla="*/ 4454 h 8908"/>
                  <a:gd name="connsiteX3" fmla="*/ 4454 w 8908"/>
                  <a:gd name="connsiteY3" fmla="*/ 0 h 8908"/>
                  <a:gd name="connsiteX4" fmla="*/ 8909 w 8908"/>
                  <a:gd name="connsiteY4" fmla="*/ 4454 h 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8">
                    <a:moveTo>
                      <a:pt x="8909" y="4454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4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1933"/>
                      <a:pt x="8909" y="4454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45" name="Freeform: Shape 461">
                <a:extLst>
                  <a:ext uri="{FF2B5EF4-FFF2-40B4-BE49-F238E27FC236}">
                    <a16:creationId xmlns:a16="http://schemas.microsoft.com/office/drawing/2014/main" id="{34CBF5FF-DEA2-6043-AE76-9EBA2D5438A8}"/>
                  </a:ext>
                </a:extLst>
              </p:cNvPr>
              <p:cNvSpPr/>
              <p:nvPr/>
            </p:nvSpPr>
            <p:spPr>
              <a:xfrm>
                <a:off x="2287231" y="3068441"/>
                <a:ext cx="14623" cy="29573"/>
              </a:xfrm>
              <a:custGeom>
                <a:avLst/>
                <a:gdLst>
                  <a:gd name="connsiteX0" fmla="*/ 0 w 14623"/>
                  <a:gd name="connsiteY0" fmla="*/ 163 h 29573"/>
                  <a:gd name="connsiteX1" fmla="*/ 4370 w 14623"/>
                  <a:gd name="connsiteY1" fmla="*/ 22519 h 29573"/>
                  <a:gd name="connsiteX2" fmla="*/ 14624 w 14623"/>
                  <a:gd name="connsiteY2" fmla="*/ 29410 h 29573"/>
                  <a:gd name="connsiteX3" fmla="*/ 10253 w 14623"/>
                  <a:gd name="connsiteY3" fmla="*/ 7054 h 29573"/>
                  <a:gd name="connsiteX4" fmla="*/ 0 w 14623"/>
                  <a:gd name="connsiteY4" fmla="*/ 163 h 29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3">
                    <a:moveTo>
                      <a:pt x="0" y="163"/>
                    </a:moveTo>
                    <a:lnTo>
                      <a:pt x="4370" y="22519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46" name="Freeform: Shape 462">
                <a:extLst>
                  <a:ext uri="{FF2B5EF4-FFF2-40B4-BE49-F238E27FC236}">
                    <a16:creationId xmlns:a16="http://schemas.microsoft.com/office/drawing/2014/main" id="{BA9626AA-794C-D64B-80E3-CB5D7F50B3A3}"/>
                  </a:ext>
                </a:extLst>
              </p:cNvPr>
              <p:cNvSpPr/>
              <p:nvPr/>
            </p:nvSpPr>
            <p:spPr>
              <a:xfrm>
                <a:off x="2270285" y="3107348"/>
                <a:ext cx="22294" cy="27397"/>
              </a:xfrm>
              <a:custGeom>
                <a:avLst/>
                <a:gdLst>
                  <a:gd name="connsiteX0" fmla="*/ 2154 w 22294"/>
                  <a:gd name="connsiteY0" fmla="*/ 27398 h 27397"/>
                  <a:gd name="connsiteX1" fmla="*/ 19299 w 22294"/>
                  <a:gd name="connsiteY1" fmla="*/ 12354 h 27397"/>
                  <a:gd name="connsiteX2" fmla="*/ 20140 w 22294"/>
                  <a:gd name="connsiteY2" fmla="*/ 0 h 27397"/>
                  <a:gd name="connsiteX3" fmla="*/ 2995 w 22294"/>
                  <a:gd name="connsiteY3" fmla="*/ 14960 h 27397"/>
                  <a:gd name="connsiteX4" fmla="*/ 2154 w 22294"/>
                  <a:gd name="connsiteY4" fmla="*/ 27398 h 27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7">
                    <a:moveTo>
                      <a:pt x="2154" y="27398"/>
                    </a:moveTo>
                    <a:lnTo>
                      <a:pt x="19299" y="12354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7"/>
                      <a:pt x="-1039" y="23784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47" name="Freeform: Shape 463">
                <a:extLst>
                  <a:ext uri="{FF2B5EF4-FFF2-40B4-BE49-F238E27FC236}">
                    <a16:creationId xmlns:a16="http://schemas.microsoft.com/office/drawing/2014/main" id="{DDBE6C40-5121-C649-BD50-750DE099B134}"/>
                  </a:ext>
                </a:extLst>
              </p:cNvPr>
              <p:cNvSpPr/>
              <p:nvPr/>
            </p:nvSpPr>
            <p:spPr>
              <a:xfrm>
                <a:off x="2304376" y="3106564"/>
                <a:ext cx="32693" cy="13670"/>
              </a:xfrm>
              <a:custGeom>
                <a:avLst/>
                <a:gdLst>
                  <a:gd name="connsiteX0" fmla="*/ 32693 w 32693"/>
                  <a:gd name="connsiteY0" fmla="*/ 7676 h 13670"/>
                  <a:gd name="connsiteX1" fmla="*/ 11094 w 32693"/>
                  <a:gd name="connsiteY1" fmla="*/ 448 h 13670"/>
                  <a:gd name="connsiteX2" fmla="*/ 0 w 32693"/>
                  <a:gd name="connsiteY2" fmla="*/ 5995 h 13670"/>
                  <a:gd name="connsiteX3" fmla="*/ 21599 w 32693"/>
                  <a:gd name="connsiteY3" fmla="*/ 13223 h 13670"/>
                  <a:gd name="connsiteX4" fmla="*/ 32693 w 32693"/>
                  <a:gd name="connsiteY4" fmla="*/ 7676 h 13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70">
                    <a:moveTo>
                      <a:pt x="32693" y="7676"/>
                    </a:moveTo>
                    <a:lnTo>
                      <a:pt x="11094" y="448"/>
                    </a:lnTo>
                    <a:cubicBezTo>
                      <a:pt x="6555" y="-1065"/>
                      <a:pt x="1513" y="1373"/>
                      <a:pt x="0" y="5995"/>
                    </a:cubicBezTo>
                    <a:lnTo>
                      <a:pt x="21599" y="13223"/>
                    </a:lnTo>
                    <a:cubicBezTo>
                      <a:pt x="26222" y="14735"/>
                      <a:pt x="31180" y="12298"/>
                      <a:pt x="32693" y="76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48" name="Freeform: Shape 464">
                <a:extLst>
                  <a:ext uri="{FF2B5EF4-FFF2-40B4-BE49-F238E27FC236}">
                    <a16:creationId xmlns:a16="http://schemas.microsoft.com/office/drawing/2014/main" id="{DD02CC87-B7C0-6F47-A523-6E9EC9FE4923}"/>
                  </a:ext>
                </a:extLst>
              </p:cNvPr>
              <p:cNvSpPr/>
              <p:nvPr/>
            </p:nvSpPr>
            <p:spPr>
              <a:xfrm>
                <a:off x="2293114" y="3114975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3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3"/>
                      <a:pt x="420" y="21872"/>
                      <a:pt x="0" y="33555"/>
                    </a:cubicBezTo>
                    <a:cubicBezTo>
                      <a:pt x="1765" y="34984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</p:grpSp>
      </p:grpSp>
      <p:grpSp>
        <p:nvGrpSpPr>
          <p:cNvPr id="849" name="Group 848">
            <a:extLst>
              <a:ext uri="{FF2B5EF4-FFF2-40B4-BE49-F238E27FC236}">
                <a16:creationId xmlns:a16="http://schemas.microsoft.com/office/drawing/2014/main" id="{E9485746-6184-5E48-B2C0-0F51B128A3D9}"/>
              </a:ext>
            </a:extLst>
          </p:cNvPr>
          <p:cNvGrpSpPr>
            <a:grpSpLocks/>
          </p:cNvGrpSpPr>
          <p:nvPr/>
        </p:nvGrpSpPr>
        <p:grpSpPr>
          <a:xfrm>
            <a:off x="5475340" y="3270324"/>
            <a:ext cx="1256233" cy="174356"/>
            <a:chOff x="975313" y="2985853"/>
            <a:chExt cx="1020689" cy="141664"/>
          </a:xfrm>
        </p:grpSpPr>
        <p:grpSp>
          <p:nvGrpSpPr>
            <p:cNvPr id="850" name="Group 849">
              <a:extLst>
                <a:ext uri="{FF2B5EF4-FFF2-40B4-BE49-F238E27FC236}">
                  <a16:creationId xmlns:a16="http://schemas.microsoft.com/office/drawing/2014/main" id="{B1026758-70AE-2C4F-BBDB-0AB8ABD7602C}"/>
                </a:ext>
              </a:extLst>
            </p:cNvPr>
            <p:cNvGrpSpPr/>
            <p:nvPr/>
          </p:nvGrpSpPr>
          <p:grpSpPr>
            <a:xfrm>
              <a:off x="1889686" y="2985853"/>
              <a:ext cx="106316" cy="141664"/>
              <a:chOff x="2265548" y="3068441"/>
              <a:chExt cx="71521" cy="95300"/>
            </a:xfrm>
            <a:solidFill>
              <a:schemeClr val="accent1"/>
            </a:solidFill>
          </p:grpSpPr>
          <p:sp>
            <p:nvSpPr>
              <p:cNvPr id="852" name="Freeform: Shape 468">
                <a:extLst>
                  <a:ext uri="{FF2B5EF4-FFF2-40B4-BE49-F238E27FC236}">
                    <a16:creationId xmlns:a16="http://schemas.microsoft.com/office/drawing/2014/main" id="{7EA71FD2-CAE8-CC40-8C85-2B0390D68DFD}"/>
                  </a:ext>
                </a:extLst>
              </p:cNvPr>
              <p:cNvSpPr/>
              <p:nvPr/>
            </p:nvSpPr>
            <p:spPr>
              <a:xfrm>
                <a:off x="2265548" y="3153152"/>
                <a:ext cx="66731" cy="10589"/>
              </a:xfrm>
              <a:custGeom>
                <a:avLst/>
                <a:gdLst>
                  <a:gd name="connsiteX0" fmla="*/ 62529 w 66731"/>
                  <a:gd name="connsiteY0" fmla="*/ 1513 h 10589"/>
                  <a:gd name="connsiteX1" fmla="*/ 61604 w 66731"/>
                  <a:gd name="connsiteY1" fmla="*/ 1933 h 10589"/>
                  <a:gd name="connsiteX2" fmla="*/ 55721 w 66731"/>
                  <a:gd name="connsiteY2" fmla="*/ 3530 h 10589"/>
                  <a:gd name="connsiteX3" fmla="*/ 49586 w 66731"/>
                  <a:gd name="connsiteY3" fmla="*/ 1681 h 10589"/>
                  <a:gd name="connsiteX4" fmla="*/ 49418 w 66731"/>
                  <a:gd name="connsiteY4" fmla="*/ 1597 h 10589"/>
                  <a:gd name="connsiteX5" fmla="*/ 44712 w 66731"/>
                  <a:gd name="connsiteY5" fmla="*/ 168 h 10589"/>
                  <a:gd name="connsiteX6" fmla="*/ 40005 w 66731"/>
                  <a:gd name="connsiteY6" fmla="*/ 1597 h 10589"/>
                  <a:gd name="connsiteX7" fmla="*/ 39837 w 66731"/>
                  <a:gd name="connsiteY7" fmla="*/ 1681 h 10589"/>
                  <a:gd name="connsiteX8" fmla="*/ 33702 w 66731"/>
                  <a:gd name="connsiteY8" fmla="*/ 3530 h 10589"/>
                  <a:gd name="connsiteX9" fmla="*/ 27567 w 66731"/>
                  <a:gd name="connsiteY9" fmla="*/ 1681 h 10589"/>
                  <a:gd name="connsiteX10" fmla="*/ 27398 w 66731"/>
                  <a:gd name="connsiteY10" fmla="*/ 1597 h 10589"/>
                  <a:gd name="connsiteX11" fmla="*/ 22692 w 66731"/>
                  <a:gd name="connsiteY11" fmla="*/ 168 h 10589"/>
                  <a:gd name="connsiteX12" fmla="*/ 17649 w 66731"/>
                  <a:gd name="connsiteY12" fmla="*/ 1513 h 10589"/>
                  <a:gd name="connsiteX13" fmla="*/ 11514 w 66731"/>
                  <a:gd name="connsiteY13" fmla="*/ 3362 h 10589"/>
                  <a:gd name="connsiteX14" fmla="*/ 5379 w 66731"/>
                  <a:gd name="connsiteY14" fmla="*/ 1513 h 10589"/>
                  <a:gd name="connsiteX15" fmla="*/ 5211 w 66731"/>
                  <a:gd name="connsiteY15" fmla="*/ 1429 h 10589"/>
                  <a:gd name="connsiteX16" fmla="*/ 588 w 66731"/>
                  <a:gd name="connsiteY16" fmla="*/ 0 h 10589"/>
                  <a:gd name="connsiteX17" fmla="*/ 0 w 66731"/>
                  <a:gd name="connsiteY17" fmla="*/ 0 h 10589"/>
                  <a:gd name="connsiteX18" fmla="*/ 0 w 66731"/>
                  <a:gd name="connsiteY18" fmla="*/ 7060 h 10589"/>
                  <a:gd name="connsiteX19" fmla="*/ 588 w 66731"/>
                  <a:gd name="connsiteY19" fmla="*/ 7060 h 10589"/>
                  <a:gd name="connsiteX20" fmla="*/ 3950 w 66731"/>
                  <a:gd name="connsiteY20" fmla="*/ 8237 h 10589"/>
                  <a:gd name="connsiteX21" fmla="*/ 4454 w 66731"/>
                  <a:gd name="connsiteY21" fmla="*/ 8489 h 10589"/>
                  <a:gd name="connsiteX22" fmla="*/ 11514 w 66731"/>
                  <a:gd name="connsiteY22" fmla="*/ 10590 h 10589"/>
                  <a:gd name="connsiteX23" fmla="*/ 19078 w 66731"/>
                  <a:gd name="connsiteY23" fmla="*/ 8237 h 10589"/>
                  <a:gd name="connsiteX24" fmla="*/ 19246 w 66731"/>
                  <a:gd name="connsiteY24" fmla="*/ 8153 h 10589"/>
                  <a:gd name="connsiteX25" fmla="*/ 22692 w 66731"/>
                  <a:gd name="connsiteY25" fmla="*/ 7060 h 10589"/>
                  <a:gd name="connsiteX26" fmla="*/ 26306 w 66731"/>
                  <a:gd name="connsiteY26" fmla="*/ 8237 h 10589"/>
                  <a:gd name="connsiteX27" fmla="*/ 26726 w 66731"/>
                  <a:gd name="connsiteY27" fmla="*/ 8489 h 10589"/>
                  <a:gd name="connsiteX28" fmla="*/ 33870 w 66731"/>
                  <a:gd name="connsiteY28" fmla="*/ 10590 h 10589"/>
                  <a:gd name="connsiteX29" fmla="*/ 41434 w 66731"/>
                  <a:gd name="connsiteY29" fmla="*/ 8237 h 10589"/>
                  <a:gd name="connsiteX30" fmla="*/ 41602 w 66731"/>
                  <a:gd name="connsiteY30" fmla="*/ 8153 h 10589"/>
                  <a:gd name="connsiteX31" fmla="*/ 45048 w 66731"/>
                  <a:gd name="connsiteY31" fmla="*/ 7060 h 10589"/>
                  <a:gd name="connsiteX32" fmla="*/ 48662 w 66731"/>
                  <a:gd name="connsiteY32" fmla="*/ 8237 h 10589"/>
                  <a:gd name="connsiteX33" fmla="*/ 49082 w 66731"/>
                  <a:gd name="connsiteY33" fmla="*/ 8489 h 10589"/>
                  <a:gd name="connsiteX34" fmla="*/ 56226 w 66731"/>
                  <a:gd name="connsiteY34" fmla="*/ 10590 h 10589"/>
                  <a:gd name="connsiteX35" fmla="*/ 63790 w 66731"/>
                  <a:gd name="connsiteY35" fmla="*/ 8237 h 10589"/>
                  <a:gd name="connsiteX36" fmla="*/ 66227 w 66731"/>
                  <a:gd name="connsiteY36" fmla="*/ 7144 h 10589"/>
                  <a:gd name="connsiteX37" fmla="*/ 66731 w 66731"/>
                  <a:gd name="connsiteY37" fmla="*/ 7060 h 10589"/>
                  <a:gd name="connsiteX38" fmla="*/ 66731 w 66731"/>
                  <a:gd name="connsiteY38" fmla="*/ 0 h 10589"/>
                  <a:gd name="connsiteX39" fmla="*/ 66059 w 66731"/>
                  <a:gd name="connsiteY39" fmla="*/ 84 h 10589"/>
                  <a:gd name="connsiteX40" fmla="*/ 62529 w 66731"/>
                  <a:gd name="connsiteY40" fmla="*/ 1513 h 10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66731" h="10589">
                    <a:moveTo>
                      <a:pt x="62529" y="1513"/>
                    </a:moveTo>
                    <a:cubicBezTo>
                      <a:pt x="62193" y="1681"/>
                      <a:pt x="61856" y="1849"/>
                      <a:pt x="61604" y="1933"/>
                    </a:cubicBezTo>
                    <a:cubicBezTo>
                      <a:pt x="60008" y="2689"/>
                      <a:pt x="58327" y="3530"/>
                      <a:pt x="55721" y="3530"/>
                    </a:cubicBezTo>
                    <a:cubicBezTo>
                      <a:pt x="52528" y="3530"/>
                      <a:pt x="51015" y="2522"/>
                      <a:pt x="49586" y="1681"/>
                    </a:cubicBezTo>
                    <a:lnTo>
                      <a:pt x="49418" y="1597"/>
                    </a:lnTo>
                    <a:cubicBezTo>
                      <a:pt x="48157" y="841"/>
                      <a:pt x="46981" y="168"/>
                      <a:pt x="44712" y="168"/>
                    </a:cubicBezTo>
                    <a:cubicBezTo>
                      <a:pt x="42442" y="168"/>
                      <a:pt x="41182" y="841"/>
                      <a:pt x="40005" y="1597"/>
                    </a:cubicBezTo>
                    <a:lnTo>
                      <a:pt x="39837" y="1681"/>
                    </a:lnTo>
                    <a:cubicBezTo>
                      <a:pt x="38492" y="2522"/>
                      <a:pt x="36895" y="3530"/>
                      <a:pt x="33702" y="3530"/>
                    </a:cubicBezTo>
                    <a:cubicBezTo>
                      <a:pt x="30508" y="3530"/>
                      <a:pt x="28911" y="2522"/>
                      <a:pt x="27567" y="1681"/>
                    </a:cubicBezTo>
                    <a:lnTo>
                      <a:pt x="27398" y="1597"/>
                    </a:lnTo>
                    <a:cubicBezTo>
                      <a:pt x="26138" y="841"/>
                      <a:pt x="24961" y="168"/>
                      <a:pt x="22692" y="168"/>
                    </a:cubicBezTo>
                    <a:cubicBezTo>
                      <a:pt x="20255" y="168"/>
                      <a:pt x="19078" y="757"/>
                      <a:pt x="17649" y="1513"/>
                    </a:cubicBezTo>
                    <a:cubicBezTo>
                      <a:pt x="16305" y="2353"/>
                      <a:pt x="14708" y="3362"/>
                      <a:pt x="11514" y="3362"/>
                    </a:cubicBezTo>
                    <a:cubicBezTo>
                      <a:pt x="8404" y="3362"/>
                      <a:pt x="6724" y="2353"/>
                      <a:pt x="5379" y="1513"/>
                    </a:cubicBezTo>
                    <a:lnTo>
                      <a:pt x="5211" y="1429"/>
                    </a:lnTo>
                    <a:cubicBezTo>
                      <a:pt x="3950" y="672"/>
                      <a:pt x="2773" y="0"/>
                      <a:pt x="588" y="0"/>
                    </a:cubicBezTo>
                    <a:lnTo>
                      <a:pt x="0" y="0"/>
                    </a:lnTo>
                    <a:lnTo>
                      <a:pt x="0" y="7060"/>
                    </a:lnTo>
                    <a:lnTo>
                      <a:pt x="588" y="7060"/>
                    </a:lnTo>
                    <a:cubicBezTo>
                      <a:pt x="2101" y="7060"/>
                      <a:pt x="2858" y="7480"/>
                      <a:pt x="3950" y="8237"/>
                    </a:cubicBezTo>
                    <a:lnTo>
                      <a:pt x="4454" y="8489"/>
                    </a:lnTo>
                    <a:cubicBezTo>
                      <a:pt x="5967" y="9329"/>
                      <a:pt x="8068" y="10590"/>
                      <a:pt x="11514" y="10590"/>
                    </a:cubicBezTo>
                    <a:cubicBezTo>
                      <a:pt x="15212" y="10590"/>
                      <a:pt x="17313" y="9413"/>
                      <a:pt x="19078" y="8237"/>
                    </a:cubicBezTo>
                    <a:lnTo>
                      <a:pt x="19246" y="8153"/>
                    </a:lnTo>
                    <a:cubicBezTo>
                      <a:pt x="20339" y="7480"/>
                      <a:pt x="21011" y="7060"/>
                      <a:pt x="22692" y="7060"/>
                    </a:cubicBezTo>
                    <a:cubicBezTo>
                      <a:pt x="24373" y="7060"/>
                      <a:pt x="25297" y="7564"/>
                      <a:pt x="26306" y="8237"/>
                    </a:cubicBezTo>
                    <a:lnTo>
                      <a:pt x="26726" y="8489"/>
                    </a:lnTo>
                    <a:cubicBezTo>
                      <a:pt x="28239" y="9329"/>
                      <a:pt x="30340" y="10590"/>
                      <a:pt x="33870" y="10590"/>
                    </a:cubicBezTo>
                    <a:cubicBezTo>
                      <a:pt x="37568" y="10590"/>
                      <a:pt x="39669" y="9413"/>
                      <a:pt x="41434" y="8237"/>
                    </a:cubicBezTo>
                    <a:lnTo>
                      <a:pt x="41602" y="8153"/>
                    </a:lnTo>
                    <a:cubicBezTo>
                      <a:pt x="42694" y="7480"/>
                      <a:pt x="43367" y="7060"/>
                      <a:pt x="45048" y="7060"/>
                    </a:cubicBezTo>
                    <a:cubicBezTo>
                      <a:pt x="46729" y="7060"/>
                      <a:pt x="47653" y="7564"/>
                      <a:pt x="48662" y="8237"/>
                    </a:cubicBezTo>
                    <a:lnTo>
                      <a:pt x="49082" y="8489"/>
                    </a:lnTo>
                    <a:cubicBezTo>
                      <a:pt x="50595" y="9329"/>
                      <a:pt x="52696" y="10590"/>
                      <a:pt x="56226" y="10590"/>
                    </a:cubicBezTo>
                    <a:cubicBezTo>
                      <a:pt x="59923" y="10590"/>
                      <a:pt x="62025" y="9413"/>
                      <a:pt x="63790" y="8237"/>
                    </a:cubicBezTo>
                    <a:cubicBezTo>
                      <a:pt x="64630" y="7648"/>
                      <a:pt x="65302" y="7228"/>
                      <a:pt x="66227" y="7144"/>
                    </a:cubicBezTo>
                    <a:lnTo>
                      <a:pt x="66731" y="7060"/>
                    </a:lnTo>
                    <a:lnTo>
                      <a:pt x="66731" y="0"/>
                    </a:lnTo>
                    <a:lnTo>
                      <a:pt x="66059" y="84"/>
                    </a:lnTo>
                    <a:cubicBezTo>
                      <a:pt x="64546" y="337"/>
                      <a:pt x="63537" y="841"/>
                      <a:pt x="62529" y="151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53" name="Freeform: Shape 469">
                <a:extLst>
                  <a:ext uri="{FF2B5EF4-FFF2-40B4-BE49-F238E27FC236}">
                    <a16:creationId xmlns:a16="http://schemas.microsoft.com/office/drawing/2014/main" id="{2DEDABC5-3F4F-D743-AC43-256B7253B14D}"/>
                  </a:ext>
                </a:extLst>
              </p:cNvPr>
              <p:cNvSpPr/>
              <p:nvPr/>
            </p:nvSpPr>
            <p:spPr>
              <a:xfrm>
                <a:off x="2294459" y="3101465"/>
                <a:ext cx="8908" cy="8908"/>
              </a:xfrm>
              <a:custGeom>
                <a:avLst/>
                <a:gdLst>
                  <a:gd name="connsiteX0" fmla="*/ 8909 w 8908"/>
                  <a:gd name="connsiteY0" fmla="*/ 4454 h 8908"/>
                  <a:gd name="connsiteX1" fmla="*/ 4454 w 8908"/>
                  <a:gd name="connsiteY1" fmla="*/ 8909 h 8908"/>
                  <a:gd name="connsiteX2" fmla="*/ 0 w 8908"/>
                  <a:gd name="connsiteY2" fmla="*/ 4454 h 8908"/>
                  <a:gd name="connsiteX3" fmla="*/ 4454 w 8908"/>
                  <a:gd name="connsiteY3" fmla="*/ 0 h 8908"/>
                  <a:gd name="connsiteX4" fmla="*/ 8909 w 8908"/>
                  <a:gd name="connsiteY4" fmla="*/ 4454 h 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8">
                    <a:moveTo>
                      <a:pt x="8909" y="4454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4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1933"/>
                      <a:pt x="8909" y="4454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54" name="Freeform: Shape 470">
                <a:extLst>
                  <a:ext uri="{FF2B5EF4-FFF2-40B4-BE49-F238E27FC236}">
                    <a16:creationId xmlns:a16="http://schemas.microsoft.com/office/drawing/2014/main" id="{40A8A2AA-D570-1045-A765-524C2510016A}"/>
                  </a:ext>
                </a:extLst>
              </p:cNvPr>
              <p:cNvSpPr/>
              <p:nvPr/>
            </p:nvSpPr>
            <p:spPr>
              <a:xfrm>
                <a:off x="2287231" y="3068441"/>
                <a:ext cx="14623" cy="29573"/>
              </a:xfrm>
              <a:custGeom>
                <a:avLst/>
                <a:gdLst>
                  <a:gd name="connsiteX0" fmla="*/ 0 w 14623"/>
                  <a:gd name="connsiteY0" fmla="*/ 163 h 29573"/>
                  <a:gd name="connsiteX1" fmla="*/ 4370 w 14623"/>
                  <a:gd name="connsiteY1" fmla="*/ 22519 h 29573"/>
                  <a:gd name="connsiteX2" fmla="*/ 14624 w 14623"/>
                  <a:gd name="connsiteY2" fmla="*/ 29410 h 29573"/>
                  <a:gd name="connsiteX3" fmla="*/ 10253 w 14623"/>
                  <a:gd name="connsiteY3" fmla="*/ 7054 h 29573"/>
                  <a:gd name="connsiteX4" fmla="*/ 0 w 14623"/>
                  <a:gd name="connsiteY4" fmla="*/ 163 h 29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3">
                    <a:moveTo>
                      <a:pt x="0" y="163"/>
                    </a:moveTo>
                    <a:lnTo>
                      <a:pt x="4370" y="22519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55" name="Freeform: Shape 471">
                <a:extLst>
                  <a:ext uri="{FF2B5EF4-FFF2-40B4-BE49-F238E27FC236}">
                    <a16:creationId xmlns:a16="http://schemas.microsoft.com/office/drawing/2014/main" id="{2E0E7572-8805-D747-91BD-EC9A1682B5F2}"/>
                  </a:ext>
                </a:extLst>
              </p:cNvPr>
              <p:cNvSpPr/>
              <p:nvPr/>
            </p:nvSpPr>
            <p:spPr>
              <a:xfrm>
                <a:off x="2270285" y="3107348"/>
                <a:ext cx="22294" cy="27397"/>
              </a:xfrm>
              <a:custGeom>
                <a:avLst/>
                <a:gdLst>
                  <a:gd name="connsiteX0" fmla="*/ 2154 w 22294"/>
                  <a:gd name="connsiteY0" fmla="*/ 27398 h 27397"/>
                  <a:gd name="connsiteX1" fmla="*/ 19299 w 22294"/>
                  <a:gd name="connsiteY1" fmla="*/ 12354 h 27397"/>
                  <a:gd name="connsiteX2" fmla="*/ 20140 w 22294"/>
                  <a:gd name="connsiteY2" fmla="*/ 0 h 27397"/>
                  <a:gd name="connsiteX3" fmla="*/ 2995 w 22294"/>
                  <a:gd name="connsiteY3" fmla="*/ 14960 h 27397"/>
                  <a:gd name="connsiteX4" fmla="*/ 2154 w 22294"/>
                  <a:gd name="connsiteY4" fmla="*/ 27398 h 27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7">
                    <a:moveTo>
                      <a:pt x="2154" y="27398"/>
                    </a:moveTo>
                    <a:lnTo>
                      <a:pt x="19299" y="12354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7"/>
                      <a:pt x="-1039" y="23784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56" name="Freeform: Shape 472">
                <a:extLst>
                  <a:ext uri="{FF2B5EF4-FFF2-40B4-BE49-F238E27FC236}">
                    <a16:creationId xmlns:a16="http://schemas.microsoft.com/office/drawing/2014/main" id="{B52E95D0-6BA0-8C43-A71A-061DE8EF94FF}"/>
                  </a:ext>
                </a:extLst>
              </p:cNvPr>
              <p:cNvSpPr/>
              <p:nvPr/>
            </p:nvSpPr>
            <p:spPr>
              <a:xfrm>
                <a:off x="2304376" y="3106564"/>
                <a:ext cx="32693" cy="13670"/>
              </a:xfrm>
              <a:custGeom>
                <a:avLst/>
                <a:gdLst>
                  <a:gd name="connsiteX0" fmla="*/ 32693 w 32693"/>
                  <a:gd name="connsiteY0" fmla="*/ 7676 h 13670"/>
                  <a:gd name="connsiteX1" fmla="*/ 11094 w 32693"/>
                  <a:gd name="connsiteY1" fmla="*/ 448 h 13670"/>
                  <a:gd name="connsiteX2" fmla="*/ 0 w 32693"/>
                  <a:gd name="connsiteY2" fmla="*/ 5995 h 13670"/>
                  <a:gd name="connsiteX3" fmla="*/ 21599 w 32693"/>
                  <a:gd name="connsiteY3" fmla="*/ 13223 h 13670"/>
                  <a:gd name="connsiteX4" fmla="*/ 32693 w 32693"/>
                  <a:gd name="connsiteY4" fmla="*/ 7676 h 13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70">
                    <a:moveTo>
                      <a:pt x="32693" y="7676"/>
                    </a:moveTo>
                    <a:lnTo>
                      <a:pt x="11094" y="448"/>
                    </a:lnTo>
                    <a:cubicBezTo>
                      <a:pt x="6555" y="-1065"/>
                      <a:pt x="1513" y="1373"/>
                      <a:pt x="0" y="5995"/>
                    </a:cubicBezTo>
                    <a:lnTo>
                      <a:pt x="21599" y="13223"/>
                    </a:lnTo>
                    <a:cubicBezTo>
                      <a:pt x="26222" y="14735"/>
                      <a:pt x="31180" y="12298"/>
                      <a:pt x="32693" y="76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57" name="Freeform: Shape 473">
                <a:extLst>
                  <a:ext uri="{FF2B5EF4-FFF2-40B4-BE49-F238E27FC236}">
                    <a16:creationId xmlns:a16="http://schemas.microsoft.com/office/drawing/2014/main" id="{A20160AE-2392-C540-B9A9-DBA6275F4C47}"/>
                  </a:ext>
                </a:extLst>
              </p:cNvPr>
              <p:cNvSpPr/>
              <p:nvPr/>
            </p:nvSpPr>
            <p:spPr>
              <a:xfrm>
                <a:off x="2293114" y="3114975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3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3"/>
                      <a:pt x="420" y="21872"/>
                      <a:pt x="0" y="33555"/>
                    </a:cubicBezTo>
                    <a:cubicBezTo>
                      <a:pt x="1765" y="34984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</p:grpSp>
        <p:sp>
          <p:nvSpPr>
            <p:cNvPr id="851" name="TextBox 850">
              <a:extLst>
                <a:ext uri="{FF2B5EF4-FFF2-40B4-BE49-F238E27FC236}">
                  <a16:creationId xmlns:a16="http://schemas.microsoft.com/office/drawing/2014/main" id="{9A619306-61CD-BC4D-AE18-4F5C479AC0DD}"/>
                </a:ext>
              </a:extLst>
            </p:cNvPr>
            <p:cNvSpPr txBox="1"/>
            <p:nvPr/>
          </p:nvSpPr>
          <p:spPr>
            <a:xfrm>
              <a:off x="975313" y="3012818"/>
              <a:ext cx="769742" cy="10409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>
                <a:lnSpc>
                  <a:spcPct val="96000"/>
                </a:lnSpc>
                <a:spcBef>
                  <a:spcPts val="2400"/>
                </a:spcBef>
              </a:pPr>
              <a:r>
                <a:rPr lang="en-US" sz="867" err="1">
                  <a:solidFill>
                    <a:schemeClr val="accent1"/>
                  </a:solidFill>
                </a:rPr>
                <a:t>Walney</a:t>
              </a:r>
              <a:r>
                <a:rPr lang="en-US" sz="867">
                  <a:solidFill>
                    <a:schemeClr val="accent1"/>
                  </a:solidFill>
                </a:rPr>
                <a:t> Extension</a:t>
              </a:r>
            </a:p>
          </p:txBody>
        </p:sp>
      </p:grpSp>
      <p:grpSp>
        <p:nvGrpSpPr>
          <p:cNvPr id="858" name="Group 857">
            <a:extLst>
              <a:ext uri="{FF2B5EF4-FFF2-40B4-BE49-F238E27FC236}">
                <a16:creationId xmlns:a16="http://schemas.microsoft.com/office/drawing/2014/main" id="{80907260-E1EC-6849-83C1-FF716BF03C17}"/>
              </a:ext>
            </a:extLst>
          </p:cNvPr>
          <p:cNvGrpSpPr>
            <a:grpSpLocks/>
          </p:cNvGrpSpPr>
          <p:nvPr/>
        </p:nvGrpSpPr>
        <p:grpSpPr>
          <a:xfrm>
            <a:off x="5866717" y="3467686"/>
            <a:ext cx="921006" cy="174356"/>
            <a:chOff x="1333914" y="3099071"/>
            <a:chExt cx="748318" cy="141664"/>
          </a:xfrm>
        </p:grpSpPr>
        <p:grpSp>
          <p:nvGrpSpPr>
            <p:cNvPr id="859" name="Group 858">
              <a:extLst>
                <a:ext uri="{FF2B5EF4-FFF2-40B4-BE49-F238E27FC236}">
                  <a16:creationId xmlns:a16="http://schemas.microsoft.com/office/drawing/2014/main" id="{318E67AF-19FF-0E42-B138-FC46F402BAC6}"/>
                </a:ext>
              </a:extLst>
            </p:cNvPr>
            <p:cNvGrpSpPr/>
            <p:nvPr/>
          </p:nvGrpSpPr>
          <p:grpSpPr>
            <a:xfrm>
              <a:off x="1975916" y="3099071"/>
              <a:ext cx="106316" cy="141664"/>
              <a:chOff x="2265548" y="3068441"/>
              <a:chExt cx="71521" cy="95300"/>
            </a:xfrm>
            <a:solidFill>
              <a:schemeClr val="accent1"/>
            </a:solidFill>
          </p:grpSpPr>
          <p:sp>
            <p:nvSpPr>
              <p:cNvPr id="861" name="Freeform: Shape 477">
                <a:extLst>
                  <a:ext uri="{FF2B5EF4-FFF2-40B4-BE49-F238E27FC236}">
                    <a16:creationId xmlns:a16="http://schemas.microsoft.com/office/drawing/2014/main" id="{A116570D-A0A8-6845-9191-664A2326006E}"/>
                  </a:ext>
                </a:extLst>
              </p:cNvPr>
              <p:cNvSpPr/>
              <p:nvPr/>
            </p:nvSpPr>
            <p:spPr>
              <a:xfrm>
                <a:off x="2265548" y="3153152"/>
                <a:ext cx="66731" cy="10589"/>
              </a:xfrm>
              <a:custGeom>
                <a:avLst/>
                <a:gdLst>
                  <a:gd name="connsiteX0" fmla="*/ 62529 w 66731"/>
                  <a:gd name="connsiteY0" fmla="*/ 1513 h 10589"/>
                  <a:gd name="connsiteX1" fmla="*/ 61604 w 66731"/>
                  <a:gd name="connsiteY1" fmla="*/ 1933 h 10589"/>
                  <a:gd name="connsiteX2" fmla="*/ 55721 w 66731"/>
                  <a:gd name="connsiteY2" fmla="*/ 3530 h 10589"/>
                  <a:gd name="connsiteX3" fmla="*/ 49586 w 66731"/>
                  <a:gd name="connsiteY3" fmla="*/ 1681 h 10589"/>
                  <a:gd name="connsiteX4" fmla="*/ 49418 w 66731"/>
                  <a:gd name="connsiteY4" fmla="*/ 1597 h 10589"/>
                  <a:gd name="connsiteX5" fmla="*/ 44712 w 66731"/>
                  <a:gd name="connsiteY5" fmla="*/ 168 h 10589"/>
                  <a:gd name="connsiteX6" fmla="*/ 40005 w 66731"/>
                  <a:gd name="connsiteY6" fmla="*/ 1597 h 10589"/>
                  <a:gd name="connsiteX7" fmla="*/ 39837 w 66731"/>
                  <a:gd name="connsiteY7" fmla="*/ 1681 h 10589"/>
                  <a:gd name="connsiteX8" fmla="*/ 33702 w 66731"/>
                  <a:gd name="connsiteY8" fmla="*/ 3530 h 10589"/>
                  <a:gd name="connsiteX9" fmla="*/ 27567 w 66731"/>
                  <a:gd name="connsiteY9" fmla="*/ 1681 h 10589"/>
                  <a:gd name="connsiteX10" fmla="*/ 27398 w 66731"/>
                  <a:gd name="connsiteY10" fmla="*/ 1597 h 10589"/>
                  <a:gd name="connsiteX11" fmla="*/ 22692 w 66731"/>
                  <a:gd name="connsiteY11" fmla="*/ 168 h 10589"/>
                  <a:gd name="connsiteX12" fmla="*/ 17649 w 66731"/>
                  <a:gd name="connsiteY12" fmla="*/ 1513 h 10589"/>
                  <a:gd name="connsiteX13" fmla="*/ 11514 w 66731"/>
                  <a:gd name="connsiteY13" fmla="*/ 3362 h 10589"/>
                  <a:gd name="connsiteX14" fmla="*/ 5379 w 66731"/>
                  <a:gd name="connsiteY14" fmla="*/ 1513 h 10589"/>
                  <a:gd name="connsiteX15" fmla="*/ 5211 w 66731"/>
                  <a:gd name="connsiteY15" fmla="*/ 1429 h 10589"/>
                  <a:gd name="connsiteX16" fmla="*/ 588 w 66731"/>
                  <a:gd name="connsiteY16" fmla="*/ 0 h 10589"/>
                  <a:gd name="connsiteX17" fmla="*/ 0 w 66731"/>
                  <a:gd name="connsiteY17" fmla="*/ 0 h 10589"/>
                  <a:gd name="connsiteX18" fmla="*/ 0 w 66731"/>
                  <a:gd name="connsiteY18" fmla="*/ 7060 h 10589"/>
                  <a:gd name="connsiteX19" fmla="*/ 588 w 66731"/>
                  <a:gd name="connsiteY19" fmla="*/ 7060 h 10589"/>
                  <a:gd name="connsiteX20" fmla="*/ 3950 w 66731"/>
                  <a:gd name="connsiteY20" fmla="*/ 8237 h 10589"/>
                  <a:gd name="connsiteX21" fmla="*/ 4454 w 66731"/>
                  <a:gd name="connsiteY21" fmla="*/ 8489 h 10589"/>
                  <a:gd name="connsiteX22" fmla="*/ 11514 w 66731"/>
                  <a:gd name="connsiteY22" fmla="*/ 10590 h 10589"/>
                  <a:gd name="connsiteX23" fmla="*/ 19078 w 66731"/>
                  <a:gd name="connsiteY23" fmla="*/ 8237 h 10589"/>
                  <a:gd name="connsiteX24" fmla="*/ 19246 w 66731"/>
                  <a:gd name="connsiteY24" fmla="*/ 8153 h 10589"/>
                  <a:gd name="connsiteX25" fmla="*/ 22692 w 66731"/>
                  <a:gd name="connsiteY25" fmla="*/ 7060 h 10589"/>
                  <a:gd name="connsiteX26" fmla="*/ 26306 w 66731"/>
                  <a:gd name="connsiteY26" fmla="*/ 8237 h 10589"/>
                  <a:gd name="connsiteX27" fmla="*/ 26726 w 66731"/>
                  <a:gd name="connsiteY27" fmla="*/ 8489 h 10589"/>
                  <a:gd name="connsiteX28" fmla="*/ 33870 w 66731"/>
                  <a:gd name="connsiteY28" fmla="*/ 10590 h 10589"/>
                  <a:gd name="connsiteX29" fmla="*/ 41434 w 66731"/>
                  <a:gd name="connsiteY29" fmla="*/ 8237 h 10589"/>
                  <a:gd name="connsiteX30" fmla="*/ 41602 w 66731"/>
                  <a:gd name="connsiteY30" fmla="*/ 8153 h 10589"/>
                  <a:gd name="connsiteX31" fmla="*/ 45048 w 66731"/>
                  <a:gd name="connsiteY31" fmla="*/ 7060 h 10589"/>
                  <a:gd name="connsiteX32" fmla="*/ 48662 w 66731"/>
                  <a:gd name="connsiteY32" fmla="*/ 8237 h 10589"/>
                  <a:gd name="connsiteX33" fmla="*/ 49082 w 66731"/>
                  <a:gd name="connsiteY33" fmla="*/ 8489 h 10589"/>
                  <a:gd name="connsiteX34" fmla="*/ 56226 w 66731"/>
                  <a:gd name="connsiteY34" fmla="*/ 10590 h 10589"/>
                  <a:gd name="connsiteX35" fmla="*/ 63790 w 66731"/>
                  <a:gd name="connsiteY35" fmla="*/ 8237 h 10589"/>
                  <a:gd name="connsiteX36" fmla="*/ 66227 w 66731"/>
                  <a:gd name="connsiteY36" fmla="*/ 7144 h 10589"/>
                  <a:gd name="connsiteX37" fmla="*/ 66731 w 66731"/>
                  <a:gd name="connsiteY37" fmla="*/ 7060 h 10589"/>
                  <a:gd name="connsiteX38" fmla="*/ 66731 w 66731"/>
                  <a:gd name="connsiteY38" fmla="*/ 0 h 10589"/>
                  <a:gd name="connsiteX39" fmla="*/ 66059 w 66731"/>
                  <a:gd name="connsiteY39" fmla="*/ 84 h 10589"/>
                  <a:gd name="connsiteX40" fmla="*/ 62529 w 66731"/>
                  <a:gd name="connsiteY40" fmla="*/ 1513 h 10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66731" h="10589">
                    <a:moveTo>
                      <a:pt x="62529" y="1513"/>
                    </a:moveTo>
                    <a:cubicBezTo>
                      <a:pt x="62193" y="1681"/>
                      <a:pt x="61856" y="1849"/>
                      <a:pt x="61604" y="1933"/>
                    </a:cubicBezTo>
                    <a:cubicBezTo>
                      <a:pt x="60008" y="2689"/>
                      <a:pt x="58327" y="3530"/>
                      <a:pt x="55721" y="3530"/>
                    </a:cubicBezTo>
                    <a:cubicBezTo>
                      <a:pt x="52528" y="3530"/>
                      <a:pt x="51015" y="2522"/>
                      <a:pt x="49586" y="1681"/>
                    </a:cubicBezTo>
                    <a:lnTo>
                      <a:pt x="49418" y="1597"/>
                    </a:lnTo>
                    <a:cubicBezTo>
                      <a:pt x="48157" y="841"/>
                      <a:pt x="46981" y="168"/>
                      <a:pt x="44712" y="168"/>
                    </a:cubicBezTo>
                    <a:cubicBezTo>
                      <a:pt x="42442" y="168"/>
                      <a:pt x="41182" y="841"/>
                      <a:pt x="40005" y="1597"/>
                    </a:cubicBezTo>
                    <a:lnTo>
                      <a:pt x="39837" y="1681"/>
                    </a:lnTo>
                    <a:cubicBezTo>
                      <a:pt x="38492" y="2522"/>
                      <a:pt x="36895" y="3530"/>
                      <a:pt x="33702" y="3530"/>
                    </a:cubicBezTo>
                    <a:cubicBezTo>
                      <a:pt x="30508" y="3530"/>
                      <a:pt x="28911" y="2522"/>
                      <a:pt x="27567" y="1681"/>
                    </a:cubicBezTo>
                    <a:lnTo>
                      <a:pt x="27398" y="1597"/>
                    </a:lnTo>
                    <a:cubicBezTo>
                      <a:pt x="26138" y="841"/>
                      <a:pt x="24961" y="168"/>
                      <a:pt x="22692" y="168"/>
                    </a:cubicBezTo>
                    <a:cubicBezTo>
                      <a:pt x="20255" y="168"/>
                      <a:pt x="19078" y="757"/>
                      <a:pt x="17649" y="1513"/>
                    </a:cubicBezTo>
                    <a:cubicBezTo>
                      <a:pt x="16305" y="2353"/>
                      <a:pt x="14708" y="3362"/>
                      <a:pt x="11514" y="3362"/>
                    </a:cubicBezTo>
                    <a:cubicBezTo>
                      <a:pt x="8404" y="3362"/>
                      <a:pt x="6724" y="2353"/>
                      <a:pt x="5379" y="1513"/>
                    </a:cubicBezTo>
                    <a:lnTo>
                      <a:pt x="5211" y="1429"/>
                    </a:lnTo>
                    <a:cubicBezTo>
                      <a:pt x="3950" y="672"/>
                      <a:pt x="2773" y="0"/>
                      <a:pt x="588" y="0"/>
                    </a:cubicBezTo>
                    <a:lnTo>
                      <a:pt x="0" y="0"/>
                    </a:lnTo>
                    <a:lnTo>
                      <a:pt x="0" y="7060"/>
                    </a:lnTo>
                    <a:lnTo>
                      <a:pt x="588" y="7060"/>
                    </a:lnTo>
                    <a:cubicBezTo>
                      <a:pt x="2101" y="7060"/>
                      <a:pt x="2858" y="7480"/>
                      <a:pt x="3950" y="8237"/>
                    </a:cubicBezTo>
                    <a:lnTo>
                      <a:pt x="4454" y="8489"/>
                    </a:lnTo>
                    <a:cubicBezTo>
                      <a:pt x="5967" y="9329"/>
                      <a:pt x="8068" y="10590"/>
                      <a:pt x="11514" y="10590"/>
                    </a:cubicBezTo>
                    <a:cubicBezTo>
                      <a:pt x="15212" y="10590"/>
                      <a:pt x="17313" y="9413"/>
                      <a:pt x="19078" y="8237"/>
                    </a:cubicBezTo>
                    <a:lnTo>
                      <a:pt x="19246" y="8153"/>
                    </a:lnTo>
                    <a:cubicBezTo>
                      <a:pt x="20339" y="7480"/>
                      <a:pt x="21011" y="7060"/>
                      <a:pt x="22692" y="7060"/>
                    </a:cubicBezTo>
                    <a:cubicBezTo>
                      <a:pt x="24373" y="7060"/>
                      <a:pt x="25297" y="7564"/>
                      <a:pt x="26306" y="8237"/>
                    </a:cubicBezTo>
                    <a:lnTo>
                      <a:pt x="26726" y="8489"/>
                    </a:lnTo>
                    <a:cubicBezTo>
                      <a:pt x="28239" y="9329"/>
                      <a:pt x="30340" y="10590"/>
                      <a:pt x="33870" y="10590"/>
                    </a:cubicBezTo>
                    <a:cubicBezTo>
                      <a:pt x="37568" y="10590"/>
                      <a:pt x="39669" y="9413"/>
                      <a:pt x="41434" y="8237"/>
                    </a:cubicBezTo>
                    <a:lnTo>
                      <a:pt x="41602" y="8153"/>
                    </a:lnTo>
                    <a:cubicBezTo>
                      <a:pt x="42694" y="7480"/>
                      <a:pt x="43367" y="7060"/>
                      <a:pt x="45048" y="7060"/>
                    </a:cubicBezTo>
                    <a:cubicBezTo>
                      <a:pt x="46729" y="7060"/>
                      <a:pt x="47653" y="7564"/>
                      <a:pt x="48662" y="8237"/>
                    </a:cubicBezTo>
                    <a:lnTo>
                      <a:pt x="49082" y="8489"/>
                    </a:lnTo>
                    <a:cubicBezTo>
                      <a:pt x="50595" y="9329"/>
                      <a:pt x="52696" y="10590"/>
                      <a:pt x="56226" y="10590"/>
                    </a:cubicBezTo>
                    <a:cubicBezTo>
                      <a:pt x="59923" y="10590"/>
                      <a:pt x="62025" y="9413"/>
                      <a:pt x="63790" y="8237"/>
                    </a:cubicBezTo>
                    <a:cubicBezTo>
                      <a:pt x="64630" y="7648"/>
                      <a:pt x="65302" y="7228"/>
                      <a:pt x="66227" y="7144"/>
                    </a:cubicBezTo>
                    <a:lnTo>
                      <a:pt x="66731" y="7060"/>
                    </a:lnTo>
                    <a:lnTo>
                      <a:pt x="66731" y="0"/>
                    </a:lnTo>
                    <a:lnTo>
                      <a:pt x="66059" y="84"/>
                    </a:lnTo>
                    <a:cubicBezTo>
                      <a:pt x="64546" y="337"/>
                      <a:pt x="63537" y="841"/>
                      <a:pt x="62529" y="151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62" name="Freeform: Shape 478">
                <a:extLst>
                  <a:ext uri="{FF2B5EF4-FFF2-40B4-BE49-F238E27FC236}">
                    <a16:creationId xmlns:a16="http://schemas.microsoft.com/office/drawing/2014/main" id="{2ACA76B4-07D1-2647-8E8A-2DC86DDB7563}"/>
                  </a:ext>
                </a:extLst>
              </p:cNvPr>
              <p:cNvSpPr/>
              <p:nvPr/>
            </p:nvSpPr>
            <p:spPr>
              <a:xfrm>
                <a:off x="2294459" y="3101465"/>
                <a:ext cx="8908" cy="8908"/>
              </a:xfrm>
              <a:custGeom>
                <a:avLst/>
                <a:gdLst>
                  <a:gd name="connsiteX0" fmla="*/ 8909 w 8908"/>
                  <a:gd name="connsiteY0" fmla="*/ 4454 h 8908"/>
                  <a:gd name="connsiteX1" fmla="*/ 4454 w 8908"/>
                  <a:gd name="connsiteY1" fmla="*/ 8909 h 8908"/>
                  <a:gd name="connsiteX2" fmla="*/ 0 w 8908"/>
                  <a:gd name="connsiteY2" fmla="*/ 4454 h 8908"/>
                  <a:gd name="connsiteX3" fmla="*/ 4454 w 8908"/>
                  <a:gd name="connsiteY3" fmla="*/ 0 h 8908"/>
                  <a:gd name="connsiteX4" fmla="*/ 8909 w 8908"/>
                  <a:gd name="connsiteY4" fmla="*/ 4454 h 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8">
                    <a:moveTo>
                      <a:pt x="8909" y="4454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4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1933"/>
                      <a:pt x="8909" y="4454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63" name="Freeform: Shape 479">
                <a:extLst>
                  <a:ext uri="{FF2B5EF4-FFF2-40B4-BE49-F238E27FC236}">
                    <a16:creationId xmlns:a16="http://schemas.microsoft.com/office/drawing/2014/main" id="{27905F21-537E-7043-A9A5-080F976C513E}"/>
                  </a:ext>
                </a:extLst>
              </p:cNvPr>
              <p:cNvSpPr/>
              <p:nvPr/>
            </p:nvSpPr>
            <p:spPr>
              <a:xfrm>
                <a:off x="2287231" y="3068441"/>
                <a:ext cx="14623" cy="29573"/>
              </a:xfrm>
              <a:custGeom>
                <a:avLst/>
                <a:gdLst>
                  <a:gd name="connsiteX0" fmla="*/ 0 w 14623"/>
                  <a:gd name="connsiteY0" fmla="*/ 163 h 29573"/>
                  <a:gd name="connsiteX1" fmla="*/ 4370 w 14623"/>
                  <a:gd name="connsiteY1" fmla="*/ 22519 h 29573"/>
                  <a:gd name="connsiteX2" fmla="*/ 14624 w 14623"/>
                  <a:gd name="connsiteY2" fmla="*/ 29410 h 29573"/>
                  <a:gd name="connsiteX3" fmla="*/ 10253 w 14623"/>
                  <a:gd name="connsiteY3" fmla="*/ 7054 h 29573"/>
                  <a:gd name="connsiteX4" fmla="*/ 0 w 14623"/>
                  <a:gd name="connsiteY4" fmla="*/ 163 h 29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3">
                    <a:moveTo>
                      <a:pt x="0" y="163"/>
                    </a:moveTo>
                    <a:lnTo>
                      <a:pt x="4370" y="22519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64" name="Freeform: Shape 480">
                <a:extLst>
                  <a:ext uri="{FF2B5EF4-FFF2-40B4-BE49-F238E27FC236}">
                    <a16:creationId xmlns:a16="http://schemas.microsoft.com/office/drawing/2014/main" id="{64FD7713-D4D0-DE4D-A0A7-FE122A9ACB57}"/>
                  </a:ext>
                </a:extLst>
              </p:cNvPr>
              <p:cNvSpPr/>
              <p:nvPr/>
            </p:nvSpPr>
            <p:spPr>
              <a:xfrm>
                <a:off x="2270285" y="3107348"/>
                <a:ext cx="22294" cy="27397"/>
              </a:xfrm>
              <a:custGeom>
                <a:avLst/>
                <a:gdLst>
                  <a:gd name="connsiteX0" fmla="*/ 2154 w 22294"/>
                  <a:gd name="connsiteY0" fmla="*/ 27398 h 27397"/>
                  <a:gd name="connsiteX1" fmla="*/ 19299 w 22294"/>
                  <a:gd name="connsiteY1" fmla="*/ 12354 h 27397"/>
                  <a:gd name="connsiteX2" fmla="*/ 20140 w 22294"/>
                  <a:gd name="connsiteY2" fmla="*/ 0 h 27397"/>
                  <a:gd name="connsiteX3" fmla="*/ 2995 w 22294"/>
                  <a:gd name="connsiteY3" fmla="*/ 14960 h 27397"/>
                  <a:gd name="connsiteX4" fmla="*/ 2154 w 22294"/>
                  <a:gd name="connsiteY4" fmla="*/ 27398 h 27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7">
                    <a:moveTo>
                      <a:pt x="2154" y="27398"/>
                    </a:moveTo>
                    <a:lnTo>
                      <a:pt x="19299" y="12354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7"/>
                      <a:pt x="-1039" y="23784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65" name="Freeform: Shape 481">
                <a:extLst>
                  <a:ext uri="{FF2B5EF4-FFF2-40B4-BE49-F238E27FC236}">
                    <a16:creationId xmlns:a16="http://schemas.microsoft.com/office/drawing/2014/main" id="{B382737F-8A48-DF40-8119-35D24A5E3DC7}"/>
                  </a:ext>
                </a:extLst>
              </p:cNvPr>
              <p:cNvSpPr/>
              <p:nvPr/>
            </p:nvSpPr>
            <p:spPr>
              <a:xfrm>
                <a:off x="2304376" y="3106564"/>
                <a:ext cx="32693" cy="13670"/>
              </a:xfrm>
              <a:custGeom>
                <a:avLst/>
                <a:gdLst>
                  <a:gd name="connsiteX0" fmla="*/ 32693 w 32693"/>
                  <a:gd name="connsiteY0" fmla="*/ 7676 h 13670"/>
                  <a:gd name="connsiteX1" fmla="*/ 11094 w 32693"/>
                  <a:gd name="connsiteY1" fmla="*/ 448 h 13670"/>
                  <a:gd name="connsiteX2" fmla="*/ 0 w 32693"/>
                  <a:gd name="connsiteY2" fmla="*/ 5995 h 13670"/>
                  <a:gd name="connsiteX3" fmla="*/ 21599 w 32693"/>
                  <a:gd name="connsiteY3" fmla="*/ 13223 h 13670"/>
                  <a:gd name="connsiteX4" fmla="*/ 32693 w 32693"/>
                  <a:gd name="connsiteY4" fmla="*/ 7676 h 13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70">
                    <a:moveTo>
                      <a:pt x="32693" y="7676"/>
                    </a:moveTo>
                    <a:lnTo>
                      <a:pt x="11094" y="448"/>
                    </a:lnTo>
                    <a:cubicBezTo>
                      <a:pt x="6555" y="-1065"/>
                      <a:pt x="1513" y="1373"/>
                      <a:pt x="0" y="5995"/>
                    </a:cubicBezTo>
                    <a:lnTo>
                      <a:pt x="21599" y="13223"/>
                    </a:lnTo>
                    <a:cubicBezTo>
                      <a:pt x="26222" y="14735"/>
                      <a:pt x="31180" y="12298"/>
                      <a:pt x="32693" y="76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66" name="Freeform: Shape 482">
                <a:extLst>
                  <a:ext uri="{FF2B5EF4-FFF2-40B4-BE49-F238E27FC236}">
                    <a16:creationId xmlns:a16="http://schemas.microsoft.com/office/drawing/2014/main" id="{052A5AD6-CEB5-CF41-8743-8D545C7A6ADE}"/>
                  </a:ext>
                </a:extLst>
              </p:cNvPr>
              <p:cNvSpPr/>
              <p:nvPr/>
            </p:nvSpPr>
            <p:spPr>
              <a:xfrm>
                <a:off x="2293114" y="3114975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3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3"/>
                      <a:pt x="420" y="21872"/>
                      <a:pt x="0" y="33555"/>
                    </a:cubicBezTo>
                    <a:cubicBezTo>
                      <a:pt x="1765" y="34984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</p:grpSp>
        <p:sp>
          <p:nvSpPr>
            <p:cNvPr id="860" name="TextBox 859">
              <a:extLst>
                <a:ext uri="{FF2B5EF4-FFF2-40B4-BE49-F238E27FC236}">
                  <a16:creationId xmlns:a16="http://schemas.microsoft.com/office/drawing/2014/main" id="{C13E7ABD-92A1-8049-8FF8-91525A3D9793}"/>
                </a:ext>
              </a:extLst>
            </p:cNvPr>
            <p:cNvSpPr txBox="1"/>
            <p:nvPr/>
          </p:nvSpPr>
          <p:spPr>
            <a:xfrm>
              <a:off x="1333914" y="3134415"/>
              <a:ext cx="582191" cy="10409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>
                <a:lnSpc>
                  <a:spcPct val="96000"/>
                </a:lnSpc>
                <a:spcBef>
                  <a:spcPts val="2400"/>
                </a:spcBef>
              </a:pPr>
              <a:r>
                <a:rPr lang="en-US" sz="867" err="1">
                  <a:solidFill>
                    <a:schemeClr val="accent1"/>
                  </a:solidFill>
                </a:rPr>
                <a:t>Walney</a:t>
              </a:r>
              <a:r>
                <a:rPr lang="en-US" sz="867">
                  <a:solidFill>
                    <a:schemeClr val="accent1"/>
                  </a:solidFill>
                </a:rPr>
                <a:t> 1 &amp; 2</a:t>
              </a:r>
            </a:p>
          </p:txBody>
        </p:sp>
      </p:grpSp>
      <p:grpSp>
        <p:nvGrpSpPr>
          <p:cNvPr id="867" name="Group 866">
            <a:extLst>
              <a:ext uri="{FF2B5EF4-FFF2-40B4-BE49-F238E27FC236}">
                <a16:creationId xmlns:a16="http://schemas.microsoft.com/office/drawing/2014/main" id="{58891605-92A9-804B-A84E-EAA4F65E1446}"/>
              </a:ext>
            </a:extLst>
          </p:cNvPr>
          <p:cNvGrpSpPr>
            <a:grpSpLocks/>
          </p:cNvGrpSpPr>
          <p:nvPr/>
        </p:nvGrpSpPr>
        <p:grpSpPr>
          <a:xfrm>
            <a:off x="5458820" y="3630162"/>
            <a:ext cx="1436379" cy="174356"/>
            <a:chOff x="999937" y="3219088"/>
            <a:chExt cx="1167058" cy="141664"/>
          </a:xfrm>
        </p:grpSpPr>
        <p:grpSp>
          <p:nvGrpSpPr>
            <p:cNvPr id="868" name="Group 867">
              <a:extLst>
                <a:ext uri="{FF2B5EF4-FFF2-40B4-BE49-F238E27FC236}">
                  <a16:creationId xmlns:a16="http://schemas.microsoft.com/office/drawing/2014/main" id="{B8E70F42-59A1-1B44-A98C-FE85CBD699CF}"/>
                </a:ext>
              </a:extLst>
            </p:cNvPr>
            <p:cNvGrpSpPr/>
            <p:nvPr/>
          </p:nvGrpSpPr>
          <p:grpSpPr>
            <a:xfrm>
              <a:off x="2060679" y="3219088"/>
              <a:ext cx="106316" cy="141664"/>
              <a:chOff x="2265548" y="3068441"/>
              <a:chExt cx="71521" cy="95300"/>
            </a:xfrm>
            <a:solidFill>
              <a:schemeClr val="accent1"/>
            </a:solidFill>
          </p:grpSpPr>
          <p:sp>
            <p:nvSpPr>
              <p:cNvPr id="870" name="Freeform: Shape 486">
                <a:extLst>
                  <a:ext uri="{FF2B5EF4-FFF2-40B4-BE49-F238E27FC236}">
                    <a16:creationId xmlns:a16="http://schemas.microsoft.com/office/drawing/2014/main" id="{E9EC358A-C411-D443-8006-8BA66D42CF6B}"/>
                  </a:ext>
                </a:extLst>
              </p:cNvPr>
              <p:cNvSpPr/>
              <p:nvPr/>
            </p:nvSpPr>
            <p:spPr>
              <a:xfrm>
                <a:off x="2265548" y="3153152"/>
                <a:ext cx="66731" cy="10589"/>
              </a:xfrm>
              <a:custGeom>
                <a:avLst/>
                <a:gdLst>
                  <a:gd name="connsiteX0" fmla="*/ 62529 w 66731"/>
                  <a:gd name="connsiteY0" fmla="*/ 1513 h 10589"/>
                  <a:gd name="connsiteX1" fmla="*/ 61604 w 66731"/>
                  <a:gd name="connsiteY1" fmla="*/ 1933 h 10589"/>
                  <a:gd name="connsiteX2" fmla="*/ 55721 w 66731"/>
                  <a:gd name="connsiteY2" fmla="*/ 3530 h 10589"/>
                  <a:gd name="connsiteX3" fmla="*/ 49586 w 66731"/>
                  <a:gd name="connsiteY3" fmla="*/ 1681 h 10589"/>
                  <a:gd name="connsiteX4" fmla="*/ 49418 w 66731"/>
                  <a:gd name="connsiteY4" fmla="*/ 1597 h 10589"/>
                  <a:gd name="connsiteX5" fmla="*/ 44712 w 66731"/>
                  <a:gd name="connsiteY5" fmla="*/ 168 h 10589"/>
                  <a:gd name="connsiteX6" fmla="*/ 40005 w 66731"/>
                  <a:gd name="connsiteY6" fmla="*/ 1597 h 10589"/>
                  <a:gd name="connsiteX7" fmla="*/ 39837 w 66731"/>
                  <a:gd name="connsiteY7" fmla="*/ 1681 h 10589"/>
                  <a:gd name="connsiteX8" fmla="*/ 33702 w 66731"/>
                  <a:gd name="connsiteY8" fmla="*/ 3530 h 10589"/>
                  <a:gd name="connsiteX9" fmla="*/ 27567 w 66731"/>
                  <a:gd name="connsiteY9" fmla="*/ 1681 h 10589"/>
                  <a:gd name="connsiteX10" fmla="*/ 27398 w 66731"/>
                  <a:gd name="connsiteY10" fmla="*/ 1597 h 10589"/>
                  <a:gd name="connsiteX11" fmla="*/ 22692 w 66731"/>
                  <a:gd name="connsiteY11" fmla="*/ 168 h 10589"/>
                  <a:gd name="connsiteX12" fmla="*/ 17649 w 66731"/>
                  <a:gd name="connsiteY12" fmla="*/ 1513 h 10589"/>
                  <a:gd name="connsiteX13" fmla="*/ 11514 w 66731"/>
                  <a:gd name="connsiteY13" fmla="*/ 3362 h 10589"/>
                  <a:gd name="connsiteX14" fmla="*/ 5379 w 66731"/>
                  <a:gd name="connsiteY14" fmla="*/ 1513 h 10589"/>
                  <a:gd name="connsiteX15" fmla="*/ 5211 w 66731"/>
                  <a:gd name="connsiteY15" fmla="*/ 1429 h 10589"/>
                  <a:gd name="connsiteX16" fmla="*/ 588 w 66731"/>
                  <a:gd name="connsiteY16" fmla="*/ 0 h 10589"/>
                  <a:gd name="connsiteX17" fmla="*/ 0 w 66731"/>
                  <a:gd name="connsiteY17" fmla="*/ 0 h 10589"/>
                  <a:gd name="connsiteX18" fmla="*/ 0 w 66731"/>
                  <a:gd name="connsiteY18" fmla="*/ 7060 h 10589"/>
                  <a:gd name="connsiteX19" fmla="*/ 588 w 66731"/>
                  <a:gd name="connsiteY19" fmla="*/ 7060 h 10589"/>
                  <a:gd name="connsiteX20" fmla="*/ 3950 w 66731"/>
                  <a:gd name="connsiteY20" fmla="*/ 8237 h 10589"/>
                  <a:gd name="connsiteX21" fmla="*/ 4454 w 66731"/>
                  <a:gd name="connsiteY21" fmla="*/ 8489 h 10589"/>
                  <a:gd name="connsiteX22" fmla="*/ 11514 w 66731"/>
                  <a:gd name="connsiteY22" fmla="*/ 10590 h 10589"/>
                  <a:gd name="connsiteX23" fmla="*/ 19078 w 66731"/>
                  <a:gd name="connsiteY23" fmla="*/ 8237 h 10589"/>
                  <a:gd name="connsiteX24" fmla="*/ 19246 w 66731"/>
                  <a:gd name="connsiteY24" fmla="*/ 8153 h 10589"/>
                  <a:gd name="connsiteX25" fmla="*/ 22692 w 66731"/>
                  <a:gd name="connsiteY25" fmla="*/ 7060 h 10589"/>
                  <a:gd name="connsiteX26" fmla="*/ 26306 w 66731"/>
                  <a:gd name="connsiteY26" fmla="*/ 8237 h 10589"/>
                  <a:gd name="connsiteX27" fmla="*/ 26726 w 66731"/>
                  <a:gd name="connsiteY27" fmla="*/ 8489 h 10589"/>
                  <a:gd name="connsiteX28" fmla="*/ 33870 w 66731"/>
                  <a:gd name="connsiteY28" fmla="*/ 10590 h 10589"/>
                  <a:gd name="connsiteX29" fmla="*/ 41434 w 66731"/>
                  <a:gd name="connsiteY29" fmla="*/ 8237 h 10589"/>
                  <a:gd name="connsiteX30" fmla="*/ 41602 w 66731"/>
                  <a:gd name="connsiteY30" fmla="*/ 8153 h 10589"/>
                  <a:gd name="connsiteX31" fmla="*/ 45048 w 66731"/>
                  <a:gd name="connsiteY31" fmla="*/ 7060 h 10589"/>
                  <a:gd name="connsiteX32" fmla="*/ 48662 w 66731"/>
                  <a:gd name="connsiteY32" fmla="*/ 8237 h 10589"/>
                  <a:gd name="connsiteX33" fmla="*/ 49082 w 66731"/>
                  <a:gd name="connsiteY33" fmla="*/ 8489 h 10589"/>
                  <a:gd name="connsiteX34" fmla="*/ 56226 w 66731"/>
                  <a:gd name="connsiteY34" fmla="*/ 10590 h 10589"/>
                  <a:gd name="connsiteX35" fmla="*/ 63790 w 66731"/>
                  <a:gd name="connsiteY35" fmla="*/ 8237 h 10589"/>
                  <a:gd name="connsiteX36" fmla="*/ 66227 w 66731"/>
                  <a:gd name="connsiteY36" fmla="*/ 7144 h 10589"/>
                  <a:gd name="connsiteX37" fmla="*/ 66731 w 66731"/>
                  <a:gd name="connsiteY37" fmla="*/ 7060 h 10589"/>
                  <a:gd name="connsiteX38" fmla="*/ 66731 w 66731"/>
                  <a:gd name="connsiteY38" fmla="*/ 0 h 10589"/>
                  <a:gd name="connsiteX39" fmla="*/ 66059 w 66731"/>
                  <a:gd name="connsiteY39" fmla="*/ 84 h 10589"/>
                  <a:gd name="connsiteX40" fmla="*/ 62529 w 66731"/>
                  <a:gd name="connsiteY40" fmla="*/ 1513 h 10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66731" h="10589">
                    <a:moveTo>
                      <a:pt x="62529" y="1513"/>
                    </a:moveTo>
                    <a:cubicBezTo>
                      <a:pt x="62193" y="1681"/>
                      <a:pt x="61856" y="1849"/>
                      <a:pt x="61604" y="1933"/>
                    </a:cubicBezTo>
                    <a:cubicBezTo>
                      <a:pt x="60008" y="2689"/>
                      <a:pt x="58327" y="3530"/>
                      <a:pt x="55721" y="3530"/>
                    </a:cubicBezTo>
                    <a:cubicBezTo>
                      <a:pt x="52528" y="3530"/>
                      <a:pt x="51015" y="2522"/>
                      <a:pt x="49586" y="1681"/>
                    </a:cubicBezTo>
                    <a:lnTo>
                      <a:pt x="49418" y="1597"/>
                    </a:lnTo>
                    <a:cubicBezTo>
                      <a:pt x="48157" y="841"/>
                      <a:pt x="46981" y="168"/>
                      <a:pt x="44712" y="168"/>
                    </a:cubicBezTo>
                    <a:cubicBezTo>
                      <a:pt x="42442" y="168"/>
                      <a:pt x="41182" y="841"/>
                      <a:pt x="40005" y="1597"/>
                    </a:cubicBezTo>
                    <a:lnTo>
                      <a:pt x="39837" y="1681"/>
                    </a:lnTo>
                    <a:cubicBezTo>
                      <a:pt x="38492" y="2522"/>
                      <a:pt x="36895" y="3530"/>
                      <a:pt x="33702" y="3530"/>
                    </a:cubicBezTo>
                    <a:cubicBezTo>
                      <a:pt x="30508" y="3530"/>
                      <a:pt x="28911" y="2522"/>
                      <a:pt x="27567" y="1681"/>
                    </a:cubicBezTo>
                    <a:lnTo>
                      <a:pt x="27398" y="1597"/>
                    </a:lnTo>
                    <a:cubicBezTo>
                      <a:pt x="26138" y="841"/>
                      <a:pt x="24961" y="168"/>
                      <a:pt x="22692" y="168"/>
                    </a:cubicBezTo>
                    <a:cubicBezTo>
                      <a:pt x="20255" y="168"/>
                      <a:pt x="19078" y="757"/>
                      <a:pt x="17649" y="1513"/>
                    </a:cubicBezTo>
                    <a:cubicBezTo>
                      <a:pt x="16305" y="2353"/>
                      <a:pt x="14708" y="3362"/>
                      <a:pt x="11514" y="3362"/>
                    </a:cubicBezTo>
                    <a:cubicBezTo>
                      <a:pt x="8404" y="3362"/>
                      <a:pt x="6724" y="2353"/>
                      <a:pt x="5379" y="1513"/>
                    </a:cubicBezTo>
                    <a:lnTo>
                      <a:pt x="5211" y="1429"/>
                    </a:lnTo>
                    <a:cubicBezTo>
                      <a:pt x="3950" y="672"/>
                      <a:pt x="2773" y="0"/>
                      <a:pt x="588" y="0"/>
                    </a:cubicBezTo>
                    <a:lnTo>
                      <a:pt x="0" y="0"/>
                    </a:lnTo>
                    <a:lnTo>
                      <a:pt x="0" y="7060"/>
                    </a:lnTo>
                    <a:lnTo>
                      <a:pt x="588" y="7060"/>
                    </a:lnTo>
                    <a:cubicBezTo>
                      <a:pt x="2101" y="7060"/>
                      <a:pt x="2858" y="7480"/>
                      <a:pt x="3950" y="8237"/>
                    </a:cubicBezTo>
                    <a:lnTo>
                      <a:pt x="4454" y="8489"/>
                    </a:lnTo>
                    <a:cubicBezTo>
                      <a:pt x="5967" y="9329"/>
                      <a:pt x="8068" y="10590"/>
                      <a:pt x="11514" y="10590"/>
                    </a:cubicBezTo>
                    <a:cubicBezTo>
                      <a:pt x="15212" y="10590"/>
                      <a:pt x="17313" y="9413"/>
                      <a:pt x="19078" y="8237"/>
                    </a:cubicBezTo>
                    <a:lnTo>
                      <a:pt x="19246" y="8153"/>
                    </a:lnTo>
                    <a:cubicBezTo>
                      <a:pt x="20339" y="7480"/>
                      <a:pt x="21011" y="7060"/>
                      <a:pt x="22692" y="7060"/>
                    </a:cubicBezTo>
                    <a:cubicBezTo>
                      <a:pt x="24373" y="7060"/>
                      <a:pt x="25297" y="7564"/>
                      <a:pt x="26306" y="8237"/>
                    </a:cubicBezTo>
                    <a:lnTo>
                      <a:pt x="26726" y="8489"/>
                    </a:lnTo>
                    <a:cubicBezTo>
                      <a:pt x="28239" y="9329"/>
                      <a:pt x="30340" y="10590"/>
                      <a:pt x="33870" y="10590"/>
                    </a:cubicBezTo>
                    <a:cubicBezTo>
                      <a:pt x="37568" y="10590"/>
                      <a:pt x="39669" y="9413"/>
                      <a:pt x="41434" y="8237"/>
                    </a:cubicBezTo>
                    <a:lnTo>
                      <a:pt x="41602" y="8153"/>
                    </a:lnTo>
                    <a:cubicBezTo>
                      <a:pt x="42694" y="7480"/>
                      <a:pt x="43367" y="7060"/>
                      <a:pt x="45048" y="7060"/>
                    </a:cubicBezTo>
                    <a:cubicBezTo>
                      <a:pt x="46729" y="7060"/>
                      <a:pt x="47653" y="7564"/>
                      <a:pt x="48662" y="8237"/>
                    </a:cubicBezTo>
                    <a:lnTo>
                      <a:pt x="49082" y="8489"/>
                    </a:lnTo>
                    <a:cubicBezTo>
                      <a:pt x="50595" y="9329"/>
                      <a:pt x="52696" y="10590"/>
                      <a:pt x="56226" y="10590"/>
                    </a:cubicBezTo>
                    <a:cubicBezTo>
                      <a:pt x="59923" y="10590"/>
                      <a:pt x="62025" y="9413"/>
                      <a:pt x="63790" y="8237"/>
                    </a:cubicBezTo>
                    <a:cubicBezTo>
                      <a:pt x="64630" y="7648"/>
                      <a:pt x="65302" y="7228"/>
                      <a:pt x="66227" y="7144"/>
                    </a:cubicBezTo>
                    <a:lnTo>
                      <a:pt x="66731" y="7060"/>
                    </a:lnTo>
                    <a:lnTo>
                      <a:pt x="66731" y="0"/>
                    </a:lnTo>
                    <a:lnTo>
                      <a:pt x="66059" y="84"/>
                    </a:lnTo>
                    <a:cubicBezTo>
                      <a:pt x="64546" y="337"/>
                      <a:pt x="63537" y="841"/>
                      <a:pt x="62529" y="151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71" name="Freeform: Shape 487">
                <a:extLst>
                  <a:ext uri="{FF2B5EF4-FFF2-40B4-BE49-F238E27FC236}">
                    <a16:creationId xmlns:a16="http://schemas.microsoft.com/office/drawing/2014/main" id="{C0B59DF1-E88F-FF45-A674-3DA726DE2F2A}"/>
                  </a:ext>
                </a:extLst>
              </p:cNvPr>
              <p:cNvSpPr/>
              <p:nvPr/>
            </p:nvSpPr>
            <p:spPr>
              <a:xfrm>
                <a:off x="2294459" y="3101465"/>
                <a:ext cx="8908" cy="8908"/>
              </a:xfrm>
              <a:custGeom>
                <a:avLst/>
                <a:gdLst>
                  <a:gd name="connsiteX0" fmla="*/ 8909 w 8908"/>
                  <a:gd name="connsiteY0" fmla="*/ 4454 h 8908"/>
                  <a:gd name="connsiteX1" fmla="*/ 4454 w 8908"/>
                  <a:gd name="connsiteY1" fmla="*/ 8909 h 8908"/>
                  <a:gd name="connsiteX2" fmla="*/ 0 w 8908"/>
                  <a:gd name="connsiteY2" fmla="*/ 4454 h 8908"/>
                  <a:gd name="connsiteX3" fmla="*/ 4454 w 8908"/>
                  <a:gd name="connsiteY3" fmla="*/ 0 h 8908"/>
                  <a:gd name="connsiteX4" fmla="*/ 8909 w 8908"/>
                  <a:gd name="connsiteY4" fmla="*/ 4454 h 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8">
                    <a:moveTo>
                      <a:pt x="8909" y="4454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4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1933"/>
                      <a:pt x="8909" y="4454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72" name="Freeform: Shape 488">
                <a:extLst>
                  <a:ext uri="{FF2B5EF4-FFF2-40B4-BE49-F238E27FC236}">
                    <a16:creationId xmlns:a16="http://schemas.microsoft.com/office/drawing/2014/main" id="{011AFA6F-6505-F841-8CCE-15F5AB43822C}"/>
                  </a:ext>
                </a:extLst>
              </p:cNvPr>
              <p:cNvSpPr/>
              <p:nvPr/>
            </p:nvSpPr>
            <p:spPr>
              <a:xfrm>
                <a:off x="2287231" y="3068441"/>
                <a:ext cx="14623" cy="29573"/>
              </a:xfrm>
              <a:custGeom>
                <a:avLst/>
                <a:gdLst>
                  <a:gd name="connsiteX0" fmla="*/ 0 w 14623"/>
                  <a:gd name="connsiteY0" fmla="*/ 163 h 29573"/>
                  <a:gd name="connsiteX1" fmla="*/ 4370 w 14623"/>
                  <a:gd name="connsiteY1" fmla="*/ 22519 h 29573"/>
                  <a:gd name="connsiteX2" fmla="*/ 14624 w 14623"/>
                  <a:gd name="connsiteY2" fmla="*/ 29410 h 29573"/>
                  <a:gd name="connsiteX3" fmla="*/ 10253 w 14623"/>
                  <a:gd name="connsiteY3" fmla="*/ 7054 h 29573"/>
                  <a:gd name="connsiteX4" fmla="*/ 0 w 14623"/>
                  <a:gd name="connsiteY4" fmla="*/ 163 h 29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3">
                    <a:moveTo>
                      <a:pt x="0" y="163"/>
                    </a:moveTo>
                    <a:lnTo>
                      <a:pt x="4370" y="22519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73" name="Freeform: Shape 489">
                <a:extLst>
                  <a:ext uri="{FF2B5EF4-FFF2-40B4-BE49-F238E27FC236}">
                    <a16:creationId xmlns:a16="http://schemas.microsoft.com/office/drawing/2014/main" id="{53347749-D1C4-9748-A2E8-76388A7CA3E6}"/>
                  </a:ext>
                </a:extLst>
              </p:cNvPr>
              <p:cNvSpPr/>
              <p:nvPr/>
            </p:nvSpPr>
            <p:spPr>
              <a:xfrm>
                <a:off x="2270285" y="3107348"/>
                <a:ext cx="22294" cy="27397"/>
              </a:xfrm>
              <a:custGeom>
                <a:avLst/>
                <a:gdLst>
                  <a:gd name="connsiteX0" fmla="*/ 2154 w 22294"/>
                  <a:gd name="connsiteY0" fmla="*/ 27398 h 27397"/>
                  <a:gd name="connsiteX1" fmla="*/ 19299 w 22294"/>
                  <a:gd name="connsiteY1" fmla="*/ 12354 h 27397"/>
                  <a:gd name="connsiteX2" fmla="*/ 20140 w 22294"/>
                  <a:gd name="connsiteY2" fmla="*/ 0 h 27397"/>
                  <a:gd name="connsiteX3" fmla="*/ 2995 w 22294"/>
                  <a:gd name="connsiteY3" fmla="*/ 14960 h 27397"/>
                  <a:gd name="connsiteX4" fmla="*/ 2154 w 22294"/>
                  <a:gd name="connsiteY4" fmla="*/ 27398 h 27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7">
                    <a:moveTo>
                      <a:pt x="2154" y="27398"/>
                    </a:moveTo>
                    <a:lnTo>
                      <a:pt x="19299" y="12354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7"/>
                      <a:pt x="-1039" y="23784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74" name="Freeform: Shape 490">
                <a:extLst>
                  <a:ext uri="{FF2B5EF4-FFF2-40B4-BE49-F238E27FC236}">
                    <a16:creationId xmlns:a16="http://schemas.microsoft.com/office/drawing/2014/main" id="{EDCF5136-7869-044A-990A-723CD2360C2C}"/>
                  </a:ext>
                </a:extLst>
              </p:cNvPr>
              <p:cNvSpPr/>
              <p:nvPr/>
            </p:nvSpPr>
            <p:spPr>
              <a:xfrm>
                <a:off x="2304376" y="3106564"/>
                <a:ext cx="32693" cy="13670"/>
              </a:xfrm>
              <a:custGeom>
                <a:avLst/>
                <a:gdLst>
                  <a:gd name="connsiteX0" fmla="*/ 32693 w 32693"/>
                  <a:gd name="connsiteY0" fmla="*/ 7676 h 13670"/>
                  <a:gd name="connsiteX1" fmla="*/ 11094 w 32693"/>
                  <a:gd name="connsiteY1" fmla="*/ 448 h 13670"/>
                  <a:gd name="connsiteX2" fmla="*/ 0 w 32693"/>
                  <a:gd name="connsiteY2" fmla="*/ 5995 h 13670"/>
                  <a:gd name="connsiteX3" fmla="*/ 21599 w 32693"/>
                  <a:gd name="connsiteY3" fmla="*/ 13223 h 13670"/>
                  <a:gd name="connsiteX4" fmla="*/ 32693 w 32693"/>
                  <a:gd name="connsiteY4" fmla="*/ 7676 h 13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70">
                    <a:moveTo>
                      <a:pt x="32693" y="7676"/>
                    </a:moveTo>
                    <a:lnTo>
                      <a:pt x="11094" y="448"/>
                    </a:lnTo>
                    <a:cubicBezTo>
                      <a:pt x="6555" y="-1065"/>
                      <a:pt x="1513" y="1373"/>
                      <a:pt x="0" y="5995"/>
                    </a:cubicBezTo>
                    <a:lnTo>
                      <a:pt x="21599" y="13223"/>
                    </a:lnTo>
                    <a:cubicBezTo>
                      <a:pt x="26222" y="14735"/>
                      <a:pt x="31180" y="12298"/>
                      <a:pt x="32693" y="76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75" name="Freeform: Shape 491">
                <a:extLst>
                  <a:ext uri="{FF2B5EF4-FFF2-40B4-BE49-F238E27FC236}">
                    <a16:creationId xmlns:a16="http://schemas.microsoft.com/office/drawing/2014/main" id="{B83BF87D-27B3-4C49-BF5A-1B2ABD1492CC}"/>
                  </a:ext>
                </a:extLst>
              </p:cNvPr>
              <p:cNvSpPr/>
              <p:nvPr/>
            </p:nvSpPr>
            <p:spPr>
              <a:xfrm>
                <a:off x="2293114" y="3114975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3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3"/>
                      <a:pt x="420" y="21872"/>
                      <a:pt x="0" y="33555"/>
                    </a:cubicBezTo>
                    <a:cubicBezTo>
                      <a:pt x="1765" y="34984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</p:grpSp>
        <p:sp>
          <p:nvSpPr>
            <p:cNvPr id="869" name="TextBox 868">
              <a:extLst>
                <a:ext uri="{FF2B5EF4-FFF2-40B4-BE49-F238E27FC236}">
                  <a16:creationId xmlns:a16="http://schemas.microsoft.com/office/drawing/2014/main" id="{2E088587-0502-9540-97BD-E0ADE43FE969}"/>
                </a:ext>
              </a:extLst>
            </p:cNvPr>
            <p:cNvSpPr txBox="1"/>
            <p:nvPr/>
          </p:nvSpPr>
          <p:spPr>
            <a:xfrm>
              <a:off x="999937" y="3253529"/>
              <a:ext cx="983342" cy="10409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>
                <a:lnSpc>
                  <a:spcPct val="96000"/>
                </a:lnSpc>
                <a:spcBef>
                  <a:spcPts val="2400"/>
                </a:spcBef>
              </a:pPr>
              <a:r>
                <a:rPr lang="en-US" sz="867">
                  <a:solidFill>
                    <a:schemeClr val="accent1"/>
                  </a:solidFill>
                </a:rPr>
                <a:t>West of </a:t>
              </a:r>
              <a:r>
                <a:rPr lang="en-US" sz="867" err="1">
                  <a:solidFill>
                    <a:schemeClr val="accent1"/>
                  </a:solidFill>
                </a:rPr>
                <a:t>Duddon</a:t>
              </a:r>
              <a:r>
                <a:rPr lang="en-US" sz="867">
                  <a:solidFill>
                    <a:schemeClr val="accent1"/>
                  </a:solidFill>
                </a:rPr>
                <a:t> Sands</a:t>
              </a:r>
            </a:p>
          </p:txBody>
        </p:sp>
      </p:grpSp>
      <p:grpSp>
        <p:nvGrpSpPr>
          <p:cNvPr id="876" name="Group 875">
            <a:extLst>
              <a:ext uri="{FF2B5EF4-FFF2-40B4-BE49-F238E27FC236}">
                <a16:creationId xmlns:a16="http://schemas.microsoft.com/office/drawing/2014/main" id="{D29E9610-2A3D-9647-8B28-3C73A36703E2}"/>
              </a:ext>
            </a:extLst>
          </p:cNvPr>
          <p:cNvGrpSpPr>
            <a:grpSpLocks/>
          </p:cNvGrpSpPr>
          <p:nvPr/>
        </p:nvGrpSpPr>
        <p:grpSpPr>
          <a:xfrm>
            <a:off x="9322037" y="5545524"/>
            <a:ext cx="1304976" cy="189840"/>
            <a:chOff x="2199788" y="3084446"/>
            <a:chExt cx="1060293" cy="154245"/>
          </a:xfrm>
        </p:grpSpPr>
        <p:grpSp>
          <p:nvGrpSpPr>
            <p:cNvPr id="877" name="Group 876">
              <a:extLst>
                <a:ext uri="{FF2B5EF4-FFF2-40B4-BE49-F238E27FC236}">
                  <a16:creationId xmlns:a16="http://schemas.microsoft.com/office/drawing/2014/main" id="{531586F4-B448-6347-B0EB-5CD7A15666DA}"/>
                </a:ext>
              </a:extLst>
            </p:cNvPr>
            <p:cNvGrpSpPr/>
            <p:nvPr/>
          </p:nvGrpSpPr>
          <p:grpSpPr>
            <a:xfrm>
              <a:off x="2199788" y="3084446"/>
              <a:ext cx="106316" cy="141664"/>
              <a:chOff x="2265548" y="3068441"/>
              <a:chExt cx="71521" cy="95300"/>
            </a:xfrm>
            <a:solidFill>
              <a:schemeClr val="accent1"/>
            </a:solidFill>
          </p:grpSpPr>
          <p:sp>
            <p:nvSpPr>
              <p:cNvPr id="879" name="Freeform: Shape 558">
                <a:extLst>
                  <a:ext uri="{FF2B5EF4-FFF2-40B4-BE49-F238E27FC236}">
                    <a16:creationId xmlns:a16="http://schemas.microsoft.com/office/drawing/2014/main" id="{B68BDCB2-C8E2-D74E-AAD6-BD2063B7E6D5}"/>
                  </a:ext>
                </a:extLst>
              </p:cNvPr>
              <p:cNvSpPr/>
              <p:nvPr/>
            </p:nvSpPr>
            <p:spPr>
              <a:xfrm>
                <a:off x="2265548" y="3153152"/>
                <a:ext cx="66731" cy="10589"/>
              </a:xfrm>
              <a:custGeom>
                <a:avLst/>
                <a:gdLst>
                  <a:gd name="connsiteX0" fmla="*/ 62529 w 66731"/>
                  <a:gd name="connsiteY0" fmla="*/ 1513 h 10589"/>
                  <a:gd name="connsiteX1" fmla="*/ 61604 w 66731"/>
                  <a:gd name="connsiteY1" fmla="*/ 1933 h 10589"/>
                  <a:gd name="connsiteX2" fmla="*/ 55721 w 66731"/>
                  <a:gd name="connsiteY2" fmla="*/ 3530 h 10589"/>
                  <a:gd name="connsiteX3" fmla="*/ 49586 w 66731"/>
                  <a:gd name="connsiteY3" fmla="*/ 1681 h 10589"/>
                  <a:gd name="connsiteX4" fmla="*/ 49418 w 66731"/>
                  <a:gd name="connsiteY4" fmla="*/ 1597 h 10589"/>
                  <a:gd name="connsiteX5" fmla="*/ 44712 w 66731"/>
                  <a:gd name="connsiteY5" fmla="*/ 168 h 10589"/>
                  <a:gd name="connsiteX6" fmla="*/ 40005 w 66731"/>
                  <a:gd name="connsiteY6" fmla="*/ 1597 h 10589"/>
                  <a:gd name="connsiteX7" fmla="*/ 39837 w 66731"/>
                  <a:gd name="connsiteY7" fmla="*/ 1681 h 10589"/>
                  <a:gd name="connsiteX8" fmla="*/ 33702 w 66731"/>
                  <a:gd name="connsiteY8" fmla="*/ 3530 h 10589"/>
                  <a:gd name="connsiteX9" fmla="*/ 27567 w 66731"/>
                  <a:gd name="connsiteY9" fmla="*/ 1681 h 10589"/>
                  <a:gd name="connsiteX10" fmla="*/ 27398 w 66731"/>
                  <a:gd name="connsiteY10" fmla="*/ 1597 h 10589"/>
                  <a:gd name="connsiteX11" fmla="*/ 22692 w 66731"/>
                  <a:gd name="connsiteY11" fmla="*/ 168 h 10589"/>
                  <a:gd name="connsiteX12" fmla="*/ 17649 w 66731"/>
                  <a:gd name="connsiteY12" fmla="*/ 1513 h 10589"/>
                  <a:gd name="connsiteX13" fmla="*/ 11514 w 66731"/>
                  <a:gd name="connsiteY13" fmla="*/ 3362 h 10589"/>
                  <a:gd name="connsiteX14" fmla="*/ 5379 w 66731"/>
                  <a:gd name="connsiteY14" fmla="*/ 1513 h 10589"/>
                  <a:gd name="connsiteX15" fmla="*/ 5211 w 66731"/>
                  <a:gd name="connsiteY15" fmla="*/ 1429 h 10589"/>
                  <a:gd name="connsiteX16" fmla="*/ 588 w 66731"/>
                  <a:gd name="connsiteY16" fmla="*/ 0 h 10589"/>
                  <a:gd name="connsiteX17" fmla="*/ 0 w 66731"/>
                  <a:gd name="connsiteY17" fmla="*/ 0 h 10589"/>
                  <a:gd name="connsiteX18" fmla="*/ 0 w 66731"/>
                  <a:gd name="connsiteY18" fmla="*/ 7060 h 10589"/>
                  <a:gd name="connsiteX19" fmla="*/ 588 w 66731"/>
                  <a:gd name="connsiteY19" fmla="*/ 7060 h 10589"/>
                  <a:gd name="connsiteX20" fmla="*/ 3950 w 66731"/>
                  <a:gd name="connsiteY20" fmla="*/ 8237 h 10589"/>
                  <a:gd name="connsiteX21" fmla="*/ 4454 w 66731"/>
                  <a:gd name="connsiteY21" fmla="*/ 8489 h 10589"/>
                  <a:gd name="connsiteX22" fmla="*/ 11514 w 66731"/>
                  <a:gd name="connsiteY22" fmla="*/ 10590 h 10589"/>
                  <a:gd name="connsiteX23" fmla="*/ 19078 w 66731"/>
                  <a:gd name="connsiteY23" fmla="*/ 8237 h 10589"/>
                  <a:gd name="connsiteX24" fmla="*/ 19246 w 66731"/>
                  <a:gd name="connsiteY24" fmla="*/ 8153 h 10589"/>
                  <a:gd name="connsiteX25" fmla="*/ 22692 w 66731"/>
                  <a:gd name="connsiteY25" fmla="*/ 7060 h 10589"/>
                  <a:gd name="connsiteX26" fmla="*/ 26306 w 66731"/>
                  <a:gd name="connsiteY26" fmla="*/ 8237 h 10589"/>
                  <a:gd name="connsiteX27" fmla="*/ 26726 w 66731"/>
                  <a:gd name="connsiteY27" fmla="*/ 8489 h 10589"/>
                  <a:gd name="connsiteX28" fmla="*/ 33870 w 66731"/>
                  <a:gd name="connsiteY28" fmla="*/ 10590 h 10589"/>
                  <a:gd name="connsiteX29" fmla="*/ 41434 w 66731"/>
                  <a:gd name="connsiteY29" fmla="*/ 8237 h 10589"/>
                  <a:gd name="connsiteX30" fmla="*/ 41602 w 66731"/>
                  <a:gd name="connsiteY30" fmla="*/ 8153 h 10589"/>
                  <a:gd name="connsiteX31" fmla="*/ 45048 w 66731"/>
                  <a:gd name="connsiteY31" fmla="*/ 7060 h 10589"/>
                  <a:gd name="connsiteX32" fmla="*/ 48662 w 66731"/>
                  <a:gd name="connsiteY32" fmla="*/ 8237 h 10589"/>
                  <a:gd name="connsiteX33" fmla="*/ 49082 w 66731"/>
                  <a:gd name="connsiteY33" fmla="*/ 8489 h 10589"/>
                  <a:gd name="connsiteX34" fmla="*/ 56226 w 66731"/>
                  <a:gd name="connsiteY34" fmla="*/ 10590 h 10589"/>
                  <a:gd name="connsiteX35" fmla="*/ 63790 w 66731"/>
                  <a:gd name="connsiteY35" fmla="*/ 8237 h 10589"/>
                  <a:gd name="connsiteX36" fmla="*/ 66227 w 66731"/>
                  <a:gd name="connsiteY36" fmla="*/ 7144 h 10589"/>
                  <a:gd name="connsiteX37" fmla="*/ 66731 w 66731"/>
                  <a:gd name="connsiteY37" fmla="*/ 7060 h 10589"/>
                  <a:gd name="connsiteX38" fmla="*/ 66731 w 66731"/>
                  <a:gd name="connsiteY38" fmla="*/ 0 h 10589"/>
                  <a:gd name="connsiteX39" fmla="*/ 66059 w 66731"/>
                  <a:gd name="connsiteY39" fmla="*/ 84 h 10589"/>
                  <a:gd name="connsiteX40" fmla="*/ 62529 w 66731"/>
                  <a:gd name="connsiteY40" fmla="*/ 1513 h 10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66731" h="10589">
                    <a:moveTo>
                      <a:pt x="62529" y="1513"/>
                    </a:moveTo>
                    <a:cubicBezTo>
                      <a:pt x="62193" y="1681"/>
                      <a:pt x="61856" y="1849"/>
                      <a:pt x="61604" y="1933"/>
                    </a:cubicBezTo>
                    <a:cubicBezTo>
                      <a:pt x="60008" y="2689"/>
                      <a:pt x="58327" y="3530"/>
                      <a:pt x="55721" y="3530"/>
                    </a:cubicBezTo>
                    <a:cubicBezTo>
                      <a:pt x="52528" y="3530"/>
                      <a:pt x="51015" y="2522"/>
                      <a:pt x="49586" y="1681"/>
                    </a:cubicBezTo>
                    <a:lnTo>
                      <a:pt x="49418" y="1597"/>
                    </a:lnTo>
                    <a:cubicBezTo>
                      <a:pt x="48157" y="841"/>
                      <a:pt x="46981" y="168"/>
                      <a:pt x="44712" y="168"/>
                    </a:cubicBezTo>
                    <a:cubicBezTo>
                      <a:pt x="42442" y="168"/>
                      <a:pt x="41182" y="841"/>
                      <a:pt x="40005" y="1597"/>
                    </a:cubicBezTo>
                    <a:lnTo>
                      <a:pt x="39837" y="1681"/>
                    </a:lnTo>
                    <a:cubicBezTo>
                      <a:pt x="38492" y="2522"/>
                      <a:pt x="36895" y="3530"/>
                      <a:pt x="33702" y="3530"/>
                    </a:cubicBezTo>
                    <a:cubicBezTo>
                      <a:pt x="30508" y="3530"/>
                      <a:pt x="28911" y="2522"/>
                      <a:pt x="27567" y="1681"/>
                    </a:cubicBezTo>
                    <a:lnTo>
                      <a:pt x="27398" y="1597"/>
                    </a:lnTo>
                    <a:cubicBezTo>
                      <a:pt x="26138" y="841"/>
                      <a:pt x="24961" y="168"/>
                      <a:pt x="22692" y="168"/>
                    </a:cubicBezTo>
                    <a:cubicBezTo>
                      <a:pt x="20255" y="168"/>
                      <a:pt x="19078" y="757"/>
                      <a:pt x="17649" y="1513"/>
                    </a:cubicBezTo>
                    <a:cubicBezTo>
                      <a:pt x="16305" y="2353"/>
                      <a:pt x="14708" y="3362"/>
                      <a:pt x="11514" y="3362"/>
                    </a:cubicBezTo>
                    <a:cubicBezTo>
                      <a:pt x="8404" y="3362"/>
                      <a:pt x="6724" y="2353"/>
                      <a:pt x="5379" y="1513"/>
                    </a:cubicBezTo>
                    <a:lnTo>
                      <a:pt x="5211" y="1429"/>
                    </a:lnTo>
                    <a:cubicBezTo>
                      <a:pt x="3950" y="672"/>
                      <a:pt x="2773" y="0"/>
                      <a:pt x="588" y="0"/>
                    </a:cubicBezTo>
                    <a:lnTo>
                      <a:pt x="0" y="0"/>
                    </a:lnTo>
                    <a:lnTo>
                      <a:pt x="0" y="7060"/>
                    </a:lnTo>
                    <a:lnTo>
                      <a:pt x="588" y="7060"/>
                    </a:lnTo>
                    <a:cubicBezTo>
                      <a:pt x="2101" y="7060"/>
                      <a:pt x="2858" y="7480"/>
                      <a:pt x="3950" y="8237"/>
                    </a:cubicBezTo>
                    <a:lnTo>
                      <a:pt x="4454" y="8489"/>
                    </a:lnTo>
                    <a:cubicBezTo>
                      <a:pt x="5967" y="9329"/>
                      <a:pt x="8068" y="10590"/>
                      <a:pt x="11514" y="10590"/>
                    </a:cubicBezTo>
                    <a:cubicBezTo>
                      <a:pt x="15212" y="10590"/>
                      <a:pt x="17313" y="9413"/>
                      <a:pt x="19078" y="8237"/>
                    </a:cubicBezTo>
                    <a:lnTo>
                      <a:pt x="19246" y="8153"/>
                    </a:lnTo>
                    <a:cubicBezTo>
                      <a:pt x="20339" y="7480"/>
                      <a:pt x="21011" y="7060"/>
                      <a:pt x="22692" y="7060"/>
                    </a:cubicBezTo>
                    <a:cubicBezTo>
                      <a:pt x="24373" y="7060"/>
                      <a:pt x="25297" y="7564"/>
                      <a:pt x="26306" y="8237"/>
                    </a:cubicBezTo>
                    <a:lnTo>
                      <a:pt x="26726" y="8489"/>
                    </a:lnTo>
                    <a:cubicBezTo>
                      <a:pt x="28239" y="9329"/>
                      <a:pt x="30340" y="10590"/>
                      <a:pt x="33870" y="10590"/>
                    </a:cubicBezTo>
                    <a:cubicBezTo>
                      <a:pt x="37568" y="10590"/>
                      <a:pt x="39669" y="9413"/>
                      <a:pt x="41434" y="8237"/>
                    </a:cubicBezTo>
                    <a:lnTo>
                      <a:pt x="41602" y="8153"/>
                    </a:lnTo>
                    <a:cubicBezTo>
                      <a:pt x="42694" y="7480"/>
                      <a:pt x="43367" y="7060"/>
                      <a:pt x="45048" y="7060"/>
                    </a:cubicBezTo>
                    <a:cubicBezTo>
                      <a:pt x="46729" y="7060"/>
                      <a:pt x="47653" y="7564"/>
                      <a:pt x="48662" y="8237"/>
                    </a:cubicBezTo>
                    <a:lnTo>
                      <a:pt x="49082" y="8489"/>
                    </a:lnTo>
                    <a:cubicBezTo>
                      <a:pt x="50595" y="9329"/>
                      <a:pt x="52696" y="10590"/>
                      <a:pt x="56226" y="10590"/>
                    </a:cubicBezTo>
                    <a:cubicBezTo>
                      <a:pt x="59923" y="10590"/>
                      <a:pt x="62025" y="9413"/>
                      <a:pt x="63790" y="8237"/>
                    </a:cubicBezTo>
                    <a:cubicBezTo>
                      <a:pt x="64630" y="7648"/>
                      <a:pt x="65302" y="7228"/>
                      <a:pt x="66227" y="7144"/>
                    </a:cubicBezTo>
                    <a:lnTo>
                      <a:pt x="66731" y="7060"/>
                    </a:lnTo>
                    <a:lnTo>
                      <a:pt x="66731" y="0"/>
                    </a:lnTo>
                    <a:lnTo>
                      <a:pt x="66059" y="84"/>
                    </a:lnTo>
                    <a:cubicBezTo>
                      <a:pt x="64546" y="337"/>
                      <a:pt x="63537" y="841"/>
                      <a:pt x="62529" y="151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80" name="Freeform: Shape 559">
                <a:extLst>
                  <a:ext uri="{FF2B5EF4-FFF2-40B4-BE49-F238E27FC236}">
                    <a16:creationId xmlns:a16="http://schemas.microsoft.com/office/drawing/2014/main" id="{DDD61444-2606-BD45-B3C4-80106F504EE2}"/>
                  </a:ext>
                </a:extLst>
              </p:cNvPr>
              <p:cNvSpPr/>
              <p:nvPr/>
            </p:nvSpPr>
            <p:spPr>
              <a:xfrm>
                <a:off x="2294459" y="3101465"/>
                <a:ext cx="8908" cy="8908"/>
              </a:xfrm>
              <a:custGeom>
                <a:avLst/>
                <a:gdLst>
                  <a:gd name="connsiteX0" fmla="*/ 8909 w 8908"/>
                  <a:gd name="connsiteY0" fmla="*/ 4454 h 8908"/>
                  <a:gd name="connsiteX1" fmla="*/ 4454 w 8908"/>
                  <a:gd name="connsiteY1" fmla="*/ 8909 h 8908"/>
                  <a:gd name="connsiteX2" fmla="*/ 0 w 8908"/>
                  <a:gd name="connsiteY2" fmla="*/ 4454 h 8908"/>
                  <a:gd name="connsiteX3" fmla="*/ 4454 w 8908"/>
                  <a:gd name="connsiteY3" fmla="*/ 0 h 8908"/>
                  <a:gd name="connsiteX4" fmla="*/ 8909 w 8908"/>
                  <a:gd name="connsiteY4" fmla="*/ 4454 h 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8">
                    <a:moveTo>
                      <a:pt x="8909" y="4454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4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1933"/>
                      <a:pt x="8909" y="4454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81" name="Freeform: Shape 560">
                <a:extLst>
                  <a:ext uri="{FF2B5EF4-FFF2-40B4-BE49-F238E27FC236}">
                    <a16:creationId xmlns:a16="http://schemas.microsoft.com/office/drawing/2014/main" id="{3A858AF5-E645-2343-8A36-E865730C909E}"/>
                  </a:ext>
                </a:extLst>
              </p:cNvPr>
              <p:cNvSpPr/>
              <p:nvPr/>
            </p:nvSpPr>
            <p:spPr>
              <a:xfrm>
                <a:off x="2287231" y="3068441"/>
                <a:ext cx="14623" cy="29573"/>
              </a:xfrm>
              <a:custGeom>
                <a:avLst/>
                <a:gdLst>
                  <a:gd name="connsiteX0" fmla="*/ 0 w 14623"/>
                  <a:gd name="connsiteY0" fmla="*/ 163 h 29573"/>
                  <a:gd name="connsiteX1" fmla="*/ 4370 w 14623"/>
                  <a:gd name="connsiteY1" fmla="*/ 22519 h 29573"/>
                  <a:gd name="connsiteX2" fmla="*/ 14624 w 14623"/>
                  <a:gd name="connsiteY2" fmla="*/ 29410 h 29573"/>
                  <a:gd name="connsiteX3" fmla="*/ 10253 w 14623"/>
                  <a:gd name="connsiteY3" fmla="*/ 7054 h 29573"/>
                  <a:gd name="connsiteX4" fmla="*/ 0 w 14623"/>
                  <a:gd name="connsiteY4" fmla="*/ 163 h 29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3">
                    <a:moveTo>
                      <a:pt x="0" y="163"/>
                    </a:moveTo>
                    <a:lnTo>
                      <a:pt x="4370" y="22519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82" name="Freeform: Shape 561">
                <a:extLst>
                  <a:ext uri="{FF2B5EF4-FFF2-40B4-BE49-F238E27FC236}">
                    <a16:creationId xmlns:a16="http://schemas.microsoft.com/office/drawing/2014/main" id="{17A2272A-63B8-3445-94E7-4738DD6BF4D5}"/>
                  </a:ext>
                </a:extLst>
              </p:cNvPr>
              <p:cNvSpPr/>
              <p:nvPr/>
            </p:nvSpPr>
            <p:spPr>
              <a:xfrm>
                <a:off x="2270285" y="3107348"/>
                <a:ext cx="22294" cy="27397"/>
              </a:xfrm>
              <a:custGeom>
                <a:avLst/>
                <a:gdLst>
                  <a:gd name="connsiteX0" fmla="*/ 2154 w 22294"/>
                  <a:gd name="connsiteY0" fmla="*/ 27398 h 27397"/>
                  <a:gd name="connsiteX1" fmla="*/ 19299 w 22294"/>
                  <a:gd name="connsiteY1" fmla="*/ 12354 h 27397"/>
                  <a:gd name="connsiteX2" fmla="*/ 20140 w 22294"/>
                  <a:gd name="connsiteY2" fmla="*/ 0 h 27397"/>
                  <a:gd name="connsiteX3" fmla="*/ 2995 w 22294"/>
                  <a:gd name="connsiteY3" fmla="*/ 14960 h 27397"/>
                  <a:gd name="connsiteX4" fmla="*/ 2154 w 22294"/>
                  <a:gd name="connsiteY4" fmla="*/ 27398 h 27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7">
                    <a:moveTo>
                      <a:pt x="2154" y="27398"/>
                    </a:moveTo>
                    <a:lnTo>
                      <a:pt x="19299" y="12354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7"/>
                      <a:pt x="-1039" y="23784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83" name="Freeform: Shape 562">
                <a:extLst>
                  <a:ext uri="{FF2B5EF4-FFF2-40B4-BE49-F238E27FC236}">
                    <a16:creationId xmlns:a16="http://schemas.microsoft.com/office/drawing/2014/main" id="{2F88BA28-26E2-CB46-B9A5-A2EE1FE8C136}"/>
                  </a:ext>
                </a:extLst>
              </p:cNvPr>
              <p:cNvSpPr/>
              <p:nvPr/>
            </p:nvSpPr>
            <p:spPr>
              <a:xfrm>
                <a:off x="2304376" y="3106564"/>
                <a:ext cx="32693" cy="13670"/>
              </a:xfrm>
              <a:custGeom>
                <a:avLst/>
                <a:gdLst>
                  <a:gd name="connsiteX0" fmla="*/ 32693 w 32693"/>
                  <a:gd name="connsiteY0" fmla="*/ 7676 h 13670"/>
                  <a:gd name="connsiteX1" fmla="*/ 11094 w 32693"/>
                  <a:gd name="connsiteY1" fmla="*/ 448 h 13670"/>
                  <a:gd name="connsiteX2" fmla="*/ 0 w 32693"/>
                  <a:gd name="connsiteY2" fmla="*/ 5995 h 13670"/>
                  <a:gd name="connsiteX3" fmla="*/ 21599 w 32693"/>
                  <a:gd name="connsiteY3" fmla="*/ 13223 h 13670"/>
                  <a:gd name="connsiteX4" fmla="*/ 32693 w 32693"/>
                  <a:gd name="connsiteY4" fmla="*/ 7676 h 13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70">
                    <a:moveTo>
                      <a:pt x="32693" y="7676"/>
                    </a:moveTo>
                    <a:lnTo>
                      <a:pt x="11094" y="448"/>
                    </a:lnTo>
                    <a:cubicBezTo>
                      <a:pt x="6555" y="-1065"/>
                      <a:pt x="1513" y="1373"/>
                      <a:pt x="0" y="5995"/>
                    </a:cubicBezTo>
                    <a:lnTo>
                      <a:pt x="21599" y="13223"/>
                    </a:lnTo>
                    <a:cubicBezTo>
                      <a:pt x="26222" y="14735"/>
                      <a:pt x="31180" y="12298"/>
                      <a:pt x="32693" y="76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84" name="Freeform: Shape 563">
                <a:extLst>
                  <a:ext uri="{FF2B5EF4-FFF2-40B4-BE49-F238E27FC236}">
                    <a16:creationId xmlns:a16="http://schemas.microsoft.com/office/drawing/2014/main" id="{F4AE4367-8882-FA4D-AF06-5F369B36C60B}"/>
                  </a:ext>
                </a:extLst>
              </p:cNvPr>
              <p:cNvSpPr/>
              <p:nvPr/>
            </p:nvSpPr>
            <p:spPr>
              <a:xfrm>
                <a:off x="2293114" y="3114975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3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3"/>
                      <a:pt x="420" y="21872"/>
                      <a:pt x="0" y="33555"/>
                    </a:cubicBezTo>
                    <a:cubicBezTo>
                      <a:pt x="1765" y="34984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</p:grpSp>
        <p:sp>
          <p:nvSpPr>
            <p:cNvPr id="878" name="TextBox 877">
              <a:extLst>
                <a:ext uri="{FF2B5EF4-FFF2-40B4-BE49-F238E27FC236}">
                  <a16:creationId xmlns:a16="http://schemas.microsoft.com/office/drawing/2014/main" id="{B47E911D-F5A1-5A48-BED5-CA3F5104459E}"/>
                </a:ext>
              </a:extLst>
            </p:cNvPr>
            <p:cNvSpPr txBox="1"/>
            <p:nvPr/>
          </p:nvSpPr>
          <p:spPr>
            <a:xfrm>
              <a:off x="2360094" y="3134600"/>
              <a:ext cx="899987" cy="10409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2400"/>
                </a:spcBef>
              </a:pPr>
              <a:r>
                <a:rPr lang="en-US" sz="867">
                  <a:solidFill>
                    <a:schemeClr val="accent1"/>
                  </a:solidFill>
                </a:rPr>
                <a:t>Gunfleet Sands 1 &amp; 2</a:t>
              </a:r>
              <a:endParaRPr lang="en-US" sz="867">
                <a:solidFill>
                  <a:schemeClr val="accent2"/>
                </a:solidFill>
              </a:endParaRPr>
            </a:p>
          </p:txBody>
        </p:sp>
      </p:grpSp>
      <p:grpSp>
        <p:nvGrpSpPr>
          <p:cNvPr id="885" name="Group 884">
            <a:extLst>
              <a:ext uri="{FF2B5EF4-FFF2-40B4-BE49-F238E27FC236}">
                <a16:creationId xmlns:a16="http://schemas.microsoft.com/office/drawing/2014/main" id="{7E074B91-7A54-FE44-863B-131EB75DA2CF}"/>
              </a:ext>
            </a:extLst>
          </p:cNvPr>
          <p:cNvGrpSpPr>
            <a:grpSpLocks/>
          </p:cNvGrpSpPr>
          <p:nvPr/>
        </p:nvGrpSpPr>
        <p:grpSpPr>
          <a:xfrm>
            <a:off x="9357551" y="5896749"/>
            <a:ext cx="1018038" cy="189840"/>
            <a:chOff x="2199788" y="3084446"/>
            <a:chExt cx="827155" cy="154245"/>
          </a:xfrm>
        </p:grpSpPr>
        <p:grpSp>
          <p:nvGrpSpPr>
            <p:cNvPr id="886" name="Group 885">
              <a:extLst>
                <a:ext uri="{FF2B5EF4-FFF2-40B4-BE49-F238E27FC236}">
                  <a16:creationId xmlns:a16="http://schemas.microsoft.com/office/drawing/2014/main" id="{11BD6B15-9202-5B48-BCAB-30D7B2048727}"/>
                </a:ext>
              </a:extLst>
            </p:cNvPr>
            <p:cNvGrpSpPr/>
            <p:nvPr/>
          </p:nvGrpSpPr>
          <p:grpSpPr>
            <a:xfrm>
              <a:off x="2199788" y="3084446"/>
              <a:ext cx="106316" cy="141664"/>
              <a:chOff x="2265548" y="3068441"/>
              <a:chExt cx="71521" cy="95300"/>
            </a:xfrm>
            <a:solidFill>
              <a:schemeClr val="accent1"/>
            </a:solidFill>
          </p:grpSpPr>
          <p:sp>
            <p:nvSpPr>
              <p:cNvPr id="888" name="Freeform: Shape 567">
                <a:extLst>
                  <a:ext uri="{FF2B5EF4-FFF2-40B4-BE49-F238E27FC236}">
                    <a16:creationId xmlns:a16="http://schemas.microsoft.com/office/drawing/2014/main" id="{FB62420D-DF6F-7344-84C6-FA1E4AEC9541}"/>
                  </a:ext>
                </a:extLst>
              </p:cNvPr>
              <p:cNvSpPr/>
              <p:nvPr/>
            </p:nvSpPr>
            <p:spPr>
              <a:xfrm>
                <a:off x="2265548" y="3153152"/>
                <a:ext cx="66731" cy="10589"/>
              </a:xfrm>
              <a:custGeom>
                <a:avLst/>
                <a:gdLst>
                  <a:gd name="connsiteX0" fmla="*/ 62529 w 66731"/>
                  <a:gd name="connsiteY0" fmla="*/ 1513 h 10589"/>
                  <a:gd name="connsiteX1" fmla="*/ 61604 w 66731"/>
                  <a:gd name="connsiteY1" fmla="*/ 1933 h 10589"/>
                  <a:gd name="connsiteX2" fmla="*/ 55721 w 66731"/>
                  <a:gd name="connsiteY2" fmla="*/ 3530 h 10589"/>
                  <a:gd name="connsiteX3" fmla="*/ 49586 w 66731"/>
                  <a:gd name="connsiteY3" fmla="*/ 1681 h 10589"/>
                  <a:gd name="connsiteX4" fmla="*/ 49418 w 66731"/>
                  <a:gd name="connsiteY4" fmla="*/ 1597 h 10589"/>
                  <a:gd name="connsiteX5" fmla="*/ 44712 w 66731"/>
                  <a:gd name="connsiteY5" fmla="*/ 168 h 10589"/>
                  <a:gd name="connsiteX6" fmla="*/ 40005 w 66731"/>
                  <a:gd name="connsiteY6" fmla="*/ 1597 h 10589"/>
                  <a:gd name="connsiteX7" fmla="*/ 39837 w 66731"/>
                  <a:gd name="connsiteY7" fmla="*/ 1681 h 10589"/>
                  <a:gd name="connsiteX8" fmla="*/ 33702 w 66731"/>
                  <a:gd name="connsiteY8" fmla="*/ 3530 h 10589"/>
                  <a:gd name="connsiteX9" fmla="*/ 27567 w 66731"/>
                  <a:gd name="connsiteY9" fmla="*/ 1681 h 10589"/>
                  <a:gd name="connsiteX10" fmla="*/ 27398 w 66731"/>
                  <a:gd name="connsiteY10" fmla="*/ 1597 h 10589"/>
                  <a:gd name="connsiteX11" fmla="*/ 22692 w 66731"/>
                  <a:gd name="connsiteY11" fmla="*/ 168 h 10589"/>
                  <a:gd name="connsiteX12" fmla="*/ 17649 w 66731"/>
                  <a:gd name="connsiteY12" fmla="*/ 1513 h 10589"/>
                  <a:gd name="connsiteX13" fmla="*/ 11514 w 66731"/>
                  <a:gd name="connsiteY13" fmla="*/ 3362 h 10589"/>
                  <a:gd name="connsiteX14" fmla="*/ 5379 w 66731"/>
                  <a:gd name="connsiteY14" fmla="*/ 1513 h 10589"/>
                  <a:gd name="connsiteX15" fmla="*/ 5211 w 66731"/>
                  <a:gd name="connsiteY15" fmla="*/ 1429 h 10589"/>
                  <a:gd name="connsiteX16" fmla="*/ 588 w 66731"/>
                  <a:gd name="connsiteY16" fmla="*/ 0 h 10589"/>
                  <a:gd name="connsiteX17" fmla="*/ 0 w 66731"/>
                  <a:gd name="connsiteY17" fmla="*/ 0 h 10589"/>
                  <a:gd name="connsiteX18" fmla="*/ 0 w 66731"/>
                  <a:gd name="connsiteY18" fmla="*/ 7060 h 10589"/>
                  <a:gd name="connsiteX19" fmla="*/ 588 w 66731"/>
                  <a:gd name="connsiteY19" fmla="*/ 7060 h 10589"/>
                  <a:gd name="connsiteX20" fmla="*/ 3950 w 66731"/>
                  <a:gd name="connsiteY20" fmla="*/ 8237 h 10589"/>
                  <a:gd name="connsiteX21" fmla="*/ 4454 w 66731"/>
                  <a:gd name="connsiteY21" fmla="*/ 8489 h 10589"/>
                  <a:gd name="connsiteX22" fmla="*/ 11514 w 66731"/>
                  <a:gd name="connsiteY22" fmla="*/ 10590 h 10589"/>
                  <a:gd name="connsiteX23" fmla="*/ 19078 w 66731"/>
                  <a:gd name="connsiteY23" fmla="*/ 8237 h 10589"/>
                  <a:gd name="connsiteX24" fmla="*/ 19246 w 66731"/>
                  <a:gd name="connsiteY24" fmla="*/ 8153 h 10589"/>
                  <a:gd name="connsiteX25" fmla="*/ 22692 w 66731"/>
                  <a:gd name="connsiteY25" fmla="*/ 7060 h 10589"/>
                  <a:gd name="connsiteX26" fmla="*/ 26306 w 66731"/>
                  <a:gd name="connsiteY26" fmla="*/ 8237 h 10589"/>
                  <a:gd name="connsiteX27" fmla="*/ 26726 w 66731"/>
                  <a:gd name="connsiteY27" fmla="*/ 8489 h 10589"/>
                  <a:gd name="connsiteX28" fmla="*/ 33870 w 66731"/>
                  <a:gd name="connsiteY28" fmla="*/ 10590 h 10589"/>
                  <a:gd name="connsiteX29" fmla="*/ 41434 w 66731"/>
                  <a:gd name="connsiteY29" fmla="*/ 8237 h 10589"/>
                  <a:gd name="connsiteX30" fmla="*/ 41602 w 66731"/>
                  <a:gd name="connsiteY30" fmla="*/ 8153 h 10589"/>
                  <a:gd name="connsiteX31" fmla="*/ 45048 w 66731"/>
                  <a:gd name="connsiteY31" fmla="*/ 7060 h 10589"/>
                  <a:gd name="connsiteX32" fmla="*/ 48662 w 66731"/>
                  <a:gd name="connsiteY32" fmla="*/ 8237 h 10589"/>
                  <a:gd name="connsiteX33" fmla="*/ 49082 w 66731"/>
                  <a:gd name="connsiteY33" fmla="*/ 8489 h 10589"/>
                  <a:gd name="connsiteX34" fmla="*/ 56226 w 66731"/>
                  <a:gd name="connsiteY34" fmla="*/ 10590 h 10589"/>
                  <a:gd name="connsiteX35" fmla="*/ 63790 w 66731"/>
                  <a:gd name="connsiteY35" fmla="*/ 8237 h 10589"/>
                  <a:gd name="connsiteX36" fmla="*/ 66227 w 66731"/>
                  <a:gd name="connsiteY36" fmla="*/ 7144 h 10589"/>
                  <a:gd name="connsiteX37" fmla="*/ 66731 w 66731"/>
                  <a:gd name="connsiteY37" fmla="*/ 7060 h 10589"/>
                  <a:gd name="connsiteX38" fmla="*/ 66731 w 66731"/>
                  <a:gd name="connsiteY38" fmla="*/ 0 h 10589"/>
                  <a:gd name="connsiteX39" fmla="*/ 66059 w 66731"/>
                  <a:gd name="connsiteY39" fmla="*/ 84 h 10589"/>
                  <a:gd name="connsiteX40" fmla="*/ 62529 w 66731"/>
                  <a:gd name="connsiteY40" fmla="*/ 1513 h 10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66731" h="10589">
                    <a:moveTo>
                      <a:pt x="62529" y="1513"/>
                    </a:moveTo>
                    <a:cubicBezTo>
                      <a:pt x="62193" y="1681"/>
                      <a:pt x="61856" y="1849"/>
                      <a:pt x="61604" y="1933"/>
                    </a:cubicBezTo>
                    <a:cubicBezTo>
                      <a:pt x="60008" y="2689"/>
                      <a:pt x="58327" y="3530"/>
                      <a:pt x="55721" y="3530"/>
                    </a:cubicBezTo>
                    <a:cubicBezTo>
                      <a:pt x="52528" y="3530"/>
                      <a:pt x="51015" y="2522"/>
                      <a:pt x="49586" y="1681"/>
                    </a:cubicBezTo>
                    <a:lnTo>
                      <a:pt x="49418" y="1597"/>
                    </a:lnTo>
                    <a:cubicBezTo>
                      <a:pt x="48157" y="841"/>
                      <a:pt x="46981" y="168"/>
                      <a:pt x="44712" y="168"/>
                    </a:cubicBezTo>
                    <a:cubicBezTo>
                      <a:pt x="42442" y="168"/>
                      <a:pt x="41182" y="841"/>
                      <a:pt x="40005" y="1597"/>
                    </a:cubicBezTo>
                    <a:lnTo>
                      <a:pt x="39837" y="1681"/>
                    </a:lnTo>
                    <a:cubicBezTo>
                      <a:pt x="38492" y="2522"/>
                      <a:pt x="36895" y="3530"/>
                      <a:pt x="33702" y="3530"/>
                    </a:cubicBezTo>
                    <a:cubicBezTo>
                      <a:pt x="30508" y="3530"/>
                      <a:pt x="28911" y="2522"/>
                      <a:pt x="27567" y="1681"/>
                    </a:cubicBezTo>
                    <a:lnTo>
                      <a:pt x="27398" y="1597"/>
                    </a:lnTo>
                    <a:cubicBezTo>
                      <a:pt x="26138" y="841"/>
                      <a:pt x="24961" y="168"/>
                      <a:pt x="22692" y="168"/>
                    </a:cubicBezTo>
                    <a:cubicBezTo>
                      <a:pt x="20255" y="168"/>
                      <a:pt x="19078" y="757"/>
                      <a:pt x="17649" y="1513"/>
                    </a:cubicBezTo>
                    <a:cubicBezTo>
                      <a:pt x="16305" y="2353"/>
                      <a:pt x="14708" y="3362"/>
                      <a:pt x="11514" y="3362"/>
                    </a:cubicBezTo>
                    <a:cubicBezTo>
                      <a:pt x="8404" y="3362"/>
                      <a:pt x="6724" y="2353"/>
                      <a:pt x="5379" y="1513"/>
                    </a:cubicBezTo>
                    <a:lnTo>
                      <a:pt x="5211" y="1429"/>
                    </a:lnTo>
                    <a:cubicBezTo>
                      <a:pt x="3950" y="672"/>
                      <a:pt x="2773" y="0"/>
                      <a:pt x="588" y="0"/>
                    </a:cubicBezTo>
                    <a:lnTo>
                      <a:pt x="0" y="0"/>
                    </a:lnTo>
                    <a:lnTo>
                      <a:pt x="0" y="7060"/>
                    </a:lnTo>
                    <a:lnTo>
                      <a:pt x="588" y="7060"/>
                    </a:lnTo>
                    <a:cubicBezTo>
                      <a:pt x="2101" y="7060"/>
                      <a:pt x="2858" y="7480"/>
                      <a:pt x="3950" y="8237"/>
                    </a:cubicBezTo>
                    <a:lnTo>
                      <a:pt x="4454" y="8489"/>
                    </a:lnTo>
                    <a:cubicBezTo>
                      <a:pt x="5967" y="9329"/>
                      <a:pt x="8068" y="10590"/>
                      <a:pt x="11514" y="10590"/>
                    </a:cubicBezTo>
                    <a:cubicBezTo>
                      <a:pt x="15212" y="10590"/>
                      <a:pt x="17313" y="9413"/>
                      <a:pt x="19078" y="8237"/>
                    </a:cubicBezTo>
                    <a:lnTo>
                      <a:pt x="19246" y="8153"/>
                    </a:lnTo>
                    <a:cubicBezTo>
                      <a:pt x="20339" y="7480"/>
                      <a:pt x="21011" y="7060"/>
                      <a:pt x="22692" y="7060"/>
                    </a:cubicBezTo>
                    <a:cubicBezTo>
                      <a:pt x="24373" y="7060"/>
                      <a:pt x="25297" y="7564"/>
                      <a:pt x="26306" y="8237"/>
                    </a:cubicBezTo>
                    <a:lnTo>
                      <a:pt x="26726" y="8489"/>
                    </a:lnTo>
                    <a:cubicBezTo>
                      <a:pt x="28239" y="9329"/>
                      <a:pt x="30340" y="10590"/>
                      <a:pt x="33870" y="10590"/>
                    </a:cubicBezTo>
                    <a:cubicBezTo>
                      <a:pt x="37568" y="10590"/>
                      <a:pt x="39669" y="9413"/>
                      <a:pt x="41434" y="8237"/>
                    </a:cubicBezTo>
                    <a:lnTo>
                      <a:pt x="41602" y="8153"/>
                    </a:lnTo>
                    <a:cubicBezTo>
                      <a:pt x="42694" y="7480"/>
                      <a:pt x="43367" y="7060"/>
                      <a:pt x="45048" y="7060"/>
                    </a:cubicBezTo>
                    <a:cubicBezTo>
                      <a:pt x="46729" y="7060"/>
                      <a:pt x="47653" y="7564"/>
                      <a:pt x="48662" y="8237"/>
                    </a:cubicBezTo>
                    <a:lnTo>
                      <a:pt x="49082" y="8489"/>
                    </a:lnTo>
                    <a:cubicBezTo>
                      <a:pt x="50595" y="9329"/>
                      <a:pt x="52696" y="10590"/>
                      <a:pt x="56226" y="10590"/>
                    </a:cubicBezTo>
                    <a:cubicBezTo>
                      <a:pt x="59923" y="10590"/>
                      <a:pt x="62025" y="9413"/>
                      <a:pt x="63790" y="8237"/>
                    </a:cubicBezTo>
                    <a:cubicBezTo>
                      <a:pt x="64630" y="7648"/>
                      <a:pt x="65302" y="7228"/>
                      <a:pt x="66227" y="7144"/>
                    </a:cubicBezTo>
                    <a:lnTo>
                      <a:pt x="66731" y="7060"/>
                    </a:lnTo>
                    <a:lnTo>
                      <a:pt x="66731" y="0"/>
                    </a:lnTo>
                    <a:lnTo>
                      <a:pt x="66059" y="84"/>
                    </a:lnTo>
                    <a:cubicBezTo>
                      <a:pt x="64546" y="337"/>
                      <a:pt x="63537" y="841"/>
                      <a:pt x="62529" y="151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89" name="Freeform: Shape 568">
                <a:extLst>
                  <a:ext uri="{FF2B5EF4-FFF2-40B4-BE49-F238E27FC236}">
                    <a16:creationId xmlns:a16="http://schemas.microsoft.com/office/drawing/2014/main" id="{12BDAB94-701B-274F-A398-358D38605506}"/>
                  </a:ext>
                </a:extLst>
              </p:cNvPr>
              <p:cNvSpPr/>
              <p:nvPr/>
            </p:nvSpPr>
            <p:spPr>
              <a:xfrm>
                <a:off x="2294459" y="3101465"/>
                <a:ext cx="8908" cy="8908"/>
              </a:xfrm>
              <a:custGeom>
                <a:avLst/>
                <a:gdLst>
                  <a:gd name="connsiteX0" fmla="*/ 8909 w 8908"/>
                  <a:gd name="connsiteY0" fmla="*/ 4454 h 8908"/>
                  <a:gd name="connsiteX1" fmla="*/ 4454 w 8908"/>
                  <a:gd name="connsiteY1" fmla="*/ 8909 h 8908"/>
                  <a:gd name="connsiteX2" fmla="*/ 0 w 8908"/>
                  <a:gd name="connsiteY2" fmla="*/ 4454 h 8908"/>
                  <a:gd name="connsiteX3" fmla="*/ 4454 w 8908"/>
                  <a:gd name="connsiteY3" fmla="*/ 0 h 8908"/>
                  <a:gd name="connsiteX4" fmla="*/ 8909 w 8908"/>
                  <a:gd name="connsiteY4" fmla="*/ 4454 h 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8">
                    <a:moveTo>
                      <a:pt x="8909" y="4454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4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1933"/>
                      <a:pt x="8909" y="4454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90" name="Freeform: Shape 569">
                <a:extLst>
                  <a:ext uri="{FF2B5EF4-FFF2-40B4-BE49-F238E27FC236}">
                    <a16:creationId xmlns:a16="http://schemas.microsoft.com/office/drawing/2014/main" id="{1CB08763-8E42-FE45-8958-BE27BA697512}"/>
                  </a:ext>
                </a:extLst>
              </p:cNvPr>
              <p:cNvSpPr/>
              <p:nvPr/>
            </p:nvSpPr>
            <p:spPr>
              <a:xfrm>
                <a:off x="2287231" y="3068441"/>
                <a:ext cx="14623" cy="29573"/>
              </a:xfrm>
              <a:custGeom>
                <a:avLst/>
                <a:gdLst>
                  <a:gd name="connsiteX0" fmla="*/ 0 w 14623"/>
                  <a:gd name="connsiteY0" fmla="*/ 163 h 29573"/>
                  <a:gd name="connsiteX1" fmla="*/ 4370 w 14623"/>
                  <a:gd name="connsiteY1" fmla="*/ 22519 h 29573"/>
                  <a:gd name="connsiteX2" fmla="*/ 14624 w 14623"/>
                  <a:gd name="connsiteY2" fmla="*/ 29410 h 29573"/>
                  <a:gd name="connsiteX3" fmla="*/ 10253 w 14623"/>
                  <a:gd name="connsiteY3" fmla="*/ 7054 h 29573"/>
                  <a:gd name="connsiteX4" fmla="*/ 0 w 14623"/>
                  <a:gd name="connsiteY4" fmla="*/ 163 h 29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3">
                    <a:moveTo>
                      <a:pt x="0" y="163"/>
                    </a:moveTo>
                    <a:lnTo>
                      <a:pt x="4370" y="22519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91" name="Freeform: Shape 570">
                <a:extLst>
                  <a:ext uri="{FF2B5EF4-FFF2-40B4-BE49-F238E27FC236}">
                    <a16:creationId xmlns:a16="http://schemas.microsoft.com/office/drawing/2014/main" id="{59DC5498-B4D5-644B-87DF-D7A902A840B3}"/>
                  </a:ext>
                </a:extLst>
              </p:cNvPr>
              <p:cNvSpPr/>
              <p:nvPr/>
            </p:nvSpPr>
            <p:spPr>
              <a:xfrm>
                <a:off x="2270285" y="3107348"/>
                <a:ext cx="22294" cy="27397"/>
              </a:xfrm>
              <a:custGeom>
                <a:avLst/>
                <a:gdLst>
                  <a:gd name="connsiteX0" fmla="*/ 2154 w 22294"/>
                  <a:gd name="connsiteY0" fmla="*/ 27398 h 27397"/>
                  <a:gd name="connsiteX1" fmla="*/ 19299 w 22294"/>
                  <a:gd name="connsiteY1" fmla="*/ 12354 h 27397"/>
                  <a:gd name="connsiteX2" fmla="*/ 20140 w 22294"/>
                  <a:gd name="connsiteY2" fmla="*/ 0 h 27397"/>
                  <a:gd name="connsiteX3" fmla="*/ 2995 w 22294"/>
                  <a:gd name="connsiteY3" fmla="*/ 14960 h 27397"/>
                  <a:gd name="connsiteX4" fmla="*/ 2154 w 22294"/>
                  <a:gd name="connsiteY4" fmla="*/ 27398 h 27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7">
                    <a:moveTo>
                      <a:pt x="2154" y="27398"/>
                    </a:moveTo>
                    <a:lnTo>
                      <a:pt x="19299" y="12354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7"/>
                      <a:pt x="-1039" y="23784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92" name="Freeform: Shape 571">
                <a:extLst>
                  <a:ext uri="{FF2B5EF4-FFF2-40B4-BE49-F238E27FC236}">
                    <a16:creationId xmlns:a16="http://schemas.microsoft.com/office/drawing/2014/main" id="{6345D570-AA30-EB46-AC9F-03D825970CF6}"/>
                  </a:ext>
                </a:extLst>
              </p:cNvPr>
              <p:cNvSpPr/>
              <p:nvPr/>
            </p:nvSpPr>
            <p:spPr>
              <a:xfrm>
                <a:off x="2304376" y="3106564"/>
                <a:ext cx="32693" cy="13670"/>
              </a:xfrm>
              <a:custGeom>
                <a:avLst/>
                <a:gdLst>
                  <a:gd name="connsiteX0" fmla="*/ 32693 w 32693"/>
                  <a:gd name="connsiteY0" fmla="*/ 7676 h 13670"/>
                  <a:gd name="connsiteX1" fmla="*/ 11094 w 32693"/>
                  <a:gd name="connsiteY1" fmla="*/ 448 h 13670"/>
                  <a:gd name="connsiteX2" fmla="*/ 0 w 32693"/>
                  <a:gd name="connsiteY2" fmla="*/ 5995 h 13670"/>
                  <a:gd name="connsiteX3" fmla="*/ 21599 w 32693"/>
                  <a:gd name="connsiteY3" fmla="*/ 13223 h 13670"/>
                  <a:gd name="connsiteX4" fmla="*/ 32693 w 32693"/>
                  <a:gd name="connsiteY4" fmla="*/ 7676 h 13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70">
                    <a:moveTo>
                      <a:pt x="32693" y="7676"/>
                    </a:moveTo>
                    <a:lnTo>
                      <a:pt x="11094" y="448"/>
                    </a:lnTo>
                    <a:cubicBezTo>
                      <a:pt x="6555" y="-1065"/>
                      <a:pt x="1513" y="1373"/>
                      <a:pt x="0" y="5995"/>
                    </a:cubicBezTo>
                    <a:lnTo>
                      <a:pt x="21599" y="13223"/>
                    </a:lnTo>
                    <a:cubicBezTo>
                      <a:pt x="26222" y="14735"/>
                      <a:pt x="31180" y="12298"/>
                      <a:pt x="32693" y="76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93" name="Freeform: Shape 572">
                <a:extLst>
                  <a:ext uri="{FF2B5EF4-FFF2-40B4-BE49-F238E27FC236}">
                    <a16:creationId xmlns:a16="http://schemas.microsoft.com/office/drawing/2014/main" id="{B0257A57-5BB5-B04C-90B3-3964BAC7E622}"/>
                  </a:ext>
                </a:extLst>
              </p:cNvPr>
              <p:cNvSpPr/>
              <p:nvPr/>
            </p:nvSpPr>
            <p:spPr>
              <a:xfrm>
                <a:off x="2293114" y="3114975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3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3"/>
                      <a:pt x="420" y="21872"/>
                      <a:pt x="0" y="33555"/>
                    </a:cubicBezTo>
                    <a:cubicBezTo>
                      <a:pt x="1765" y="34984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</p:grpSp>
        <p:sp>
          <p:nvSpPr>
            <p:cNvPr id="887" name="TextBox 886">
              <a:extLst>
                <a:ext uri="{FF2B5EF4-FFF2-40B4-BE49-F238E27FC236}">
                  <a16:creationId xmlns:a16="http://schemas.microsoft.com/office/drawing/2014/main" id="{5FDBD8F9-DF22-B24A-B923-3CBE14B80A8E}"/>
                </a:ext>
              </a:extLst>
            </p:cNvPr>
            <p:cNvSpPr txBox="1"/>
            <p:nvPr/>
          </p:nvSpPr>
          <p:spPr>
            <a:xfrm>
              <a:off x="2360094" y="3134600"/>
              <a:ext cx="666849" cy="10409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2400"/>
                </a:spcBef>
              </a:pPr>
              <a:r>
                <a:rPr lang="en-US" sz="867">
                  <a:solidFill>
                    <a:schemeClr val="accent1"/>
                  </a:solidFill>
                </a:rPr>
                <a:t>London Array 1</a:t>
              </a:r>
              <a:endParaRPr lang="en-US" sz="867">
                <a:solidFill>
                  <a:schemeClr val="accent2"/>
                </a:solidFill>
              </a:endParaRPr>
            </a:p>
          </p:txBody>
        </p:sp>
      </p:grpSp>
      <p:grpSp>
        <p:nvGrpSpPr>
          <p:cNvPr id="894" name="Group 893">
            <a:extLst>
              <a:ext uri="{FF2B5EF4-FFF2-40B4-BE49-F238E27FC236}">
                <a16:creationId xmlns:a16="http://schemas.microsoft.com/office/drawing/2014/main" id="{75D0C76A-A84F-4244-A530-570FDE53B5F8}"/>
              </a:ext>
            </a:extLst>
          </p:cNvPr>
          <p:cNvGrpSpPr>
            <a:grpSpLocks/>
          </p:cNvGrpSpPr>
          <p:nvPr/>
        </p:nvGrpSpPr>
        <p:grpSpPr>
          <a:xfrm>
            <a:off x="9166761" y="5689085"/>
            <a:ext cx="1074006" cy="175971"/>
            <a:chOff x="1889686" y="2985853"/>
            <a:chExt cx="872630" cy="142976"/>
          </a:xfrm>
        </p:grpSpPr>
        <p:grpSp>
          <p:nvGrpSpPr>
            <p:cNvPr id="895" name="Group 894">
              <a:extLst>
                <a:ext uri="{FF2B5EF4-FFF2-40B4-BE49-F238E27FC236}">
                  <a16:creationId xmlns:a16="http://schemas.microsoft.com/office/drawing/2014/main" id="{6C1940C4-AF46-1C40-AE2C-59B6D0D0E67D}"/>
                </a:ext>
              </a:extLst>
            </p:cNvPr>
            <p:cNvGrpSpPr/>
            <p:nvPr/>
          </p:nvGrpSpPr>
          <p:grpSpPr>
            <a:xfrm>
              <a:off x="1889686" y="2985853"/>
              <a:ext cx="106316" cy="141664"/>
              <a:chOff x="2265548" y="3068441"/>
              <a:chExt cx="71521" cy="95300"/>
            </a:xfrm>
            <a:solidFill>
              <a:schemeClr val="accent1"/>
            </a:solidFill>
          </p:grpSpPr>
          <p:sp>
            <p:nvSpPr>
              <p:cNvPr id="897" name="Freeform: Shape 576">
                <a:extLst>
                  <a:ext uri="{FF2B5EF4-FFF2-40B4-BE49-F238E27FC236}">
                    <a16:creationId xmlns:a16="http://schemas.microsoft.com/office/drawing/2014/main" id="{DD02ECF8-9AAD-754B-A61F-7E6FAAEE4CBF}"/>
                  </a:ext>
                </a:extLst>
              </p:cNvPr>
              <p:cNvSpPr/>
              <p:nvPr/>
            </p:nvSpPr>
            <p:spPr>
              <a:xfrm>
                <a:off x="2265548" y="3153152"/>
                <a:ext cx="66731" cy="10589"/>
              </a:xfrm>
              <a:custGeom>
                <a:avLst/>
                <a:gdLst>
                  <a:gd name="connsiteX0" fmla="*/ 62529 w 66731"/>
                  <a:gd name="connsiteY0" fmla="*/ 1513 h 10589"/>
                  <a:gd name="connsiteX1" fmla="*/ 61604 w 66731"/>
                  <a:gd name="connsiteY1" fmla="*/ 1933 h 10589"/>
                  <a:gd name="connsiteX2" fmla="*/ 55721 w 66731"/>
                  <a:gd name="connsiteY2" fmla="*/ 3530 h 10589"/>
                  <a:gd name="connsiteX3" fmla="*/ 49586 w 66731"/>
                  <a:gd name="connsiteY3" fmla="*/ 1681 h 10589"/>
                  <a:gd name="connsiteX4" fmla="*/ 49418 w 66731"/>
                  <a:gd name="connsiteY4" fmla="*/ 1597 h 10589"/>
                  <a:gd name="connsiteX5" fmla="*/ 44712 w 66731"/>
                  <a:gd name="connsiteY5" fmla="*/ 168 h 10589"/>
                  <a:gd name="connsiteX6" fmla="*/ 40005 w 66731"/>
                  <a:gd name="connsiteY6" fmla="*/ 1597 h 10589"/>
                  <a:gd name="connsiteX7" fmla="*/ 39837 w 66731"/>
                  <a:gd name="connsiteY7" fmla="*/ 1681 h 10589"/>
                  <a:gd name="connsiteX8" fmla="*/ 33702 w 66731"/>
                  <a:gd name="connsiteY8" fmla="*/ 3530 h 10589"/>
                  <a:gd name="connsiteX9" fmla="*/ 27567 w 66731"/>
                  <a:gd name="connsiteY9" fmla="*/ 1681 h 10589"/>
                  <a:gd name="connsiteX10" fmla="*/ 27398 w 66731"/>
                  <a:gd name="connsiteY10" fmla="*/ 1597 h 10589"/>
                  <a:gd name="connsiteX11" fmla="*/ 22692 w 66731"/>
                  <a:gd name="connsiteY11" fmla="*/ 168 h 10589"/>
                  <a:gd name="connsiteX12" fmla="*/ 17649 w 66731"/>
                  <a:gd name="connsiteY12" fmla="*/ 1513 h 10589"/>
                  <a:gd name="connsiteX13" fmla="*/ 11514 w 66731"/>
                  <a:gd name="connsiteY13" fmla="*/ 3362 h 10589"/>
                  <a:gd name="connsiteX14" fmla="*/ 5379 w 66731"/>
                  <a:gd name="connsiteY14" fmla="*/ 1513 h 10589"/>
                  <a:gd name="connsiteX15" fmla="*/ 5211 w 66731"/>
                  <a:gd name="connsiteY15" fmla="*/ 1429 h 10589"/>
                  <a:gd name="connsiteX16" fmla="*/ 588 w 66731"/>
                  <a:gd name="connsiteY16" fmla="*/ 0 h 10589"/>
                  <a:gd name="connsiteX17" fmla="*/ 0 w 66731"/>
                  <a:gd name="connsiteY17" fmla="*/ 0 h 10589"/>
                  <a:gd name="connsiteX18" fmla="*/ 0 w 66731"/>
                  <a:gd name="connsiteY18" fmla="*/ 7060 h 10589"/>
                  <a:gd name="connsiteX19" fmla="*/ 588 w 66731"/>
                  <a:gd name="connsiteY19" fmla="*/ 7060 h 10589"/>
                  <a:gd name="connsiteX20" fmla="*/ 3950 w 66731"/>
                  <a:gd name="connsiteY20" fmla="*/ 8237 h 10589"/>
                  <a:gd name="connsiteX21" fmla="*/ 4454 w 66731"/>
                  <a:gd name="connsiteY21" fmla="*/ 8489 h 10589"/>
                  <a:gd name="connsiteX22" fmla="*/ 11514 w 66731"/>
                  <a:gd name="connsiteY22" fmla="*/ 10590 h 10589"/>
                  <a:gd name="connsiteX23" fmla="*/ 19078 w 66731"/>
                  <a:gd name="connsiteY23" fmla="*/ 8237 h 10589"/>
                  <a:gd name="connsiteX24" fmla="*/ 19246 w 66731"/>
                  <a:gd name="connsiteY24" fmla="*/ 8153 h 10589"/>
                  <a:gd name="connsiteX25" fmla="*/ 22692 w 66731"/>
                  <a:gd name="connsiteY25" fmla="*/ 7060 h 10589"/>
                  <a:gd name="connsiteX26" fmla="*/ 26306 w 66731"/>
                  <a:gd name="connsiteY26" fmla="*/ 8237 h 10589"/>
                  <a:gd name="connsiteX27" fmla="*/ 26726 w 66731"/>
                  <a:gd name="connsiteY27" fmla="*/ 8489 h 10589"/>
                  <a:gd name="connsiteX28" fmla="*/ 33870 w 66731"/>
                  <a:gd name="connsiteY28" fmla="*/ 10590 h 10589"/>
                  <a:gd name="connsiteX29" fmla="*/ 41434 w 66731"/>
                  <a:gd name="connsiteY29" fmla="*/ 8237 h 10589"/>
                  <a:gd name="connsiteX30" fmla="*/ 41602 w 66731"/>
                  <a:gd name="connsiteY30" fmla="*/ 8153 h 10589"/>
                  <a:gd name="connsiteX31" fmla="*/ 45048 w 66731"/>
                  <a:gd name="connsiteY31" fmla="*/ 7060 h 10589"/>
                  <a:gd name="connsiteX32" fmla="*/ 48662 w 66731"/>
                  <a:gd name="connsiteY32" fmla="*/ 8237 h 10589"/>
                  <a:gd name="connsiteX33" fmla="*/ 49082 w 66731"/>
                  <a:gd name="connsiteY33" fmla="*/ 8489 h 10589"/>
                  <a:gd name="connsiteX34" fmla="*/ 56226 w 66731"/>
                  <a:gd name="connsiteY34" fmla="*/ 10590 h 10589"/>
                  <a:gd name="connsiteX35" fmla="*/ 63790 w 66731"/>
                  <a:gd name="connsiteY35" fmla="*/ 8237 h 10589"/>
                  <a:gd name="connsiteX36" fmla="*/ 66227 w 66731"/>
                  <a:gd name="connsiteY36" fmla="*/ 7144 h 10589"/>
                  <a:gd name="connsiteX37" fmla="*/ 66731 w 66731"/>
                  <a:gd name="connsiteY37" fmla="*/ 7060 h 10589"/>
                  <a:gd name="connsiteX38" fmla="*/ 66731 w 66731"/>
                  <a:gd name="connsiteY38" fmla="*/ 0 h 10589"/>
                  <a:gd name="connsiteX39" fmla="*/ 66059 w 66731"/>
                  <a:gd name="connsiteY39" fmla="*/ 84 h 10589"/>
                  <a:gd name="connsiteX40" fmla="*/ 62529 w 66731"/>
                  <a:gd name="connsiteY40" fmla="*/ 1513 h 10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66731" h="10589">
                    <a:moveTo>
                      <a:pt x="62529" y="1513"/>
                    </a:moveTo>
                    <a:cubicBezTo>
                      <a:pt x="62193" y="1681"/>
                      <a:pt x="61856" y="1849"/>
                      <a:pt x="61604" y="1933"/>
                    </a:cubicBezTo>
                    <a:cubicBezTo>
                      <a:pt x="60008" y="2689"/>
                      <a:pt x="58327" y="3530"/>
                      <a:pt x="55721" y="3530"/>
                    </a:cubicBezTo>
                    <a:cubicBezTo>
                      <a:pt x="52528" y="3530"/>
                      <a:pt x="51015" y="2522"/>
                      <a:pt x="49586" y="1681"/>
                    </a:cubicBezTo>
                    <a:lnTo>
                      <a:pt x="49418" y="1597"/>
                    </a:lnTo>
                    <a:cubicBezTo>
                      <a:pt x="48157" y="841"/>
                      <a:pt x="46981" y="168"/>
                      <a:pt x="44712" y="168"/>
                    </a:cubicBezTo>
                    <a:cubicBezTo>
                      <a:pt x="42442" y="168"/>
                      <a:pt x="41182" y="841"/>
                      <a:pt x="40005" y="1597"/>
                    </a:cubicBezTo>
                    <a:lnTo>
                      <a:pt x="39837" y="1681"/>
                    </a:lnTo>
                    <a:cubicBezTo>
                      <a:pt x="38492" y="2522"/>
                      <a:pt x="36895" y="3530"/>
                      <a:pt x="33702" y="3530"/>
                    </a:cubicBezTo>
                    <a:cubicBezTo>
                      <a:pt x="30508" y="3530"/>
                      <a:pt x="28911" y="2522"/>
                      <a:pt x="27567" y="1681"/>
                    </a:cubicBezTo>
                    <a:lnTo>
                      <a:pt x="27398" y="1597"/>
                    </a:lnTo>
                    <a:cubicBezTo>
                      <a:pt x="26138" y="841"/>
                      <a:pt x="24961" y="168"/>
                      <a:pt x="22692" y="168"/>
                    </a:cubicBezTo>
                    <a:cubicBezTo>
                      <a:pt x="20255" y="168"/>
                      <a:pt x="19078" y="757"/>
                      <a:pt x="17649" y="1513"/>
                    </a:cubicBezTo>
                    <a:cubicBezTo>
                      <a:pt x="16305" y="2353"/>
                      <a:pt x="14708" y="3362"/>
                      <a:pt x="11514" y="3362"/>
                    </a:cubicBezTo>
                    <a:cubicBezTo>
                      <a:pt x="8404" y="3362"/>
                      <a:pt x="6724" y="2353"/>
                      <a:pt x="5379" y="1513"/>
                    </a:cubicBezTo>
                    <a:lnTo>
                      <a:pt x="5211" y="1429"/>
                    </a:lnTo>
                    <a:cubicBezTo>
                      <a:pt x="3950" y="672"/>
                      <a:pt x="2773" y="0"/>
                      <a:pt x="588" y="0"/>
                    </a:cubicBezTo>
                    <a:lnTo>
                      <a:pt x="0" y="0"/>
                    </a:lnTo>
                    <a:lnTo>
                      <a:pt x="0" y="7060"/>
                    </a:lnTo>
                    <a:lnTo>
                      <a:pt x="588" y="7060"/>
                    </a:lnTo>
                    <a:cubicBezTo>
                      <a:pt x="2101" y="7060"/>
                      <a:pt x="2858" y="7480"/>
                      <a:pt x="3950" y="8237"/>
                    </a:cubicBezTo>
                    <a:lnTo>
                      <a:pt x="4454" y="8489"/>
                    </a:lnTo>
                    <a:cubicBezTo>
                      <a:pt x="5967" y="9329"/>
                      <a:pt x="8068" y="10590"/>
                      <a:pt x="11514" y="10590"/>
                    </a:cubicBezTo>
                    <a:cubicBezTo>
                      <a:pt x="15212" y="10590"/>
                      <a:pt x="17313" y="9413"/>
                      <a:pt x="19078" y="8237"/>
                    </a:cubicBezTo>
                    <a:lnTo>
                      <a:pt x="19246" y="8153"/>
                    </a:lnTo>
                    <a:cubicBezTo>
                      <a:pt x="20339" y="7480"/>
                      <a:pt x="21011" y="7060"/>
                      <a:pt x="22692" y="7060"/>
                    </a:cubicBezTo>
                    <a:cubicBezTo>
                      <a:pt x="24373" y="7060"/>
                      <a:pt x="25297" y="7564"/>
                      <a:pt x="26306" y="8237"/>
                    </a:cubicBezTo>
                    <a:lnTo>
                      <a:pt x="26726" y="8489"/>
                    </a:lnTo>
                    <a:cubicBezTo>
                      <a:pt x="28239" y="9329"/>
                      <a:pt x="30340" y="10590"/>
                      <a:pt x="33870" y="10590"/>
                    </a:cubicBezTo>
                    <a:cubicBezTo>
                      <a:pt x="37568" y="10590"/>
                      <a:pt x="39669" y="9413"/>
                      <a:pt x="41434" y="8237"/>
                    </a:cubicBezTo>
                    <a:lnTo>
                      <a:pt x="41602" y="8153"/>
                    </a:lnTo>
                    <a:cubicBezTo>
                      <a:pt x="42694" y="7480"/>
                      <a:pt x="43367" y="7060"/>
                      <a:pt x="45048" y="7060"/>
                    </a:cubicBezTo>
                    <a:cubicBezTo>
                      <a:pt x="46729" y="7060"/>
                      <a:pt x="47653" y="7564"/>
                      <a:pt x="48662" y="8237"/>
                    </a:cubicBezTo>
                    <a:lnTo>
                      <a:pt x="49082" y="8489"/>
                    </a:lnTo>
                    <a:cubicBezTo>
                      <a:pt x="50595" y="9329"/>
                      <a:pt x="52696" y="10590"/>
                      <a:pt x="56226" y="10590"/>
                    </a:cubicBezTo>
                    <a:cubicBezTo>
                      <a:pt x="59923" y="10590"/>
                      <a:pt x="62025" y="9413"/>
                      <a:pt x="63790" y="8237"/>
                    </a:cubicBezTo>
                    <a:cubicBezTo>
                      <a:pt x="64630" y="7648"/>
                      <a:pt x="65302" y="7228"/>
                      <a:pt x="66227" y="7144"/>
                    </a:cubicBezTo>
                    <a:lnTo>
                      <a:pt x="66731" y="7060"/>
                    </a:lnTo>
                    <a:lnTo>
                      <a:pt x="66731" y="0"/>
                    </a:lnTo>
                    <a:lnTo>
                      <a:pt x="66059" y="84"/>
                    </a:lnTo>
                    <a:cubicBezTo>
                      <a:pt x="64546" y="337"/>
                      <a:pt x="63537" y="841"/>
                      <a:pt x="62529" y="151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98" name="Freeform: Shape 577">
                <a:extLst>
                  <a:ext uri="{FF2B5EF4-FFF2-40B4-BE49-F238E27FC236}">
                    <a16:creationId xmlns:a16="http://schemas.microsoft.com/office/drawing/2014/main" id="{11E7E7F0-23F1-8740-9AB3-BE5289D54519}"/>
                  </a:ext>
                </a:extLst>
              </p:cNvPr>
              <p:cNvSpPr/>
              <p:nvPr/>
            </p:nvSpPr>
            <p:spPr>
              <a:xfrm>
                <a:off x="2294459" y="3101465"/>
                <a:ext cx="8908" cy="8908"/>
              </a:xfrm>
              <a:custGeom>
                <a:avLst/>
                <a:gdLst>
                  <a:gd name="connsiteX0" fmla="*/ 8909 w 8908"/>
                  <a:gd name="connsiteY0" fmla="*/ 4454 h 8908"/>
                  <a:gd name="connsiteX1" fmla="*/ 4454 w 8908"/>
                  <a:gd name="connsiteY1" fmla="*/ 8909 h 8908"/>
                  <a:gd name="connsiteX2" fmla="*/ 0 w 8908"/>
                  <a:gd name="connsiteY2" fmla="*/ 4454 h 8908"/>
                  <a:gd name="connsiteX3" fmla="*/ 4454 w 8908"/>
                  <a:gd name="connsiteY3" fmla="*/ 0 h 8908"/>
                  <a:gd name="connsiteX4" fmla="*/ 8909 w 8908"/>
                  <a:gd name="connsiteY4" fmla="*/ 4454 h 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8">
                    <a:moveTo>
                      <a:pt x="8909" y="4454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4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1933"/>
                      <a:pt x="8909" y="4454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899" name="Freeform: Shape 578">
                <a:extLst>
                  <a:ext uri="{FF2B5EF4-FFF2-40B4-BE49-F238E27FC236}">
                    <a16:creationId xmlns:a16="http://schemas.microsoft.com/office/drawing/2014/main" id="{FBF1B913-0805-8A42-AB6A-1176BCFFDED6}"/>
                  </a:ext>
                </a:extLst>
              </p:cNvPr>
              <p:cNvSpPr/>
              <p:nvPr/>
            </p:nvSpPr>
            <p:spPr>
              <a:xfrm>
                <a:off x="2287231" y="3068441"/>
                <a:ext cx="14623" cy="29573"/>
              </a:xfrm>
              <a:custGeom>
                <a:avLst/>
                <a:gdLst>
                  <a:gd name="connsiteX0" fmla="*/ 0 w 14623"/>
                  <a:gd name="connsiteY0" fmla="*/ 163 h 29573"/>
                  <a:gd name="connsiteX1" fmla="*/ 4370 w 14623"/>
                  <a:gd name="connsiteY1" fmla="*/ 22519 h 29573"/>
                  <a:gd name="connsiteX2" fmla="*/ 14624 w 14623"/>
                  <a:gd name="connsiteY2" fmla="*/ 29410 h 29573"/>
                  <a:gd name="connsiteX3" fmla="*/ 10253 w 14623"/>
                  <a:gd name="connsiteY3" fmla="*/ 7054 h 29573"/>
                  <a:gd name="connsiteX4" fmla="*/ 0 w 14623"/>
                  <a:gd name="connsiteY4" fmla="*/ 163 h 29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3">
                    <a:moveTo>
                      <a:pt x="0" y="163"/>
                    </a:moveTo>
                    <a:lnTo>
                      <a:pt x="4370" y="22519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900" name="Freeform: Shape 579">
                <a:extLst>
                  <a:ext uri="{FF2B5EF4-FFF2-40B4-BE49-F238E27FC236}">
                    <a16:creationId xmlns:a16="http://schemas.microsoft.com/office/drawing/2014/main" id="{7A5AC0BA-525A-2B4B-9EC5-2A38F49ECEE2}"/>
                  </a:ext>
                </a:extLst>
              </p:cNvPr>
              <p:cNvSpPr/>
              <p:nvPr/>
            </p:nvSpPr>
            <p:spPr>
              <a:xfrm>
                <a:off x="2270285" y="3107348"/>
                <a:ext cx="22294" cy="27397"/>
              </a:xfrm>
              <a:custGeom>
                <a:avLst/>
                <a:gdLst>
                  <a:gd name="connsiteX0" fmla="*/ 2154 w 22294"/>
                  <a:gd name="connsiteY0" fmla="*/ 27398 h 27397"/>
                  <a:gd name="connsiteX1" fmla="*/ 19299 w 22294"/>
                  <a:gd name="connsiteY1" fmla="*/ 12354 h 27397"/>
                  <a:gd name="connsiteX2" fmla="*/ 20140 w 22294"/>
                  <a:gd name="connsiteY2" fmla="*/ 0 h 27397"/>
                  <a:gd name="connsiteX3" fmla="*/ 2995 w 22294"/>
                  <a:gd name="connsiteY3" fmla="*/ 14960 h 27397"/>
                  <a:gd name="connsiteX4" fmla="*/ 2154 w 22294"/>
                  <a:gd name="connsiteY4" fmla="*/ 27398 h 27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7">
                    <a:moveTo>
                      <a:pt x="2154" y="27398"/>
                    </a:moveTo>
                    <a:lnTo>
                      <a:pt x="19299" y="12354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7"/>
                      <a:pt x="-1039" y="23784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901" name="Freeform: Shape 580">
                <a:extLst>
                  <a:ext uri="{FF2B5EF4-FFF2-40B4-BE49-F238E27FC236}">
                    <a16:creationId xmlns:a16="http://schemas.microsoft.com/office/drawing/2014/main" id="{5BFBF6EB-2A1D-DB46-8E94-46ACC73BC396}"/>
                  </a:ext>
                </a:extLst>
              </p:cNvPr>
              <p:cNvSpPr/>
              <p:nvPr/>
            </p:nvSpPr>
            <p:spPr>
              <a:xfrm>
                <a:off x="2304376" y="3106564"/>
                <a:ext cx="32693" cy="13670"/>
              </a:xfrm>
              <a:custGeom>
                <a:avLst/>
                <a:gdLst>
                  <a:gd name="connsiteX0" fmla="*/ 32693 w 32693"/>
                  <a:gd name="connsiteY0" fmla="*/ 7676 h 13670"/>
                  <a:gd name="connsiteX1" fmla="*/ 11094 w 32693"/>
                  <a:gd name="connsiteY1" fmla="*/ 448 h 13670"/>
                  <a:gd name="connsiteX2" fmla="*/ 0 w 32693"/>
                  <a:gd name="connsiteY2" fmla="*/ 5995 h 13670"/>
                  <a:gd name="connsiteX3" fmla="*/ 21599 w 32693"/>
                  <a:gd name="connsiteY3" fmla="*/ 13223 h 13670"/>
                  <a:gd name="connsiteX4" fmla="*/ 32693 w 32693"/>
                  <a:gd name="connsiteY4" fmla="*/ 7676 h 13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70">
                    <a:moveTo>
                      <a:pt x="32693" y="7676"/>
                    </a:moveTo>
                    <a:lnTo>
                      <a:pt x="11094" y="448"/>
                    </a:lnTo>
                    <a:cubicBezTo>
                      <a:pt x="6555" y="-1065"/>
                      <a:pt x="1513" y="1373"/>
                      <a:pt x="0" y="5995"/>
                    </a:cubicBezTo>
                    <a:lnTo>
                      <a:pt x="21599" y="13223"/>
                    </a:lnTo>
                    <a:cubicBezTo>
                      <a:pt x="26222" y="14735"/>
                      <a:pt x="31180" y="12298"/>
                      <a:pt x="32693" y="76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  <p:sp>
            <p:nvSpPr>
              <p:cNvPr id="902" name="Freeform: Shape 581">
                <a:extLst>
                  <a:ext uri="{FF2B5EF4-FFF2-40B4-BE49-F238E27FC236}">
                    <a16:creationId xmlns:a16="http://schemas.microsoft.com/office/drawing/2014/main" id="{CF0C4482-33B5-FB4B-9B35-88D96F4E930D}"/>
                  </a:ext>
                </a:extLst>
              </p:cNvPr>
              <p:cNvSpPr/>
              <p:nvPr/>
            </p:nvSpPr>
            <p:spPr>
              <a:xfrm>
                <a:off x="2293114" y="3114975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3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3"/>
                      <a:pt x="420" y="21872"/>
                      <a:pt x="0" y="33555"/>
                    </a:cubicBezTo>
                    <a:cubicBezTo>
                      <a:pt x="1765" y="34984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/>
              </a:p>
            </p:txBody>
          </p:sp>
        </p:grpSp>
        <p:sp>
          <p:nvSpPr>
            <p:cNvPr id="896" name="TextBox 895">
              <a:extLst>
                <a:ext uri="{FF2B5EF4-FFF2-40B4-BE49-F238E27FC236}">
                  <a16:creationId xmlns:a16="http://schemas.microsoft.com/office/drawing/2014/main" id="{9492076A-67A7-014E-85A6-FDB1061C92E6}"/>
                </a:ext>
              </a:extLst>
            </p:cNvPr>
            <p:cNvSpPr txBox="1"/>
            <p:nvPr/>
          </p:nvSpPr>
          <p:spPr>
            <a:xfrm>
              <a:off x="2026438" y="3024738"/>
              <a:ext cx="735878" cy="10409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>
                <a:lnSpc>
                  <a:spcPct val="96000"/>
                </a:lnSpc>
                <a:spcBef>
                  <a:spcPts val="2400"/>
                </a:spcBef>
              </a:pPr>
              <a:r>
                <a:rPr lang="en-US" sz="867">
                  <a:solidFill>
                    <a:schemeClr val="accent1"/>
                  </a:solidFill>
                </a:rPr>
                <a:t>Gunfleet Sands 3</a:t>
              </a:r>
            </a:p>
          </p:txBody>
        </p:sp>
      </p:grpSp>
      <p:sp>
        <p:nvSpPr>
          <p:cNvPr id="903" name="Title 5">
            <a:extLst>
              <a:ext uri="{FF2B5EF4-FFF2-40B4-BE49-F238E27FC236}">
                <a16:creationId xmlns:a16="http://schemas.microsoft.com/office/drawing/2014/main" id="{21096718-C211-A440-9E89-9DAD529433BD}"/>
              </a:ext>
            </a:extLst>
          </p:cNvPr>
          <p:cNvSpPr txBox="1">
            <a:spLocks/>
          </p:cNvSpPr>
          <p:nvPr/>
        </p:nvSpPr>
        <p:spPr>
          <a:xfrm>
            <a:off x="284085" y="1154390"/>
            <a:ext cx="3410778" cy="196204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4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1497" b="1" i="0" kern="1200">
                <a:solidFill>
                  <a:schemeClr val="accent1"/>
                </a:solidFill>
                <a:latin typeface="Orsted Sans Office" panose="00000500000000000000" pitchFamily="2" charset="0"/>
                <a:ea typeface="+mj-ea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US" sz="3733"/>
          </a:p>
        </p:txBody>
      </p:sp>
      <p:sp>
        <p:nvSpPr>
          <p:cNvPr id="904" name="TextBox 903">
            <a:extLst>
              <a:ext uri="{FF2B5EF4-FFF2-40B4-BE49-F238E27FC236}">
                <a16:creationId xmlns:a16="http://schemas.microsoft.com/office/drawing/2014/main" id="{62E05266-0989-124A-9EEC-C7CE56056118}"/>
              </a:ext>
            </a:extLst>
          </p:cNvPr>
          <p:cNvSpPr txBox="1">
            <a:spLocks/>
          </p:cNvSpPr>
          <p:nvPr/>
        </p:nvSpPr>
        <p:spPr>
          <a:xfrm>
            <a:off x="3999270" y="3271622"/>
            <a:ext cx="528991" cy="1772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6000"/>
              </a:lnSpc>
              <a:spcBef>
                <a:spcPts val="2400"/>
              </a:spcBef>
            </a:pPr>
            <a:r>
              <a:rPr lang="en-US" sz="1200" b="1">
                <a:solidFill>
                  <a:schemeClr val="tx2"/>
                </a:solidFill>
              </a:rPr>
              <a:t>Ireland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69D1E0E-5D41-00B1-9E81-FD5200440E5B}"/>
              </a:ext>
            </a:extLst>
          </p:cNvPr>
          <p:cNvGrpSpPr>
            <a:grpSpLocks/>
          </p:cNvGrpSpPr>
          <p:nvPr/>
        </p:nvGrpSpPr>
        <p:grpSpPr>
          <a:xfrm>
            <a:off x="6679292" y="1988207"/>
            <a:ext cx="961694" cy="174373"/>
            <a:chOff x="5009471" y="1491158"/>
            <a:chExt cx="721271" cy="130780"/>
          </a:xfrm>
        </p:grpSpPr>
        <p:grpSp>
          <p:nvGrpSpPr>
            <p:cNvPr id="906" name="Group 905">
              <a:extLst>
                <a:ext uri="{FF2B5EF4-FFF2-40B4-BE49-F238E27FC236}">
                  <a16:creationId xmlns:a16="http://schemas.microsoft.com/office/drawing/2014/main" id="{DF27DBB0-666C-BE43-902A-CB31A1A6AA14}"/>
                </a:ext>
              </a:extLst>
            </p:cNvPr>
            <p:cNvGrpSpPr/>
            <p:nvPr/>
          </p:nvGrpSpPr>
          <p:grpSpPr>
            <a:xfrm>
              <a:off x="5009471" y="1491158"/>
              <a:ext cx="98148" cy="130780"/>
              <a:chOff x="2265548" y="3181564"/>
              <a:chExt cx="71521" cy="95300"/>
            </a:xfrm>
            <a:solidFill>
              <a:srgbClr val="4099DA"/>
            </a:solidFill>
          </p:grpSpPr>
          <p:sp>
            <p:nvSpPr>
              <p:cNvPr id="908" name="Freeform: Shape 902">
                <a:extLst>
                  <a:ext uri="{FF2B5EF4-FFF2-40B4-BE49-F238E27FC236}">
                    <a16:creationId xmlns:a16="http://schemas.microsoft.com/office/drawing/2014/main" id="{0B9DC6AE-5148-2540-A320-2333C4585D5B}"/>
                  </a:ext>
                </a:extLst>
              </p:cNvPr>
              <p:cNvSpPr/>
              <p:nvPr/>
            </p:nvSpPr>
            <p:spPr>
              <a:xfrm>
                <a:off x="2294459" y="3214588"/>
                <a:ext cx="8908" cy="8909"/>
              </a:xfrm>
              <a:custGeom>
                <a:avLst/>
                <a:gdLst>
                  <a:gd name="connsiteX0" fmla="*/ 8909 w 8908"/>
                  <a:gd name="connsiteY0" fmla="*/ 4455 h 8909"/>
                  <a:gd name="connsiteX1" fmla="*/ 4454 w 8908"/>
                  <a:gd name="connsiteY1" fmla="*/ 8909 h 8909"/>
                  <a:gd name="connsiteX2" fmla="*/ 0 w 8908"/>
                  <a:gd name="connsiteY2" fmla="*/ 4455 h 8909"/>
                  <a:gd name="connsiteX3" fmla="*/ 4454 w 8908"/>
                  <a:gd name="connsiteY3" fmla="*/ 0 h 8909"/>
                  <a:gd name="connsiteX4" fmla="*/ 8909 w 8908"/>
                  <a:gd name="connsiteY4" fmla="*/ 4455 h 8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9">
                    <a:moveTo>
                      <a:pt x="8909" y="4455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5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2017"/>
                      <a:pt x="8909" y="4455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>
                  <a:solidFill>
                    <a:srgbClr val="E85757"/>
                  </a:solidFill>
                </a:endParaRPr>
              </a:p>
            </p:txBody>
          </p:sp>
          <p:sp>
            <p:nvSpPr>
              <p:cNvPr id="909" name="Freeform: Shape 903">
                <a:extLst>
                  <a:ext uri="{FF2B5EF4-FFF2-40B4-BE49-F238E27FC236}">
                    <a16:creationId xmlns:a16="http://schemas.microsoft.com/office/drawing/2014/main" id="{972157D2-82B9-8243-B896-82FAA18281F8}"/>
                  </a:ext>
                </a:extLst>
              </p:cNvPr>
              <p:cNvSpPr/>
              <p:nvPr/>
            </p:nvSpPr>
            <p:spPr>
              <a:xfrm>
                <a:off x="2287231" y="3181564"/>
                <a:ext cx="14623" cy="29572"/>
              </a:xfrm>
              <a:custGeom>
                <a:avLst/>
                <a:gdLst>
                  <a:gd name="connsiteX0" fmla="*/ 0 w 14623"/>
                  <a:gd name="connsiteY0" fmla="*/ 163 h 29572"/>
                  <a:gd name="connsiteX1" fmla="*/ 4370 w 14623"/>
                  <a:gd name="connsiteY1" fmla="*/ 22518 h 29572"/>
                  <a:gd name="connsiteX2" fmla="*/ 14624 w 14623"/>
                  <a:gd name="connsiteY2" fmla="*/ 29410 h 29572"/>
                  <a:gd name="connsiteX3" fmla="*/ 10253 w 14623"/>
                  <a:gd name="connsiteY3" fmla="*/ 7054 h 29572"/>
                  <a:gd name="connsiteX4" fmla="*/ 0 w 14623"/>
                  <a:gd name="connsiteY4" fmla="*/ 163 h 29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2">
                    <a:moveTo>
                      <a:pt x="0" y="163"/>
                    </a:moveTo>
                    <a:lnTo>
                      <a:pt x="4370" y="22518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>
                  <a:solidFill>
                    <a:srgbClr val="E85757"/>
                  </a:solidFill>
                </a:endParaRPr>
              </a:p>
            </p:txBody>
          </p:sp>
          <p:sp>
            <p:nvSpPr>
              <p:cNvPr id="910" name="Freeform: Shape 904">
                <a:extLst>
                  <a:ext uri="{FF2B5EF4-FFF2-40B4-BE49-F238E27FC236}">
                    <a16:creationId xmlns:a16="http://schemas.microsoft.com/office/drawing/2014/main" id="{771F5B50-1E94-2245-913E-31C394337259}"/>
                  </a:ext>
                </a:extLst>
              </p:cNvPr>
              <p:cNvSpPr/>
              <p:nvPr/>
            </p:nvSpPr>
            <p:spPr>
              <a:xfrm>
                <a:off x="2270285" y="3220471"/>
                <a:ext cx="22294" cy="27398"/>
              </a:xfrm>
              <a:custGeom>
                <a:avLst/>
                <a:gdLst>
                  <a:gd name="connsiteX0" fmla="*/ 2154 w 22294"/>
                  <a:gd name="connsiteY0" fmla="*/ 27398 h 27398"/>
                  <a:gd name="connsiteX1" fmla="*/ 19299 w 22294"/>
                  <a:gd name="connsiteY1" fmla="*/ 12355 h 27398"/>
                  <a:gd name="connsiteX2" fmla="*/ 20140 w 22294"/>
                  <a:gd name="connsiteY2" fmla="*/ 0 h 27398"/>
                  <a:gd name="connsiteX3" fmla="*/ 2995 w 22294"/>
                  <a:gd name="connsiteY3" fmla="*/ 14960 h 27398"/>
                  <a:gd name="connsiteX4" fmla="*/ 2154 w 22294"/>
                  <a:gd name="connsiteY4" fmla="*/ 27398 h 27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8">
                    <a:moveTo>
                      <a:pt x="2154" y="27398"/>
                    </a:moveTo>
                    <a:lnTo>
                      <a:pt x="19299" y="12355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8"/>
                      <a:pt x="-1039" y="23785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>
                  <a:solidFill>
                    <a:srgbClr val="E85757"/>
                  </a:solidFill>
                </a:endParaRPr>
              </a:p>
            </p:txBody>
          </p:sp>
          <p:sp>
            <p:nvSpPr>
              <p:cNvPr id="911" name="Freeform: Shape 905">
                <a:extLst>
                  <a:ext uri="{FF2B5EF4-FFF2-40B4-BE49-F238E27FC236}">
                    <a16:creationId xmlns:a16="http://schemas.microsoft.com/office/drawing/2014/main" id="{18965567-734C-7143-8DCB-0D5BDD1797F0}"/>
                  </a:ext>
                </a:extLst>
              </p:cNvPr>
              <p:cNvSpPr/>
              <p:nvPr/>
            </p:nvSpPr>
            <p:spPr>
              <a:xfrm>
                <a:off x="2304376" y="3219772"/>
                <a:ext cx="32693" cy="13662"/>
              </a:xfrm>
              <a:custGeom>
                <a:avLst/>
                <a:gdLst>
                  <a:gd name="connsiteX0" fmla="*/ 32693 w 32693"/>
                  <a:gd name="connsiteY0" fmla="*/ 7675 h 13662"/>
                  <a:gd name="connsiteX1" fmla="*/ 11094 w 32693"/>
                  <a:gd name="connsiteY1" fmla="*/ 448 h 13662"/>
                  <a:gd name="connsiteX2" fmla="*/ 0 w 32693"/>
                  <a:gd name="connsiteY2" fmla="*/ 5994 h 13662"/>
                  <a:gd name="connsiteX3" fmla="*/ 21599 w 32693"/>
                  <a:gd name="connsiteY3" fmla="*/ 13222 h 13662"/>
                  <a:gd name="connsiteX4" fmla="*/ 32693 w 32693"/>
                  <a:gd name="connsiteY4" fmla="*/ 7675 h 13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62">
                    <a:moveTo>
                      <a:pt x="32693" y="7675"/>
                    </a:moveTo>
                    <a:lnTo>
                      <a:pt x="11094" y="448"/>
                    </a:lnTo>
                    <a:cubicBezTo>
                      <a:pt x="6555" y="-1065"/>
                      <a:pt x="1513" y="1372"/>
                      <a:pt x="0" y="5994"/>
                    </a:cubicBezTo>
                    <a:lnTo>
                      <a:pt x="21599" y="13222"/>
                    </a:lnTo>
                    <a:cubicBezTo>
                      <a:pt x="26222" y="14735"/>
                      <a:pt x="31180" y="12214"/>
                      <a:pt x="32693" y="7675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>
                  <a:solidFill>
                    <a:srgbClr val="E85757"/>
                  </a:solidFill>
                </a:endParaRPr>
              </a:p>
            </p:txBody>
          </p:sp>
          <p:sp>
            <p:nvSpPr>
              <p:cNvPr id="912" name="Freeform: Shape 906">
                <a:extLst>
                  <a:ext uri="{FF2B5EF4-FFF2-40B4-BE49-F238E27FC236}">
                    <a16:creationId xmlns:a16="http://schemas.microsoft.com/office/drawing/2014/main" id="{1C3278B5-18D6-7843-BEAA-3A0A853E0C90}"/>
                  </a:ext>
                </a:extLst>
              </p:cNvPr>
              <p:cNvSpPr/>
              <p:nvPr/>
            </p:nvSpPr>
            <p:spPr>
              <a:xfrm>
                <a:off x="2293114" y="3228099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2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2"/>
                      <a:pt x="420" y="21872"/>
                      <a:pt x="0" y="33555"/>
                    </a:cubicBezTo>
                    <a:cubicBezTo>
                      <a:pt x="1765" y="35067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>
                  <a:solidFill>
                    <a:srgbClr val="E85757"/>
                  </a:solidFill>
                </a:endParaRPr>
              </a:p>
            </p:txBody>
          </p:sp>
          <p:sp>
            <p:nvSpPr>
              <p:cNvPr id="913" name="Freeform: Shape 907">
                <a:extLst>
                  <a:ext uri="{FF2B5EF4-FFF2-40B4-BE49-F238E27FC236}">
                    <a16:creationId xmlns:a16="http://schemas.microsoft.com/office/drawing/2014/main" id="{3A7ED04E-2911-6B45-A41A-19B71D7F6C62}"/>
                  </a:ext>
                </a:extLst>
              </p:cNvPr>
              <p:cNvSpPr/>
              <p:nvPr/>
            </p:nvSpPr>
            <p:spPr>
              <a:xfrm>
                <a:off x="2265548" y="3269721"/>
                <a:ext cx="66646" cy="7143"/>
              </a:xfrm>
              <a:custGeom>
                <a:avLst/>
                <a:gdLst>
                  <a:gd name="connsiteX0" fmla="*/ 0 w 66646"/>
                  <a:gd name="connsiteY0" fmla="*/ 0 h 7143"/>
                  <a:gd name="connsiteX1" fmla="*/ 66647 w 66646"/>
                  <a:gd name="connsiteY1" fmla="*/ 0 h 7143"/>
                  <a:gd name="connsiteX2" fmla="*/ 66647 w 66646"/>
                  <a:gd name="connsiteY2" fmla="*/ 7144 h 7143"/>
                  <a:gd name="connsiteX3" fmla="*/ 0 w 66646"/>
                  <a:gd name="connsiteY3" fmla="*/ 7144 h 7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646" h="7143">
                    <a:moveTo>
                      <a:pt x="0" y="0"/>
                    </a:moveTo>
                    <a:lnTo>
                      <a:pt x="66647" y="0"/>
                    </a:lnTo>
                    <a:lnTo>
                      <a:pt x="66647" y="7144"/>
                    </a:lnTo>
                    <a:lnTo>
                      <a:pt x="0" y="7144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>
                  <a:solidFill>
                    <a:srgbClr val="E85757"/>
                  </a:solidFill>
                </a:endParaRPr>
              </a:p>
            </p:txBody>
          </p:sp>
        </p:grpSp>
        <p:sp>
          <p:nvSpPr>
            <p:cNvPr id="907" name="TextBox 906">
              <a:extLst>
                <a:ext uri="{FF2B5EF4-FFF2-40B4-BE49-F238E27FC236}">
                  <a16:creationId xmlns:a16="http://schemas.microsoft.com/office/drawing/2014/main" id="{BAED724A-5D81-8C4C-B9F9-6F52DA947360}"/>
                </a:ext>
              </a:extLst>
            </p:cNvPr>
            <p:cNvSpPr txBox="1"/>
            <p:nvPr/>
          </p:nvSpPr>
          <p:spPr>
            <a:xfrm>
              <a:off x="5158470" y="1510919"/>
              <a:ext cx="572272" cy="9608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2400"/>
                </a:spcBef>
              </a:pPr>
              <a:r>
                <a:rPr lang="en-US" sz="867">
                  <a:solidFill>
                    <a:srgbClr val="4099DA"/>
                  </a:solidFill>
                </a:rPr>
                <a:t>Kennoxhead 1</a:t>
              </a:r>
            </a:p>
          </p:txBody>
        </p:sp>
      </p:grpSp>
      <p:grpSp>
        <p:nvGrpSpPr>
          <p:cNvPr id="914" name="Group 913">
            <a:extLst>
              <a:ext uri="{FF2B5EF4-FFF2-40B4-BE49-F238E27FC236}">
                <a16:creationId xmlns:a16="http://schemas.microsoft.com/office/drawing/2014/main" id="{3726AD31-B51A-804A-85FF-8FAC3D93BECE}"/>
              </a:ext>
            </a:extLst>
          </p:cNvPr>
          <p:cNvGrpSpPr>
            <a:grpSpLocks/>
          </p:cNvGrpSpPr>
          <p:nvPr/>
        </p:nvGrpSpPr>
        <p:grpSpPr>
          <a:xfrm>
            <a:off x="6048615" y="2468776"/>
            <a:ext cx="601020" cy="174373"/>
            <a:chOff x="4536458" y="1851585"/>
            <a:chExt cx="450765" cy="130780"/>
          </a:xfrm>
        </p:grpSpPr>
        <p:grpSp>
          <p:nvGrpSpPr>
            <p:cNvPr id="915" name="Group 914">
              <a:extLst>
                <a:ext uri="{FF2B5EF4-FFF2-40B4-BE49-F238E27FC236}">
                  <a16:creationId xmlns:a16="http://schemas.microsoft.com/office/drawing/2014/main" id="{E8DCDA02-A4D0-E84E-AA02-BF9C6A01B9B4}"/>
                </a:ext>
              </a:extLst>
            </p:cNvPr>
            <p:cNvGrpSpPr/>
            <p:nvPr/>
          </p:nvGrpSpPr>
          <p:grpSpPr>
            <a:xfrm>
              <a:off x="4536458" y="1851585"/>
              <a:ext cx="98148" cy="130780"/>
              <a:chOff x="2265548" y="3181564"/>
              <a:chExt cx="71521" cy="95300"/>
            </a:xfrm>
            <a:solidFill>
              <a:srgbClr val="644C76"/>
            </a:solidFill>
          </p:grpSpPr>
          <p:sp>
            <p:nvSpPr>
              <p:cNvPr id="917" name="Freeform: Shape 902">
                <a:extLst>
                  <a:ext uri="{FF2B5EF4-FFF2-40B4-BE49-F238E27FC236}">
                    <a16:creationId xmlns:a16="http://schemas.microsoft.com/office/drawing/2014/main" id="{1A1EED1B-EBB5-454A-A19E-AB9D48474A19}"/>
                  </a:ext>
                </a:extLst>
              </p:cNvPr>
              <p:cNvSpPr/>
              <p:nvPr/>
            </p:nvSpPr>
            <p:spPr>
              <a:xfrm>
                <a:off x="2294459" y="3214588"/>
                <a:ext cx="8908" cy="8909"/>
              </a:xfrm>
              <a:custGeom>
                <a:avLst/>
                <a:gdLst>
                  <a:gd name="connsiteX0" fmla="*/ 8909 w 8908"/>
                  <a:gd name="connsiteY0" fmla="*/ 4455 h 8909"/>
                  <a:gd name="connsiteX1" fmla="*/ 4454 w 8908"/>
                  <a:gd name="connsiteY1" fmla="*/ 8909 h 8909"/>
                  <a:gd name="connsiteX2" fmla="*/ 0 w 8908"/>
                  <a:gd name="connsiteY2" fmla="*/ 4455 h 8909"/>
                  <a:gd name="connsiteX3" fmla="*/ 4454 w 8908"/>
                  <a:gd name="connsiteY3" fmla="*/ 0 h 8909"/>
                  <a:gd name="connsiteX4" fmla="*/ 8909 w 8908"/>
                  <a:gd name="connsiteY4" fmla="*/ 4455 h 8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9">
                    <a:moveTo>
                      <a:pt x="8909" y="4455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5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2017"/>
                      <a:pt x="8909" y="4455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918" name="Freeform: Shape 903">
                <a:extLst>
                  <a:ext uri="{FF2B5EF4-FFF2-40B4-BE49-F238E27FC236}">
                    <a16:creationId xmlns:a16="http://schemas.microsoft.com/office/drawing/2014/main" id="{5DED329F-7A49-AF42-BAA7-A9657A729C5C}"/>
                  </a:ext>
                </a:extLst>
              </p:cNvPr>
              <p:cNvSpPr/>
              <p:nvPr/>
            </p:nvSpPr>
            <p:spPr>
              <a:xfrm>
                <a:off x="2287231" y="3181564"/>
                <a:ext cx="14623" cy="29572"/>
              </a:xfrm>
              <a:custGeom>
                <a:avLst/>
                <a:gdLst>
                  <a:gd name="connsiteX0" fmla="*/ 0 w 14623"/>
                  <a:gd name="connsiteY0" fmla="*/ 163 h 29572"/>
                  <a:gd name="connsiteX1" fmla="*/ 4370 w 14623"/>
                  <a:gd name="connsiteY1" fmla="*/ 22518 h 29572"/>
                  <a:gd name="connsiteX2" fmla="*/ 14624 w 14623"/>
                  <a:gd name="connsiteY2" fmla="*/ 29410 h 29572"/>
                  <a:gd name="connsiteX3" fmla="*/ 10253 w 14623"/>
                  <a:gd name="connsiteY3" fmla="*/ 7054 h 29572"/>
                  <a:gd name="connsiteX4" fmla="*/ 0 w 14623"/>
                  <a:gd name="connsiteY4" fmla="*/ 163 h 29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2">
                    <a:moveTo>
                      <a:pt x="0" y="163"/>
                    </a:moveTo>
                    <a:lnTo>
                      <a:pt x="4370" y="22518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919" name="Freeform: Shape 904">
                <a:extLst>
                  <a:ext uri="{FF2B5EF4-FFF2-40B4-BE49-F238E27FC236}">
                    <a16:creationId xmlns:a16="http://schemas.microsoft.com/office/drawing/2014/main" id="{0A5A2443-B28B-A34B-8C5A-6562E6A86DEE}"/>
                  </a:ext>
                </a:extLst>
              </p:cNvPr>
              <p:cNvSpPr/>
              <p:nvPr/>
            </p:nvSpPr>
            <p:spPr>
              <a:xfrm>
                <a:off x="2270285" y="3220471"/>
                <a:ext cx="22294" cy="27398"/>
              </a:xfrm>
              <a:custGeom>
                <a:avLst/>
                <a:gdLst>
                  <a:gd name="connsiteX0" fmla="*/ 2154 w 22294"/>
                  <a:gd name="connsiteY0" fmla="*/ 27398 h 27398"/>
                  <a:gd name="connsiteX1" fmla="*/ 19299 w 22294"/>
                  <a:gd name="connsiteY1" fmla="*/ 12355 h 27398"/>
                  <a:gd name="connsiteX2" fmla="*/ 20140 w 22294"/>
                  <a:gd name="connsiteY2" fmla="*/ 0 h 27398"/>
                  <a:gd name="connsiteX3" fmla="*/ 2995 w 22294"/>
                  <a:gd name="connsiteY3" fmla="*/ 14960 h 27398"/>
                  <a:gd name="connsiteX4" fmla="*/ 2154 w 22294"/>
                  <a:gd name="connsiteY4" fmla="*/ 27398 h 27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8">
                    <a:moveTo>
                      <a:pt x="2154" y="27398"/>
                    </a:moveTo>
                    <a:lnTo>
                      <a:pt x="19299" y="12355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8"/>
                      <a:pt x="-1039" y="23785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920" name="Freeform: Shape 905">
                <a:extLst>
                  <a:ext uri="{FF2B5EF4-FFF2-40B4-BE49-F238E27FC236}">
                    <a16:creationId xmlns:a16="http://schemas.microsoft.com/office/drawing/2014/main" id="{6130CAA7-CE7E-3C4A-B256-7774B5A0442F}"/>
                  </a:ext>
                </a:extLst>
              </p:cNvPr>
              <p:cNvSpPr/>
              <p:nvPr/>
            </p:nvSpPr>
            <p:spPr>
              <a:xfrm>
                <a:off x="2304376" y="3219772"/>
                <a:ext cx="32693" cy="13662"/>
              </a:xfrm>
              <a:custGeom>
                <a:avLst/>
                <a:gdLst>
                  <a:gd name="connsiteX0" fmla="*/ 32693 w 32693"/>
                  <a:gd name="connsiteY0" fmla="*/ 7675 h 13662"/>
                  <a:gd name="connsiteX1" fmla="*/ 11094 w 32693"/>
                  <a:gd name="connsiteY1" fmla="*/ 448 h 13662"/>
                  <a:gd name="connsiteX2" fmla="*/ 0 w 32693"/>
                  <a:gd name="connsiteY2" fmla="*/ 5994 h 13662"/>
                  <a:gd name="connsiteX3" fmla="*/ 21599 w 32693"/>
                  <a:gd name="connsiteY3" fmla="*/ 13222 h 13662"/>
                  <a:gd name="connsiteX4" fmla="*/ 32693 w 32693"/>
                  <a:gd name="connsiteY4" fmla="*/ 7675 h 13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62">
                    <a:moveTo>
                      <a:pt x="32693" y="7675"/>
                    </a:moveTo>
                    <a:lnTo>
                      <a:pt x="11094" y="448"/>
                    </a:lnTo>
                    <a:cubicBezTo>
                      <a:pt x="6555" y="-1065"/>
                      <a:pt x="1513" y="1372"/>
                      <a:pt x="0" y="5994"/>
                    </a:cubicBezTo>
                    <a:lnTo>
                      <a:pt x="21599" y="13222"/>
                    </a:lnTo>
                    <a:cubicBezTo>
                      <a:pt x="26222" y="14735"/>
                      <a:pt x="31180" y="12214"/>
                      <a:pt x="32693" y="7675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921" name="Freeform: Shape 906">
                <a:extLst>
                  <a:ext uri="{FF2B5EF4-FFF2-40B4-BE49-F238E27FC236}">
                    <a16:creationId xmlns:a16="http://schemas.microsoft.com/office/drawing/2014/main" id="{6633DCD3-9B18-F946-A8D5-D598E5165F2B}"/>
                  </a:ext>
                </a:extLst>
              </p:cNvPr>
              <p:cNvSpPr/>
              <p:nvPr/>
            </p:nvSpPr>
            <p:spPr>
              <a:xfrm>
                <a:off x="2293114" y="3228099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2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2"/>
                      <a:pt x="420" y="21872"/>
                      <a:pt x="0" y="33555"/>
                    </a:cubicBezTo>
                    <a:cubicBezTo>
                      <a:pt x="1765" y="35067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922" name="Freeform: Shape 907">
                <a:extLst>
                  <a:ext uri="{FF2B5EF4-FFF2-40B4-BE49-F238E27FC236}">
                    <a16:creationId xmlns:a16="http://schemas.microsoft.com/office/drawing/2014/main" id="{80384F0C-0BB4-D040-80F8-EE94DC492710}"/>
                  </a:ext>
                </a:extLst>
              </p:cNvPr>
              <p:cNvSpPr/>
              <p:nvPr/>
            </p:nvSpPr>
            <p:spPr>
              <a:xfrm>
                <a:off x="2265548" y="3269721"/>
                <a:ext cx="66646" cy="7143"/>
              </a:xfrm>
              <a:custGeom>
                <a:avLst/>
                <a:gdLst>
                  <a:gd name="connsiteX0" fmla="*/ 0 w 66646"/>
                  <a:gd name="connsiteY0" fmla="*/ 0 h 7143"/>
                  <a:gd name="connsiteX1" fmla="*/ 66647 w 66646"/>
                  <a:gd name="connsiteY1" fmla="*/ 0 h 7143"/>
                  <a:gd name="connsiteX2" fmla="*/ 66647 w 66646"/>
                  <a:gd name="connsiteY2" fmla="*/ 7144 h 7143"/>
                  <a:gd name="connsiteX3" fmla="*/ 0 w 66646"/>
                  <a:gd name="connsiteY3" fmla="*/ 7144 h 7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646" h="7143">
                    <a:moveTo>
                      <a:pt x="0" y="0"/>
                    </a:moveTo>
                    <a:lnTo>
                      <a:pt x="66647" y="0"/>
                    </a:lnTo>
                    <a:lnTo>
                      <a:pt x="66647" y="7144"/>
                    </a:lnTo>
                    <a:lnTo>
                      <a:pt x="0" y="7144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</p:grpSp>
        <p:sp>
          <p:nvSpPr>
            <p:cNvPr id="916" name="TextBox 915">
              <a:extLst>
                <a:ext uri="{FF2B5EF4-FFF2-40B4-BE49-F238E27FC236}">
                  <a16:creationId xmlns:a16="http://schemas.microsoft.com/office/drawing/2014/main" id="{A144C2B4-F276-A740-A26D-B8FA12BC9C6A}"/>
                </a:ext>
              </a:extLst>
            </p:cNvPr>
            <p:cNvSpPr txBox="1"/>
            <p:nvPr/>
          </p:nvSpPr>
          <p:spPr>
            <a:xfrm>
              <a:off x="4685457" y="1871346"/>
              <a:ext cx="301766" cy="9608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2400"/>
                </a:spcBef>
              </a:pPr>
              <a:r>
                <a:rPr lang="en-US" sz="867">
                  <a:solidFill>
                    <a:srgbClr val="644C76"/>
                  </a:solidFill>
                </a:rPr>
                <a:t>Larbrax</a:t>
              </a:r>
            </a:p>
          </p:txBody>
        </p:sp>
      </p:grpSp>
      <p:grpSp>
        <p:nvGrpSpPr>
          <p:cNvPr id="932" name="Group 931">
            <a:extLst>
              <a:ext uri="{FF2B5EF4-FFF2-40B4-BE49-F238E27FC236}">
                <a16:creationId xmlns:a16="http://schemas.microsoft.com/office/drawing/2014/main" id="{E9CA46A8-6DB4-794F-BA9D-D45F6920E46B}"/>
              </a:ext>
            </a:extLst>
          </p:cNvPr>
          <p:cNvGrpSpPr>
            <a:grpSpLocks/>
          </p:cNvGrpSpPr>
          <p:nvPr/>
        </p:nvGrpSpPr>
        <p:grpSpPr>
          <a:xfrm>
            <a:off x="7025006" y="2752912"/>
            <a:ext cx="767732" cy="174373"/>
            <a:chOff x="4536458" y="1851585"/>
            <a:chExt cx="575799" cy="130780"/>
          </a:xfrm>
        </p:grpSpPr>
        <p:grpSp>
          <p:nvGrpSpPr>
            <p:cNvPr id="933" name="Group 932">
              <a:extLst>
                <a:ext uri="{FF2B5EF4-FFF2-40B4-BE49-F238E27FC236}">
                  <a16:creationId xmlns:a16="http://schemas.microsoft.com/office/drawing/2014/main" id="{87EE498C-BB7E-FA49-B132-0E779EE09903}"/>
                </a:ext>
              </a:extLst>
            </p:cNvPr>
            <p:cNvGrpSpPr/>
            <p:nvPr/>
          </p:nvGrpSpPr>
          <p:grpSpPr>
            <a:xfrm>
              <a:off x="4536458" y="1851585"/>
              <a:ext cx="98148" cy="130780"/>
              <a:chOff x="2265548" y="3181564"/>
              <a:chExt cx="71521" cy="95300"/>
            </a:xfrm>
            <a:solidFill>
              <a:srgbClr val="644C76"/>
            </a:solidFill>
          </p:grpSpPr>
          <p:sp>
            <p:nvSpPr>
              <p:cNvPr id="935" name="Freeform: Shape 902">
                <a:extLst>
                  <a:ext uri="{FF2B5EF4-FFF2-40B4-BE49-F238E27FC236}">
                    <a16:creationId xmlns:a16="http://schemas.microsoft.com/office/drawing/2014/main" id="{C8064ABE-BCCE-B340-A7CB-9B202C72D266}"/>
                  </a:ext>
                </a:extLst>
              </p:cNvPr>
              <p:cNvSpPr/>
              <p:nvPr/>
            </p:nvSpPr>
            <p:spPr>
              <a:xfrm>
                <a:off x="2294459" y="3214588"/>
                <a:ext cx="8908" cy="8909"/>
              </a:xfrm>
              <a:custGeom>
                <a:avLst/>
                <a:gdLst>
                  <a:gd name="connsiteX0" fmla="*/ 8909 w 8908"/>
                  <a:gd name="connsiteY0" fmla="*/ 4455 h 8909"/>
                  <a:gd name="connsiteX1" fmla="*/ 4454 w 8908"/>
                  <a:gd name="connsiteY1" fmla="*/ 8909 h 8909"/>
                  <a:gd name="connsiteX2" fmla="*/ 0 w 8908"/>
                  <a:gd name="connsiteY2" fmla="*/ 4455 h 8909"/>
                  <a:gd name="connsiteX3" fmla="*/ 4454 w 8908"/>
                  <a:gd name="connsiteY3" fmla="*/ 0 h 8909"/>
                  <a:gd name="connsiteX4" fmla="*/ 8909 w 8908"/>
                  <a:gd name="connsiteY4" fmla="*/ 4455 h 8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9">
                    <a:moveTo>
                      <a:pt x="8909" y="4455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5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2017"/>
                      <a:pt x="8909" y="4455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936" name="Freeform: Shape 903">
                <a:extLst>
                  <a:ext uri="{FF2B5EF4-FFF2-40B4-BE49-F238E27FC236}">
                    <a16:creationId xmlns:a16="http://schemas.microsoft.com/office/drawing/2014/main" id="{086C5172-DAB3-CC4E-BE85-3EA71A8F284C}"/>
                  </a:ext>
                </a:extLst>
              </p:cNvPr>
              <p:cNvSpPr/>
              <p:nvPr/>
            </p:nvSpPr>
            <p:spPr>
              <a:xfrm>
                <a:off x="2287231" y="3181564"/>
                <a:ext cx="14623" cy="29572"/>
              </a:xfrm>
              <a:custGeom>
                <a:avLst/>
                <a:gdLst>
                  <a:gd name="connsiteX0" fmla="*/ 0 w 14623"/>
                  <a:gd name="connsiteY0" fmla="*/ 163 h 29572"/>
                  <a:gd name="connsiteX1" fmla="*/ 4370 w 14623"/>
                  <a:gd name="connsiteY1" fmla="*/ 22518 h 29572"/>
                  <a:gd name="connsiteX2" fmla="*/ 14624 w 14623"/>
                  <a:gd name="connsiteY2" fmla="*/ 29410 h 29572"/>
                  <a:gd name="connsiteX3" fmla="*/ 10253 w 14623"/>
                  <a:gd name="connsiteY3" fmla="*/ 7054 h 29572"/>
                  <a:gd name="connsiteX4" fmla="*/ 0 w 14623"/>
                  <a:gd name="connsiteY4" fmla="*/ 163 h 29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2">
                    <a:moveTo>
                      <a:pt x="0" y="163"/>
                    </a:moveTo>
                    <a:lnTo>
                      <a:pt x="4370" y="22518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937" name="Freeform: Shape 904">
                <a:extLst>
                  <a:ext uri="{FF2B5EF4-FFF2-40B4-BE49-F238E27FC236}">
                    <a16:creationId xmlns:a16="http://schemas.microsoft.com/office/drawing/2014/main" id="{4866DECE-7E7C-7546-9171-BD5E57F6EE0E}"/>
                  </a:ext>
                </a:extLst>
              </p:cNvPr>
              <p:cNvSpPr/>
              <p:nvPr/>
            </p:nvSpPr>
            <p:spPr>
              <a:xfrm>
                <a:off x="2270285" y="3220471"/>
                <a:ext cx="22294" cy="27398"/>
              </a:xfrm>
              <a:custGeom>
                <a:avLst/>
                <a:gdLst>
                  <a:gd name="connsiteX0" fmla="*/ 2154 w 22294"/>
                  <a:gd name="connsiteY0" fmla="*/ 27398 h 27398"/>
                  <a:gd name="connsiteX1" fmla="*/ 19299 w 22294"/>
                  <a:gd name="connsiteY1" fmla="*/ 12355 h 27398"/>
                  <a:gd name="connsiteX2" fmla="*/ 20140 w 22294"/>
                  <a:gd name="connsiteY2" fmla="*/ 0 h 27398"/>
                  <a:gd name="connsiteX3" fmla="*/ 2995 w 22294"/>
                  <a:gd name="connsiteY3" fmla="*/ 14960 h 27398"/>
                  <a:gd name="connsiteX4" fmla="*/ 2154 w 22294"/>
                  <a:gd name="connsiteY4" fmla="*/ 27398 h 27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8">
                    <a:moveTo>
                      <a:pt x="2154" y="27398"/>
                    </a:moveTo>
                    <a:lnTo>
                      <a:pt x="19299" y="12355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8"/>
                      <a:pt x="-1039" y="23785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938" name="Freeform: Shape 905">
                <a:extLst>
                  <a:ext uri="{FF2B5EF4-FFF2-40B4-BE49-F238E27FC236}">
                    <a16:creationId xmlns:a16="http://schemas.microsoft.com/office/drawing/2014/main" id="{734EF33E-4A68-CF4D-8698-53EB9F0CF516}"/>
                  </a:ext>
                </a:extLst>
              </p:cNvPr>
              <p:cNvSpPr/>
              <p:nvPr/>
            </p:nvSpPr>
            <p:spPr>
              <a:xfrm>
                <a:off x="2304376" y="3219772"/>
                <a:ext cx="32693" cy="13662"/>
              </a:xfrm>
              <a:custGeom>
                <a:avLst/>
                <a:gdLst>
                  <a:gd name="connsiteX0" fmla="*/ 32693 w 32693"/>
                  <a:gd name="connsiteY0" fmla="*/ 7675 h 13662"/>
                  <a:gd name="connsiteX1" fmla="*/ 11094 w 32693"/>
                  <a:gd name="connsiteY1" fmla="*/ 448 h 13662"/>
                  <a:gd name="connsiteX2" fmla="*/ 0 w 32693"/>
                  <a:gd name="connsiteY2" fmla="*/ 5994 h 13662"/>
                  <a:gd name="connsiteX3" fmla="*/ 21599 w 32693"/>
                  <a:gd name="connsiteY3" fmla="*/ 13222 h 13662"/>
                  <a:gd name="connsiteX4" fmla="*/ 32693 w 32693"/>
                  <a:gd name="connsiteY4" fmla="*/ 7675 h 13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62">
                    <a:moveTo>
                      <a:pt x="32693" y="7675"/>
                    </a:moveTo>
                    <a:lnTo>
                      <a:pt x="11094" y="448"/>
                    </a:lnTo>
                    <a:cubicBezTo>
                      <a:pt x="6555" y="-1065"/>
                      <a:pt x="1513" y="1372"/>
                      <a:pt x="0" y="5994"/>
                    </a:cubicBezTo>
                    <a:lnTo>
                      <a:pt x="21599" y="13222"/>
                    </a:lnTo>
                    <a:cubicBezTo>
                      <a:pt x="26222" y="14735"/>
                      <a:pt x="31180" y="12214"/>
                      <a:pt x="32693" y="7675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939" name="Freeform: Shape 906">
                <a:extLst>
                  <a:ext uri="{FF2B5EF4-FFF2-40B4-BE49-F238E27FC236}">
                    <a16:creationId xmlns:a16="http://schemas.microsoft.com/office/drawing/2014/main" id="{12D0A2FD-ED2F-6A41-8EE6-FE1AB2E0BE09}"/>
                  </a:ext>
                </a:extLst>
              </p:cNvPr>
              <p:cNvSpPr/>
              <p:nvPr/>
            </p:nvSpPr>
            <p:spPr>
              <a:xfrm>
                <a:off x="2293114" y="3228099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2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2"/>
                      <a:pt x="420" y="21872"/>
                      <a:pt x="0" y="33555"/>
                    </a:cubicBezTo>
                    <a:cubicBezTo>
                      <a:pt x="1765" y="35067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940" name="Freeform: Shape 907">
                <a:extLst>
                  <a:ext uri="{FF2B5EF4-FFF2-40B4-BE49-F238E27FC236}">
                    <a16:creationId xmlns:a16="http://schemas.microsoft.com/office/drawing/2014/main" id="{5841D592-EC8B-314A-8F43-E3D75AD85B0E}"/>
                  </a:ext>
                </a:extLst>
              </p:cNvPr>
              <p:cNvSpPr/>
              <p:nvPr/>
            </p:nvSpPr>
            <p:spPr>
              <a:xfrm>
                <a:off x="2265548" y="3269721"/>
                <a:ext cx="66646" cy="7143"/>
              </a:xfrm>
              <a:custGeom>
                <a:avLst/>
                <a:gdLst>
                  <a:gd name="connsiteX0" fmla="*/ 0 w 66646"/>
                  <a:gd name="connsiteY0" fmla="*/ 0 h 7143"/>
                  <a:gd name="connsiteX1" fmla="*/ 66647 w 66646"/>
                  <a:gd name="connsiteY1" fmla="*/ 0 h 7143"/>
                  <a:gd name="connsiteX2" fmla="*/ 66647 w 66646"/>
                  <a:gd name="connsiteY2" fmla="*/ 7144 h 7143"/>
                  <a:gd name="connsiteX3" fmla="*/ 0 w 66646"/>
                  <a:gd name="connsiteY3" fmla="*/ 7144 h 7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646" h="7143">
                    <a:moveTo>
                      <a:pt x="0" y="0"/>
                    </a:moveTo>
                    <a:lnTo>
                      <a:pt x="66647" y="0"/>
                    </a:lnTo>
                    <a:lnTo>
                      <a:pt x="66647" y="7144"/>
                    </a:lnTo>
                    <a:lnTo>
                      <a:pt x="0" y="7144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</p:grpSp>
        <p:sp>
          <p:nvSpPr>
            <p:cNvPr id="934" name="TextBox 933">
              <a:extLst>
                <a:ext uri="{FF2B5EF4-FFF2-40B4-BE49-F238E27FC236}">
                  <a16:creationId xmlns:a16="http://schemas.microsoft.com/office/drawing/2014/main" id="{F03ABFBC-6F13-5645-8485-6BF28187124C}"/>
                </a:ext>
              </a:extLst>
            </p:cNvPr>
            <p:cNvSpPr txBox="1"/>
            <p:nvPr/>
          </p:nvSpPr>
          <p:spPr>
            <a:xfrm>
              <a:off x="4685457" y="1871346"/>
              <a:ext cx="426800" cy="9608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2400"/>
                </a:spcBef>
              </a:pPr>
              <a:r>
                <a:rPr lang="en-US" sz="867">
                  <a:solidFill>
                    <a:srgbClr val="644C76"/>
                  </a:solidFill>
                </a:rPr>
                <a:t>Polquhairn</a:t>
              </a:r>
            </a:p>
          </p:txBody>
        </p:sp>
      </p:grpSp>
      <p:grpSp>
        <p:nvGrpSpPr>
          <p:cNvPr id="941" name="Group 940">
            <a:extLst>
              <a:ext uri="{FF2B5EF4-FFF2-40B4-BE49-F238E27FC236}">
                <a16:creationId xmlns:a16="http://schemas.microsoft.com/office/drawing/2014/main" id="{128690BC-F088-2D41-8155-33F938B1B496}"/>
              </a:ext>
            </a:extLst>
          </p:cNvPr>
          <p:cNvGrpSpPr>
            <a:grpSpLocks/>
          </p:cNvGrpSpPr>
          <p:nvPr/>
        </p:nvGrpSpPr>
        <p:grpSpPr>
          <a:xfrm>
            <a:off x="6829151" y="2156998"/>
            <a:ext cx="936553" cy="174373"/>
            <a:chOff x="4536458" y="1851585"/>
            <a:chExt cx="702415" cy="130780"/>
          </a:xfrm>
        </p:grpSpPr>
        <p:grpSp>
          <p:nvGrpSpPr>
            <p:cNvPr id="942" name="Group 941">
              <a:extLst>
                <a:ext uri="{FF2B5EF4-FFF2-40B4-BE49-F238E27FC236}">
                  <a16:creationId xmlns:a16="http://schemas.microsoft.com/office/drawing/2014/main" id="{9363CAFB-65D8-574E-A8D7-485CA41AB914}"/>
                </a:ext>
              </a:extLst>
            </p:cNvPr>
            <p:cNvGrpSpPr/>
            <p:nvPr/>
          </p:nvGrpSpPr>
          <p:grpSpPr>
            <a:xfrm>
              <a:off x="4536458" y="1851585"/>
              <a:ext cx="98148" cy="130780"/>
              <a:chOff x="2265548" y="3181564"/>
              <a:chExt cx="71521" cy="95300"/>
            </a:xfrm>
            <a:solidFill>
              <a:srgbClr val="644C76"/>
            </a:solidFill>
          </p:grpSpPr>
          <p:sp>
            <p:nvSpPr>
              <p:cNvPr id="944" name="Freeform: Shape 902">
                <a:extLst>
                  <a:ext uri="{FF2B5EF4-FFF2-40B4-BE49-F238E27FC236}">
                    <a16:creationId xmlns:a16="http://schemas.microsoft.com/office/drawing/2014/main" id="{210B4691-C90C-394B-BC5F-43511923DC31}"/>
                  </a:ext>
                </a:extLst>
              </p:cNvPr>
              <p:cNvSpPr/>
              <p:nvPr/>
            </p:nvSpPr>
            <p:spPr>
              <a:xfrm>
                <a:off x="2294459" y="3214588"/>
                <a:ext cx="8908" cy="8909"/>
              </a:xfrm>
              <a:custGeom>
                <a:avLst/>
                <a:gdLst>
                  <a:gd name="connsiteX0" fmla="*/ 8909 w 8908"/>
                  <a:gd name="connsiteY0" fmla="*/ 4455 h 8909"/>
                  <a:gd name="connsiteX1" fmla="*/ 4454 w 8908"/>
                  <a:gd name="connsiteY1" fmla="*/ 8909 h 8909"/>
                  <a:gd name="connsiteX2" fmla="*/ 0 w 8908"/>
                  <a:gd name="connsiteY2" fmla="*/ 4455 h 8909"/>
                  <a:gd name="connsiteX3" fmla="*/ 4454 w 8908"/>
                  <a:gd name="connsiteY3" fmla="*/ 0 h 8909"/>
                  <a:gd name="connsiteX4" fmla="*/ 8909 w 8908"/>
                  <a:gd name="connsiteY4" fmla="*/ 4455 h 8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9">
                    <a:moveTo>
                      <a:pt x="8909" y="4455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5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2017"/>
                      <a:pt x="8909" y="4455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945" name="Freeform: Shape 903">
                <a:extLst>
                  <a:ext uri="{FF2B5EF4-FFF2-40B4-BE49-F238E27FC236}">
                    <a16:creationId xmlns:a16="http://schemas.microsoft.com/office/drawing/2014/main" id="{1BE44FBC-4749-2145-BFAB-3BA42EE28036}"/>
                  </a:ext>
                </a:extLst>
              </p:cNvPr>
              <p:cNvSpPr/>
              <p:nvPr/>
            </p:nvSpPr>
            <p:spPr>
              <a:xfrm>
                <a:off x="2287231" y="3181564"/>
                <a:ext cx="14623" cy="29572"/>
              </a:xfrm>
              <a:custGeom>
                <a:avLst/>
                <a:gdLst>
                  <a:gd name="connsiteX0" fmla="*/ 0 w 14623"/>
                  <a:gd name="connsiteY0" fmla="*/ 163 h 29572"/>
                  <a:gd name="connsiteX1" fmla="*/ 4370 w 14623"/>
                  <a:gd name="connsiteY1" fmla="*/ 22518 h 29572"/>
                  <a:gd name="connsiteX2" fmla="*/ 14624 w 14623"/>
                  <a:gd name="connsiteY2" fmla="*/ 29410 h 29572"/>
                  <a:gd name="connsiteX3" fmla="*/ 10253 w 14623"/>
                  <a:gd name="connsiteY3" fmla="*/ 7054 h 29572"/>
                  <a:gd name="connsiteX4" fmla="*/ 0 w 14623"/>
                  <a:gd name="connsiteY4" fmla="*/ 163 h 29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2">
                    <a:moveTo>
                      <a:pt x="0" y="163"/>
                    </a:moveTo>
                    <a:lnTo>
                      <a:pt x="4370" y="22518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946" name="Freeform: Shape 904">
                <a:extLst>
                  <a:ext uri="{FF2B5EF4-FFF2-40B4-BE49-F238E27FC236}">
                    <a16:creationId xmlns:a16="http://schemas.microsoft.com/office/drawing/2014/main" id="{DD2ABC73-DFA2-B74E-9E1A-BF35CCBF0C94}"/>
                  </a:ext>
                </a:extLst>
              </p:cNvPr>
              <p:cNvSpPr/>
              <p:nvPr/>
            </p:nvSpPr>
            <p:spPr>
              <a:xfrm>
                <a:off x="2270285" y="3220471"/>
                <a:ext cx="22294" cy="27398"/>
              </a:xfrm>
              <a:custGeom>
                <a:avLst/>
                <a:gdLst>
                  <a:gd name="connsiteX0" fmla="*/ 2154 w 22294"/>
                  <a:gd name="connsiteY0" fmla="*/ 27398 h 27398"/>
                  <a:gd name="connsiteX1" fmla="*/ 19299 w 22294"/>
                  <a:gd name="connsiteY1" fmla="*/ 12355 h 27398"/>
                  <a:gd name="connsiteX2" fmla="*/ 20140 w 22294"/>
                  <a:gd name="connsiteY2" fmla="*/ 0 h 27398"/>
                  <a:gd name="connsiteX3" fmla="*/ 2995 w 22294"/>
                  <a:gd name="connsiteY3" fmla="*/ 14960 h 27398"/>
                  <a:gd name="connsiteX4" fmla="*/ 2154 w 22294"/>
                  <a:gd name="connsiteY4" fmla="*/ 27398 h 27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8">
                    <a:moveTo>
                      <a:pt x="2154" y="27398"/>
                    </a:moveTo>
                    <a:lnTo>
                      <a:pt x="19299" y="12355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8"/>
                      <a:pt x="-1039" y="23785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947" name="Freeform: Shape 905">
                <a:extLst>
                  <a:ext uri="{FF2B5EF4-FFF2-40B4-BE49-F238E27FC236}">
                    <a16:creationId xmlns:a16="http://schemas.microsoft.com/office/drawing/2014/main" id="{C7C5FA28-9C0C-7549-923E-8076E7F1A210}"/>
                  </a:ext>
                </a:extLst>
              </p:cNvPr>
              <p:cNvSpPr/>
              <p:nvPr/>
            </p:nvSpPr>
            <p:spPr>
              <a:xfrm>
                <a:off x="2304376" y="3219772"/>
                <a:ext cx="32693" cy="13662"/>
              </a:xfrm>
              <a:custGeom>
                <a:avLst/>
                <a:gdLst>
                  <a:gd name="connsiteX0" fmla="*/ 32693 w 32693"/>
                  <a:gd name="connsiteY0" fmla="*/ 7675 h 13662"/>
                  <a:gd name="connsiteX1" fmla="*/ 11094 w 32693"/>
                  <a:gd name="connsiteY1" fmla="*/ 448 h 13662"/>
                  <a:gd name="connsiteX2" fmla="*/ 0 w 32693"/>
                  <a:gd name="connsiteY2" fmla="*/ 5994 h 13662"/>
                  <a:gd name="connsiteX3" fmla="*/ 21599 w 32693"/>
                  <a:gd name="connsiteY3" fmla="*/ 13222 h 13662"/>
                  <a:gd name="connsiteX4" fmla="*/ 32693 w 32693"/>
                  <a:gd name="connsiteY4" fmla="*/ 7675 h 13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62">
                    <a:moveTo>
                      <a:pt x="32693" y="7675"/>
                    </a:moveTo>
                    <a:lnTo>
                      <a:pt x="11094" y="448"/>
                    </a:lnTo>
                    <a:cubicBezTo>
                      <a:pt x="6555" y="-1065"/>
                      <a:pt x="1513" y="1372"/>
                      <a:pt x="0" y="5994"/>
                    </a:cubicBezTo>
                    <a:lnTo>
                      <a:pt x="21599" y="13222"/>
                    </a:lnTo>
                    <a:cubicBezTo>
                      <a:pt x="26222" y="14735"/>
                      <a:pt x="31180" y="12214"/>
                      <a:pt x="32693" y="7675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948" name="Freeform: Shape 906">
                <a:extLst>
                  <a:ext uri="{FF2B5EF4-FFF2-40B4-BE49-F238E27FC236}">
                    <a16:creationId xmlns:a16="http://schemas.microsoft.com/office/drawing/2014/main" id="{74D5E9C4-D0EB-0244-A6E1-5AED18F20361}"/>
                  </a:ext>
                </a:extLst>
              </p:cNvPr>
              <p:cNvSpPr/>
              <p:nvPr/>
            </p:nvSpPr>
            <p:spPr>
              <a:xfrm>
                <a:off x="2293114" y="3228099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2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2"/>
                      <a:pt x="420" y="21872"/>
                      <a:pt x="0" y="33555"/>
                    </a:cubicBezTo>
                    <a:cubicBezTo>
                      <a:pt x="1765" y="35067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949" name="Freeform: Shape 907">
                <a:extLst>
                  <a:ext uri="{FF2B5EF4-FFF2-40B4-BE49-F238E27FC236}">
                    <a16:creationId xmlns:a16="http://schemas.microsoft.com/office/drawing/2014/main" id="{EF1A7C90-C0FE-7146-A0A2-934142EB5F71}"/>
                  </a:ext>
                </a:extLst>
              </p:cNvPr>
              <p:cNvSpPr/>
              <p:nvPr/>
            </p:nvSpPr>
            <p:spPr>
              <a:xfrm>
                <a:off x="2265548" y="3269721"/>
                <a:ext cx="66646" cy="7143"/>
              </a:xfrm>
              <a:custGeom>
                <a:avLst/>
                <a:gdLst>
                  <a:gd name="connsiteX0" fmla="*/ 0 w 66646"/>
                  <a:gd name="connsiteY0" fmla="*/ 0 h 7143"/>
                  <a:gd name="connsiteX1" fmla="*/ 66647 w 66646"/>
                  <a:gd name="connsiteY1" fmla="*/ 0 h 7143"/>
                  <a:gd name="connsiteX2" fmla="*/ 66647 w 66646"/>
                  <a:gd name="connsiteY2" fmla="*/ 7144 h 7143"/>
                  <a:gd name="connsiteX3" fmla="*/ 0 w 66646"/>
                  <a:gd name="connsiteY3" fmla="*/ 7144 h 7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646" h="7143">
                    <a:moveTo>
                      <a:pt x="0" y="0"/>
                    </a:moveTo>
                    <a:lnTo>
                      <a:pt x="66647" y="0"/>
                    </a:lnTo>
                    <a:lnTo>
                      <a:pt x="66647" y="7144"/>
                    </a:lnTo>
                    <a:lnTo>
                      <a:pt x="0" y="7144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</p:grpSp>
        <p:sp>
          <p:nvSpPr>
            <p:cNvPr id="943" name="TextBox 942">
              <a:extLst>
                <a:ext uri="{FF2B5EF4-FFF2-40B4-BE49-F238E27FC236}">
                  <a16:creationId xmlns:a16="http://schemas.microsoft.com/office/drawing/2014/main" id="{2A84BB34-98FB-2C4F-91C0-0B8F7E3D1A59}"/>
                </a:ext>
              </a:extLst>
            </p:cNvPr>
            <p:cNvSpPr txBox="1"/>
            <p:nvPr/>
          </p:nvSpPr>
          <p:spPr>
            <a:xfrm>
              <a:off x="4666601" y="1864275"/>
              <a:ext cx="572272" cy="9608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2400"/>
                </a:spcBef>
              </a:pPr>
              <a:r>
                <a:rPr lang="en-US" sz="867">
                  <a:solidFill>
                    <a:srgbClr val="644C76"/>
                  </a:solidFill>
                </a:rPr>
                <a:t>Kennoxhead 2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C51F14C9-FB99-40A3-F4A3-F87F5F99EF71}"/>
              </a:ext>
            </a:extLst>
          </p:cNvPr>
          <p:cNvGrpSpPr>
            <a:grpSpLocks/>
          </p:cNvGrpSpPr>
          <p:nvPr/>
        </p:nvGrpSpPr>
        <p:grpSpPr>
          <a:xfrm>
            <a:off x="4493765" y="4244887"/>
            <a:ext cx="690788" cy="174373"/>
            <a:chOff x="3370323" y="3183671"/>
            <a:chExt cx="518091" cy="130780"/>
          </a:xfrm>
        </p:grpSpPr>
        <p:grpSp>
          <p:nvGrpSpPr>
            <p:cNvPr id="951" name="Group 950">
              <a:extLst>
                <a:ext uri="{FF2B5EF4-FFF2-40B4-BE49-F238E27FC236}">
                  <a16:creationId xmlns:a16="http://schemas.microsoft.com/office/drawing/2014/main" id="{25BCD30A-544B-3E4F-BF2B-F1AF53F788D6}"/>
                </a:ext>
              </a:extLst>
            </p:cNvPr>
            <p:cNvGrpSpPr/>
            <p:nvPr/>
          </p:nvGrpSpPr>
          <p:grpSpPr>
            <a:xfrm>
              <a:off x="3370323" y="3183671"/>
              <a:ext cx="98148" cy="130780"/>
              <a:chOff x="2265548" y="3181564"/>
              <a:chExt cx="71521" cy="95300"/>
            </a:xfrm>
            <a:solidFill>
              <a:schemeClr val="accent1"/>
            </a:solidFill>
          </p:grpSpPr>
          <p:sp>
            <p:nvSpPr>
              <p:cNvPr id="953" name="Freeform: Shape 902">
                <a:extLst>
                  <a:ext uri="{FF2B5EF4-FFF2-40B4-BE49-F238E27FC236}">
                    <a16:creationId xmlns:a16="http://schemas.microsoft.com/office/drawing/2014/main" id="{D7F4B4A0-61B3-C24F-962D-755A44914EFE}"/>
                  </a:ext>
                </a:extLst>
              </p:cNvPr>
              <p:cNvSpPr/>
              <p:nvPr/>
            </p:nvSpPr>
            <p:spPr>
              <a:xfrm>
                <a:off x="2294459" y="3214588"/>
                <a:ext cx="8908" cy="8909"/>
              </a:xfrm>
              <a:custGeom>
                <a:avLst/>
                <a:gdLst>
                  <a:gd name="connsiteX0" fmla="*/ 8909 w 8908"/>
                  <a:gd name="connsiteY0" fmla="*/ 4455 h 8909"/>
                  <a:gd name="connsiteX1" fmla="*/ 4454 w 8908"/>
                  <a:gd name="connsiteY1" fmla="*/ 8909 h 8909"/>
                  <a:gd name="connsiteX2" fmla="*/ 0 w 8908"/>
                  <a:gd name="connsiteY2" fmla="*/ 4455 h 8909"/>
                  <a:gd name="connsiteX3" fmla="*/ 4454 w 8908"/>
                  <a:gd name="connsiteY3" fmla="*/ 0 h 8909"/>
                  <a:gd name="connsiteX4" fmla="*/ 8909 w 8908"/>
                  <a:gd name="connsiteY4" fmla="*/ 4455 h 8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9">
                    <a:moveTo>
                      <a:pt x="8909" y="4455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5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2017"/>
                      <a:pt x="8909" y="4455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>
                  <a:solidFill>
                    <a:srgbClr val="E85757"/>
                  </a:solidFill>
                </a:endParaRPr>
              </a:p>
            </p:txBody>
          </p:sp>
          <p:sp>
            <p:nvSpPr>
              <p:cNvPr id="954" name="Freeform: Shape 903">
                <a:extLst>
                  <a:ext uri="{FF2B5EF4-FFF2-40B4-BE49-F238E27FC236}">
                    <a16:creationId xmlns:a16="http://schemas.microsoft.com/office/drawing/2014/main" id="{B238922B-15A8-A141-91B3-AFE7FB6941A2}"/>
                  </a:ext>
                </a:extLst>
              </p:cNvPr>
              <p:cNvSpPr/>
              <p:nvPr/>
            </p:nvSpPr>
            <p:spPr>
              <a:xfrm>
                <a:off x="2287231" y="3181564"/>
                <a:ext cx="14623" cy="29572"/>
              </a:xfrm>
              <a:custGeom>
                <a:avLst/>
                <a:gdLst>
                  <a:gd name="connsiteX0" fmla="*/ 0 w 14623"/>
                  <a:gd name="connsiteY0" fmla="*/ 163 h 29572"/>
                  <a:gd name="connsiteX1" fmla="*/ 4370 w 14623"/>
                  <a:gd name="connsiteY1" fmla="*/ 22518 h 29572"/>
                  <a:gd name="connsiteX2" fmla="*/ 14624 w 14623"/>
                  <a:gd name="connsiteY2" fmla="*/ 29410 h 29572"/>
                  <a:gd name="connsiteX3" fmla="*/ 10253 w 14623"/>
                  <a:gd name="connsiteY3" fmla="*/ 7054 h 29572"/>
                  <a:gd name="connsiteX4" fmla="*/ 0 w 14623"/>
                  <a:gd name="connsiteY4" fmla="*/ 163 h 29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2">
                    <a:moveTo>
                      <a:pt x="0" y="163"/>
                    </a:moveTo>
                    <a:lnTo>
                      <a:pt x="4370" y="22518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>
                  <a:solidFill>
                    <a:srgbClr val="E85757"/>
                  </a:solidFill>
                </a:endParaRPr>
              </a:p>
            </p:txBody>
          </p:sp>
          <p:sp>
            <p:nvSpPr>
              <p:cNvPr id="955" name="Freeform: Shape 904">
                <a:extLst>
                  <a:ext uri="{FF2B5EF4-FFF2-40B4-BE49-F238E27FC236}">
                    <a16:creationId xmlns:a16="http://schemas.microsoft.com/office/drawing/2014/main" id="{4B030558-397B-4D43-9FC4-FCA6A6291EF7}"/>
                  </a:ext>
                </a:extLst>
              </p:cNvPr>
              <p:cNvSpPr/>
              <p:nvPr/>
            </p:nvSpPr>
            <p:spPr>
              <a:xfrm>
                <a:off x="2270285" y="3220471"/>
                <a:ext cx="22294" cy="27398"/>
              </a:xfrm>
              <a:custGeom>
                <a:avLst/>
                <a:gdLst>
                  <a:gd name="connsiteX0" fmla="*/ 2154 w 22294"/>
                  <a:gd name="connsiteY0" fmla="*/ 27398 h 27398"/>
                  <a:gd name="connsiteX1" fmla="*/ 19299 w 22294"/>
                  <a:gd name="connsiteY1" fmla="*/ 12355 h 27398"/>
                  <a:gd name="connsiteX2" fmla="*/ 20140 w 22294"/>
                  <a:gd name="connsiteY2" fmla="*/ 0 h 27398"/>
                  <a:gd name="connsiteX3" fmla="*/ 2995 w 22294"/>
                  <a:gd name="connsiteY3" fmla="*/ 14960 h 27398"/>
                  <a:gd name="connsiteX4" fmla="*/ 2154 w 22294"/>
                  <a:gd name="connsiteY4" fmla="*/ 27398 h 27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8">
                    <a:moveTo>
                      <a:pt x="2154" y="27398"/>
                    </a:moveTo>
                    <a:lnTo>
                      <a:pt x="19299" y="12355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8"/>
                      <a:pt x="-1039" y="23785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>
                  <a:solidFill>
                    <a:srgbClr val="E85757"/>
                  </a:solidFill>
                </a:endParaRPr>
              </a:p>
            </p:txBody>
          </p:sp>
          <p:sp>
            <p:nvSpPr>
              <p:cNvPr id="956" name="Freeform: Shape 905">
                <a:extLst>
                  <a:ext uri="{FF2B5EF4-FFF2-40B4-BE49-F238E27FC236}">
                    <a16:creationId xmlns:a16="http://schemas.microsoft.com/office/drawing/2014/main" id="{FDF1F5C0-1BFE-A343-9FCD-1AA39F8755BD}"/>
                  </a:ext>
                </a:extLst>
              </p:cNvPr>
              <p:cNvSpPr/>
              <p:nvPr/>
            </p:nvSpPr>
            <p:spPr>
              <a:xfrm>
                <a:off x="2304376" y="3219772"/>
                <a:ext cx="32693" cy="13662"/>
              </a:xfrm>
              <a:custGeom>
                <a:avLst/>
                <a:gdLst>
                  <a:gd name="connsiteX0" fmla="*/ 32693 w 32693"/>
                  <a:gd name="connsiteY0" fmla="*/ 7675 h 13662"/>
                  <a:gd name="connsiteX1" fmla="*/ 11094 w 32693"/>
                  <a:gd name="connsiteY1" fmla="*/ 448 h 13662"/>
                  <a:gd name="connsiteX2" fmla="*/ 0 w 32693"/>
                  <a:gd name="connsiteY2" fmla="*/ 5994 h 13662"/>
                  <a:gd name="connsiteX3" fmla="*/ 21599 w 32693"/>
                  <a:gd name="connsiteY3" fmla="*/ 13222 h 13662"/>
                  <a:gd name="connsiteX4" fmla="*/ 32693 w 32693"/>
                  <a:gd name="connsiteY4" fmla="*/ 7675 h 13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62">
                    <a:moveTo>
                      <a:pt x="32693" y="7675"/>
                    </a:moveTo>
                    <a:lnTo>
                      <a:pt x="11094" y="448"/>
                    </a:lnTo>
                    <a:cubicBezTo>
                      <a:pt x="6555" y="-1065"/>
                      <a:pt x="1513" y="1372"/>
                      <a:pt x="0" y="5994"/>
                    </a:cubicBezTo>
                    <a:lnTo>
                      <a:pt x="21599" y="13222"/>
                    </a:lnTo>
                    <a:cubicBezTo>
                      <a:pt x="26222" y="14735"/>
                      <a:pt x="31180" y="12214"/>
                      <a:pt x="32693" y="7675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>
                  <a:solidFill>
                    <a:srgbClr val="E85757"/>
                  </a:solidFill>
                </a:endParaRPr>
              </a:p>
            </p:txBody>
          </p:sp>
          <p:sp>
            <p:nvSpPr>
              <p:cNvPr id="957" name="Freeform: Shape 906">
                <a:extLst>
                  <a:ext uri="{FF2B5EF4-FFF2-40B4-BE49-F238E27FC236}">
                    <a16:creationId xmlns:a16="http://schemas.microsoft.com/office/drawing/2014/main" id="{CD040CB3-B431-A04A-9B64-24BF7A362535}"/>
                  </a:ext>
                </a:extLst>
              </p:cNvPr>
              <p:cNvSpPr/>
              <p:nvPr/>
            </p:nvSpPr>
            <p:spPr>
              <a:xfrm>
                <a:off x="2293114" y="3228099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2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2"/>
                      <a:pt x="420" y="21872"/>
                      <a:pt x="0" y="33555"/>
                    </a:cubicBezTo>
                    <a:cubicBezTo>
                      <a:pt x="1765" y="35067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>
                  <a:solidFill>
                    <a:srgbClr val="E85757"/>
                  </a:solidFill>
                </a:endParaRPr>
              </a:p>
            </p:txBody>
          </p:sp>
          <p:sp>
            <p:nvSpPr>
              <p:cNvPr id="958" name="Freeform: Shape 907">
                <a:extLst>
                  <a:ext uri="{FF2B5EF4-FFF2-40B4-BE49-F238E27FC236}">
                    <a16:creationId xmlns:a16="http://schemas.microsoft.com/office/drawing/2014/main" id="{C875EB30-04E9-F742-8B89-C193938B613D}"/>
                  </a:ext>
                </a:extLst>
              </p:cNvPr>
              <p:cNvSpPr/>
              <p:nvPr/>
            </p:nvSpPr>
            <p:spPr>
              <a:xfrm>
                <a:off x="2265548" y="3269721"/>
                <a:ext cx="66646" cy="7143"/>
              </a:xfrm>
              <a:custGeom>
                <a:avLst/>
                <a:gdLst>
                  <a:gd name="connsiteX0" fmla="*/ 0 w 66646"/>
                  <a:gd name="connsiteY0" fmla="*/ 0 h 7143"/>
                  <a:gd name="connsiteX1" fmla="*/ 66647 w 66646"/>
                  <a:gd name="connsiteY1" fmla="*/ 0 h 7143"/>
                  <a:gd name="connsiteX2" fmla="*/ 66647 w 66646"/>
                  <a:gd name="connsiteY2" fmla="*/ 7144 h 7143"/>
                  <a:gd name="connsiteX3" fmla="*/ 0 w 66646"/>
                  <a:gd name="connsiteY3" fmla="*/ 7144 h 7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646" h="7143">
                    <a:moveTo>
                      <a:pt x="0" y="0"/>
                    </a:moveTo>
                    <a:lnTo>
                      <a:pt x="66647" y="0"/>
                    </a:lnTo>
                    <a:lnTo>
                      <a:pt x="66647" y="7144"/>
                    </a:lnTo>
                    <a:lnTo>
                      <a:pt x="0" y="7144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>
                  <a:solidFill>
                    <a:srgbClr val="E85757"/>
                  </a:solidFill>
                </a:endParaRPr>
              </a:p>
            </p:txBody>
          </p:sp>
        </p:grpSp>
        <p:sp>
          <p:nvSpPr>
            <p:cNvPr id="952" name="TextBox 951">
              <a:extLst>
                <a:ext uri="{FF2B5EF4-FFF2-40B4-BE49-F238E27FC236}">
                  <a16:creationId xmlns:a16="http://schemas.microsoft.com/office/drawing/2014/main" id="{A5E2209F-9909-A048-92C0-47E36DD24F75}"/>
                </a:ext>
              </a:extLst>
            </p:cNvPr>
            <p:cNvSpPr txBox="1"/>
            <p:nvPr/>
          </p:nvSpPr>
          <p:spPr>
            <a:xfrm>
              <a:off x="3519322" y="3195482"/>
              <a:ext cx="369092" cy="9608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2400"/>
                </a:spcBef>
              </a:pPr>
              <a:r>
                <a:rPr lang="en-US" sz="867">
                  <a:solidFill>
                    <a:srgbClr val="4099DA"/>
                  </a:solidFill>
                </a:rPr>
                <a:t>Lisheen 3</a:t>
              </a:r>
            </a:p>
          </p:txBody>
        </p:sp>
      </p:grpSp>
      <p:grpSp>
        <p:nvGrpSpPr>
          <p:cNvPr id="959" name="Group 958">
            <a:extLst>
              <a:ext uri="{FF2B5EF4-FFF2-40B4-BE49-F238E27FC236}">
                <a16:creationId xmlns:a16="http://schemas.microsoft.com/office/drawing/2014/main" id="{9168E5E2-340E-5349-BDDF-5FED2B4356CA}"/>
              </a:ext>
            </a:extLst>
          </p:cNvPr>
          <p:cNvGrpSpPr>
            <a:grpSpLocks/>
          </p:cNvGrpSpPr>
          <p:nvPr/>
        </p:nvGrpSpPr>
        <p:grpSpPr>
          <a:xfrm>
            <a:off x="5445307" y="2328266"/>
            <a:ext cx="703611" cy="174373"/>
            <a:chOff x="5009471" y="1491158"/>
            <a:chExt cx="527708" cy="130780"/>
          </a:xfrm>
          <a:solidFill>
            <a:srgbClr val="8ECDC8"/>
          </a:solidFill>
        </p:grpSpPr>
        <p:grpSp>
          <p:nvGrpSpPr>
            <p:cNvPr id="960" name="Group 959">
              <a:extLst>
                <a:ext uri="{FF2B5EF4-FFF2-40B4-BE49-F238E27FC236}">
                  <a16:creationId xmlns:a16="http://schemas.microsoft.com/office/drawing/2014/main" id="{10A01CE8-A69C-A346-A009-E1802F802D99}"/>
                </a:ext>
              </a:extLst>
            </p:cNvPr>
            <p:cNvGrpSpPr/>
            <p:nvPr/>
          </p:nvGrpSpPr>
          <p:grpSpPr>
            <a:xfrm>
              <a:off x="5009471" y="1491158"/>
              <a:ext cx="98148" cy="130780"/>
              <a:chOff x="2265548" y="3181564"/>
              <a:chExt cx="71521" cy="95300"/>
            </a:xfrm>
            <a:grpFill/>
          </p:grpSpPr>
          <p:sp>
            <p:nvSpPr>
              <p:cNvPr id="962" name="Freeform: Shape 902">
                <a:extLst>
                  <a:ext uri="{FF2B5EF4-FFF2-40B4-BE49-F238E27FC236}">
                    <a16:creationId xmlns:a16="http://schemas.microsoft.com/office/drawing/2014/main" id="{B7C537A4-E388-F949-80E2-78863E678B0A}"/>
                  </a:ext>
                </a:extLst>
              </p:cNvPr>
              <p:cNvSpPr/>
              <p:nvPr/>
            </p:nvSpPr>
            <p:spPr>
              <a:xfrm>
                <a:off x="2294459" y="3214588"/>
                <a:ext cx="8908" cy="8909"/>
              </a:xfrm>
              <a:custGeom>
                <a:avLst/>
                <a:gdLst>
                  <a:gd name="connsiteX0" fmla="*/ 8909 w 8908"/>
                  <a:gd name="connsiteY0" fmla="*/ 4455 h 8909"/>
                  <a:gd name="connsiteX1" fmla="*/ 4454 w 8908"/>
                  <a:gd name="connsiteY1" fmla="*/ 8909 h 8909"/>
                  <a:gd name="connsiteX2" fmla="*/ 0 w 8908"/>
                  <a:gd name="connsiteY2" fmla="*/ 4455 h 8909"/>
                  <a:gd name="connsiteX3" fmla="*/ 4454 w 8908"/>
                  <a:gd name="connsiteY3" fmla="*/ 0 h 8909"/>
                  <a:gd name="connsiteX4" fmla="*/ 8909 w 8908"/>
                  <a:gd name="connsiteY4" fmla="*/ 4455 h 8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9">
                    <a:moveTo>
                      <a:pt x="8909" y="4455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5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2017"/>
                      <a:pt x="8909" y="4455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>
                  <a:solidFill>
                    <a:srgbClr val="E85757"/>
                  </a:solidFill>
                </a:endParaRPr>
              </a:p>
            </p:txBody>
          </p:sp>
          <p:sp>
            <p:nvSpPr>
              <p:cNvPr id="963" name="Freeform: Shape 903">
                <a:extLst>
                  <a:ext uri="{FF2B5EF4-FFF2-40B4-BE49-F238E27FC236}">
                    <a16:creationId xmlns:a16="http://schemas.microsoft.com/office/drawing/2014/main" id="{00BF8E24-77E5-2D41-9B74-F7FC904A8C20}"/>
                  </a:ext>
                </a:extLst>
              </p:cNvPr>
              <p:cNvSpPr/>
              <p:nvPr/>
            </p:nvSpPr>
            <p:spPr>
              <a:xfrm>
                <a:off x="2287231" y="3181564"/>
                <a:ext cx="14623" cy="29572"/>
              </a:xfrm>
              <a:custGeom>
                <a:avLst/>
                <a:gdLst>
                  <a:gd name="connsiteX0" fmla="*/ 0 w 14623"/>
                  <a:gd name="connsiteY0" fmla="*/ 163 h 29572"/>
                  <a:gd name="connsiteX1" fmla="*/ 4370 w 14623"/>
                  <a:gd name="connsiteY1" fmla="*/ 22518 h 29572"/>
                  <a:gd name="connsiteX2" fmla="*/ 14624 w 14623"/>
                  <a:gd name="connsiteY2" fmla="*/ 29410 h 29572"/>
                  <a:gd name="connsiteX3" fmla="*/ 10253 w 14623"/>
                  <a:gd name="connsiteY3" fmla="*/ 7054 h 29572"/>
                  <a:gd name="connsiteX4" fmla="*/ 0 w 14623"/>
                  <a:gd name="connsiteY4" fmla="*/ 163 h 29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2">
                    <a:moveTo>
                      <a:pt x="0" y="163"/>
                    </a:moveTo>
                    <a:lnTo>
                      <a:pt x="4370" y="22518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>
                  <a:solidFill>
                    <a:srgbClr val="E85757"/>
                  </a:solidFill>
                </a:endParaRPr>
              </a:p>
            </p:txBody>
          </p:sp>
          <p:sp>
            <p:nvSpPr>
              <p:cNvPr id="964" name="Freeform: Shape 904">
                <a:extLst>
                  <a:ext uri="{FF2B5EF4-FFF2-40B4-BE49-F238E27FC236}">
                    <a16:creationId xmlns:a16="http://schemas.microsoft.com/office/drawing/2014/main" id="{63658903-A579-F54D-8825-41C0ECFB5967}"/>
                  </a:ext>
                </a:extLst>
              </p:cNvPr>
              <p:cNvSpPr/>
              <p:nvPr/>
            </p:nvSpPr>
            <p:spPr>
              <a:xfrm>
                <a:off x="2270285" y="3220471"/>
                <a:ext cx="22294" cy="27398"/>
              </a:xfrm>
              <a:custGeom>
                <a:avLst/>
                <a:gdLst>
                  <a:gd name="connsiteX0" fmla="*/ 2154 w 22294"/>
                  <a:gd name="connsiteY0" fmla="*/ 27398 h 27398"/>
                  <a:gd name="connsiteX1" fmla="*/ 19299 w 22294"/>
                  <a:gd name="connsiteY1" fmla="*/ 12355 h 27398"/>
                  <a:gd name="connsiteX2" fmla="*/ 20140 w 22294"/>
                  <a:gd name="connsiteY2" fmla="*/ 0 h 27398"/>
                  <a:gd name="connsiteX3" fmla="*/ 2995 w 22294"/>
                  <a:gd name="connsiteY3" fmla="*/ 14960 h 27398"/>
                  <a:gd name="connsiteX4" fmla="*/ 2154 w 22294"/>
                  <a:gd name="connsiteY4" fmla="*/ 27398 h 27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8">
                    <a:moveTo>
                      <a:pt x="2154" y="27398"/>
                    </a:moveTo>
                    <a:lnTo>
                      <a:pt x="19299" y="12355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8"/>
                      <a:pt x="-1039" y="23785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>
                  <a:solidFill>
                    <a:srgbClr val="E85757"/>
                  </a:solidFill>
                </a:endParaRPr>
              </a:p>
            </p:txBody>
          </p:sp>
          <p:sp>
            <p:nvSpPr>
              <p:cNvPr id="965" name="Freeform: Shape 905">
                <a:extLst>
                  <a:ext uri="{FF2B5EF4-FFF2-40B4-BE49-F238E27FC236}">
                    <a16:creationId xmlns:a16="http://schemas.microsoft.com/office/drawing/2014/main" id="{551262C6-9051-F64B-8664-85291DC9719C}"/>
                  </a:ext>
                </a:extLst>
              </p:cNvPr>
              <p:cNvSpPr/>
              <p:nvPr/>
            </p:nvSpPr>
            <p:spPr>
              <a:xfrm>
                <a:off x="2304376" y="3219772"/>
                <a:ext cx="32693" cy="13662"/>
              </a:xfrm>
              <a:custGeom>
                <a:avLst/>
                <a:gdLst>
                  <a:gd name="connsiteX0" fmla="*/ 32693 w 32693"/>
                  <a:gd name="connsiteY0" fmla="*/ 7675 h 13662"/>
                  <a:gd name="connsiteX1" fmla="*/ 11094 w 32693"/>
                  <a:gd name="connsiteY1" fmla="*/ 448 h 13662"/>
                  <a:gd name="connsiteX2" fmla="*/ 0 w 32693"/>
                  <a:gd name="connsiteY2" fmla="*/ 5994 h 13662"/>
                  <a:gd name="connsiteX3" fmla="*/ 21599 w 32693"/>
                  <a:gd name="connsiteY3" fmla="*/ 13222 h 13662"/>
                  <a:gd name="connsiteX4" fmla="*/ 32693 w 32693"/>
                  <a:gd name="connsiteY4" fmla="*/ 7675 h 13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62">
                    <a:moveTo>
                      <a:pt x="32693" y="7675"/>
                    </a:moveTo>
                    <a:lnTo>
                      <a:pt x="11094" y="448"/>
                    </a:lnTo>
                    <a:cubicBezTo>
                      <a:pt x="6555" y="-1065"/>
                      <a:pt x="1513" y="1372"/>
                      <a:pt x="0" y="5994"/>
                    </a:cubicBezTo>
                    <a:lnTo>
                      <a:pt x="21599" y="13222"/>
                    </a:lnTo>
                    <a:cubicBezTo>
                      <a:pt x="26222" y="14735"/>
                      <a:pt x="31180" y="12214"/>
                      <a:pt x="32693" y="7675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>
                  <a:solidFill>
                    <a:srgbClr val="E85757"/>
                  </a:solidFill>
                </a:endParaRPr>
              </a:p>
            </p:txBody>
          </p:sp>
          <p:sp>
            <p:nvSpPr>
              <p:cNvPr id="966" name="Freeform: Shape 906">
                <a:extLst>
                  <a:ext uri="{FF2B5EF4-FFF2-40B4-BE49-F238E27FC236}">
                    <a16:creationId xmlns:a16="http://schemas.microsoft.com/office/drawing/2014/main" id="{A28FAF3E-DA3D-0147-AB38-C3B965E2AC29}"/>
                  </a:ext>
                </a:extLst>
              </p:cNvPr>
              <p:cNvSpPr/>
              <p:nvPr/>
            </p:nvSpPr>
            <p:spPr>
              <a:xfrm>
                <a:off x="2293114" y="3228099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2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2"/>
                      <a:pt x="420" y="21872"/>
                      <a:pt x="0" y="33555"/>
                    </a:cubicBezTo>
                    <a:cubicBezTo>
                      <a:pt x="1765" y="35067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>
                  <a:solidFill>
                    <a:srgbClr val="E85757"/>
                  </a:solidFill>
                </a:endParaRPr>
              </a:p>
            </p:txBody>
          </p:sp>
          <p:sp>
            <p:nvSpPr>
              <p:cNvPr id="967" name="Freeform: Shape 907">
                <a:extLst>
                  <a:ext uri="{FF2B5EF4-FFF2-40B4-BE49-F238E27FC236}">
                    <a16:creationId xmlns:a16="http://schemas.microsoft.com/office/drawing/2014/main" id="{CC08E608-9637-1045-A40E-0F2D0C068801}"/>
                  </a:ext>
                </a:extLst>
              </p:cNvPr>
              <p:cNvSpPr/>
              <p:nvPr/>
            </p:nvSpPr>
            <p:spPr>
              <a:xfrm>
                <a:off x="2265548" y="3269721"/>
                <a:ext cx="66646" cy="7143"/>
              </a:xfrm>
              <a:custGeom>
                <a:avLst/>
                <a:gdLst>
                  <a:gd name="connsiteX0" fmla="*/ 0 w 66646"/>
                  <a:gd name="connsiteY0" fmla="*/ 0 h 7143"/>
                  <a:gd name="connsiteX1" fmla="*/ 66647 w 66646"/>
                  <a:gd name="connsiteY1" fmla="*/ 0 h 7143"/>
                  <a:gd name="connsiteX2" fmla="*/ 66647 w 66646"/>
                  <a:gd name="connsiteY2" fmla="*/ 7144 h 7143"/>
                  <a:gd name="connsiteX3" fmla="*/ 0 w 66646"/>
                  <a:gd name="connsiteY3" fmla="*/ 7144 h 7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646" h="7143">
                    <a:moveTo>
                      <a:pt x="0" y="0"/>
                    </a:moveTo>
                    <a:lnTo>
                      <a:pt x="66647" y="0"/>
                    </a:lnTo>
                    <a:lnTo>
                      <a:pt x="66647" y="7144"/>
                    </a:lnTo>
                    <a:lnTo>
                      <a:pt x="0" y="7144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>
                  <a:solidFill>
                    <a:srgbClr val="E85757"/>
                  </a:solidFill>
                </a:endParaRPr>
              </a:p>
            </p:txBody>
          </p:sp>
        </p:grpSp>
        <p:sp>
          <p:nvSpPr>
            <p:cNvPr id="961" name="TextBox 960">
              <a:extLst>
                <a:ext uri="{FF2B5EF4-FFF2-40B4-BE49-F238E27FC236}">
                  <a16:creationId xmlns:a16="http://schemas.microsoft.com/office/drawing/2014/main" id="{BA6D0E2F-09B0-AF40-8E86-E7FF9A7AB81D}"/>
                </a:ext>
              </a:extLst>
            </p:cNvPr>
            <p:cNvSpPr txBox="1"/>
            <p:nvPr/>
          </p:nvSpPr>
          <p:spPr>
            <a:xfrm>
              <a:off x="5158470" y="1510919"/>
              <a:ext cx="378709" cy="9608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2400"/>
                </a:spcBef>
              </a:pPr>
              <a:r>
                <a:rPr lang="en-US" sz="867">
                  <a:solidFill>
                    <a:srgbClr val="8ECDC8"/>
                  </a:solidFill>
                </a:rPr>
                <a:t>Ballykeel</a:t>
              </a:r>
            </a:p>
          </p:txBody>
        </p:sp>
      </p:grpSp>
      <p:grpSp>
        <p:nvGrpSpPr>
          <p:cNvPr id="968" name="Group 967">
            <a:extLst>
              <a:ext uri="{FF2B5EF4-FFF2-40B4-BE49-F238E27FC236}">
                <a16:creationId xmlns:a16="http://schemas.microsoft.com/office/drawing/2014/main" id="{B9EEDF76-E65C-EC4D-8367-036AB87C1423}"/>
              </a:ext>
            </a:extLst>
          </p:cNvPr>
          <p:cNvGrpSpPr>
            <a:grpSpLocks/>
          </p:cNvGrpSpPr>
          <p:nvPr/>
        </p:nvGrpSpPr>
        <p:grpSpPr>
          <a:xfrm>
            <a:off x="3775512" y="2208899"/>
            <a:ext cx="805731" cy="174374"/>
            <a:chOff x="4030308" y="1851585"/>
            <a:chExt cx="604298" cy="130780"/>
          </a:xfrm>
        </p:grpSpPr>
        <p:grpSp>
          <p:nvGrpSpPr>
            <p:cNvPr id="969" name="Group 968">
              <a:extLst>
                <a:ext uri="{FF2B5EF4-FFF2-40B4-BE49-F238E27FC236}">
                  <a16:creationId xmlns:a16="http://schemas.microsoft.com/office/drawing/2014/main" id="{9CAF2F72-833B-DB48-8876-1B010C5105A8}"/>
                </a:ext>
              </a:extLst>
            </p:cNvPr>
            <p:cNvGrpSpPr/>
            <p:nvPr/>
          </p:nvGrpSpPr>
          <p:grpSpPr>
            <a:xfrm>
              <a:off x="4536458" y="1851585"/>
              <a:ext cx="98148" cy="130780"/>
              <a:chOff x="2265548" y="3181564"/>
              <a:chExt cx="71521" cy="95300"/>
            </a:xfrm>
            <a:solidFill>
              <a:srgbClr val="644C76"/>
            </a:solidFill>
          </p:grpSpPr>
          <p:sp>
            <p:nvSpPr>
              <p:cNvPr id="971" name="Freeform: Shape 902">
                <a:extLst>
                  <a:ext uri="{FF2B5EF4-FFF2-40B4-BE49-F238E27FC236}">
                    <a16:creationId xmlns:a16="http://schemas.microsoft.com/office/drawing/2014/main" id="{AC583919-AD30-584A-99C2-EAF67A4A9D5D}"/>
                  </a:ext>
                </a:extLst>
              </p:cNvPr>
              <p:cNvSpPr/>
              <p:nvPr/>
            </p:nvSpPr>
            <p:spPr>
              <a:xfrm>
                <a:off x="2294459" y="3214588"/>
                <a:ext cx="8908" cy="8909"/>
              </a:xfrm>
              <a:custGeom>
                <a:avLst/>
                <a:gdLst>
                  <a:gd name="connsiteX0" fmla="*/ 8909 w 8908"/>
                  <a:gd name="connsiteY0" fmla="*/ 4455 h 8909"/>
                  <a:gd name="connsiteX1" fmla="*/ 4454 w 8908"/>
                  <a:gd name="connsiteY1" fmla="*/ 8909 h 8909"/>
                  <a:gd name="connsiteX2" fmla="*/ 0 w 8908"/>
                  <a:gd name="connsiteY2" fmla="*/ 4455 h 8909"/>
                  <a:gd name="connsiteX3" fmla="*/ 4454 w 8908"/>
                  <a:gd name="connsiteY3" fmla="*/ 0 h 8909"/>
                  <a:gd name="connsiteX4" fmla="*/ 8909 w 8908"/>
                  <a:gd name="connsiteY4" fmla="*/ 4455 h 8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9">
                    <a:moveTo>
                      <a:pt x="8909" y="4455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5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2017"/>
                      <a:pt x="8909" y="4455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972" name="Freeform: Shape 903">
                <a:extLst>
                  <a:ext uri="{FF2B5EF4-FFF2-40B4-BE49-F238E27FC236}">
                    <a16:creationId xmlns:a16="http://schemas.microsoft.com/office/drawing/2014/main" id="{6D96A75F-300D-C043-9ED1-E3DE659D918E}"/>
                  </a:ext>
                </a:extLst>
              </p:cNvPr>
              <p:cNvSpPr/>
              <p:nvPr/>
            </p:nvSpPr>
            <p:spPr>
              <a:xfrm>
                <a:off x="2287231" y="3181564"/>
                <a:ext cx="14623" cy="29572"/>
              </a:xfrm>
              <a:custGeom>
                <a:avLst/>
                <a:gdLst>
                  <a:gd name="connsiteX0" fmla="*/ 0 w 14623"/>
                  <a:gd name="connsiteY0" fmla="*/ 163 h 29572"/>
                  <a:gd name="connsiteX1" fmla="*/ 4370 w 14623"/>
                  <a:gd name="connsiteY1" fmla="*/ 22518 h 29572"/>
                  <a:gd name="connsiteX2" fmla="*/ 14624 w 14623"/>
                  <a:gd name="connsiteY2" fmla="*/ 29410 h 29572"/>
                  <a:gd name="connsiteX3" fmla="*/ 10253 w 14623"/>
                  <a:gd name="connsiteY3" fmla="*/ 7054 h 29572"/>
                  <a:gd name="connsiteX4" fmla="*/ 0 w 14623"/>
                  <a:gd name="connsiteY4" fmla="*/ 163 h 29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2">
                    <a:moveTo>
                      <a:pt x="0" y="163"/>
                    </a:moveTo>
                    <a:lnTo>
                      <a:pt x="4370" y="22518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973" name="Freeform: Shape 904">
                <a:extLst>
                  <a:ext uri="{FF2B5EF4-FFF2-40B4-BE49-F238E27FC236}">
                    <a16:creationId xmlns:a16="http://schemas.microsoft.com/office/drawing/2014/main" id="{7F394385-627D-5940-92D0-1B42169CC4D2}"/>
                  </a:ext>
                </a:extLst>
              </p:cNvPr>
              <p:cNvSpPr/>
              <p:nvPr/>
            </p:nvSpPr>
            <p:spPr>
              <a:xfrm>
                <a:off x="2270285" y="3220471"/>
                <a:ext cx="22294" cy="27398"/>
              </a:xfrm>
              <a:custGeom>
                <a:avLst/>
                <a:gdLst>
                  <a:gd name="connsiteX0" fmla="*/ 2154 w 22294"/>
                  <a:gd name="connsiteY0" fmla="*/ 27398 h 27398"/>
                  <a:gd name="connsiteX1" fmla="*/ 19299 w 22294"/>
                  <a:gd name="connsiteY1" fmla="*/ 12355 h 27398"/>
                  <a:gd name="connsiteX2" fmla="*/ 20140 w 22294"/>
                  <a:gd name="connsiteY2" fmla="*/ 0 h 27398"/>
                  <a:gd name="connsiteX3" fmla="*/ 2995 w 22294"/>
                  <a:gd name="connsiteY3" fmla="*/ 14960 h 27398"/>
                  <a:gd name="connsiteX4" fmla="*/ 2154 w 22294"/>
                  <a:gd name="connsiteY4" fmla="*/ 27398 h 27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8">
                    <a:moveTo>
                      <a:pt x="2154" y="27398"/>
                    </a:moveTo>
                    <a:lnTo>
                      <a:pt x="19299" y="12355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8"/>
                      <a:pt x="-1039" y="23785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974" name="Freeform: Shape 905">
                <a:extLst>
                  <a:ext uri="{FF2B5EF4-FFF2-40B4-BE49-F238E27FC236}">
                    <a16:creationId xmlns:a16="http://schemas.microsoft.com/office/drawing/2014/main" id="{8D562FB3-9CEA-D740-8694-6060AC6FEBBD}"/>
                  </a:ext>
                </a:extLst>
              </p:cNvPr>
              <p:cNvSpPr/>
              <p:nvPr/>
            </p:nvSpPr>
            <p:spPr>
              <a:xfrm>
                <a:off x="2304376" y="3219772"/>
                <a:ext cx="32693" cy="13662"/>
              </a:xfrm>
              <a:custGeom>
                <a:avLst/>
                <a:gdLst>
                  <a:gd name="connsiteX0" fmla="*/ 32693 w 32693"/>
                  <a:gd name="connsiteY0" fmla="*/ 7675 h 13662"/>
                  <a:gd name="connsiteX1" fmla="*/ 11094 w 32693"/>
                  <a:gd name="connsiteY1" fmla="*/ 448 h 13662"/>
                  <a:gd name="connsiteX2" fmla="*/ 0 w 32693"/>
                  <a:gd name="connsiteY2" fmla="*/ 5994 h 13662"/>
                  <a:gd name="connsiteX3" fmla="*/ 21599 w 32693"/>
                  <a:gd name="connsiteY3" fmla="*/ 13222 h 13662"/>
                  <a:gd name="connsiteX4" fmla="*/ 32693 w 32693"/>
                  <a:gd name="connsiteY4" fmla="*/ 7675 h 13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62">
                    <a:moveTo>
                      <a:pt x="32693" y="7675"/>
                    </a:moveTo>
                    <a:lnTo>
                      <a:pt x="11094" y="448"/>
                    </a:lnTo>
                    <a:cubicBezTo>
                      <a:pt x="6555" y="-1065"/>
                      <a:pt x="1513" y="1372"/>
                      <a:pt x="0" y="5994"/>
                    </a:cubicBezTo>
                    <a:lnTo>
                      <a:pt x="21599" y="13222"/>
                    </a:lnTo>
                    <a:cubicBezTo>
                      <a:pt x="26222" y="14735"/>
                      <a:pt x="31180" y="12214"/>
                      <a:pt x="32693" y="7675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975" name="Freeform: Shape 906">
                <a:extLst>
                  <a:ext uri="{FF2B5EF4-FFF2-40B4-BE49-F238E27FC236}">
                    <a16:creationId xmlns:a16="http://schemas.microsoft.com/office/drawing/2014/main" id="{471C622D-0009-0E4F-B0D3-A7A57D6AE99F}"/>
                  </a:ext>
                </a:extLst>
              </p:cNvPr>
              <p:cNvSpPr/>
              <p:nvPr/>
            </p:nvSpPr>
            <p:spPr>
              <a:xfrm>
                <a:off x="2293114" y="3228099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2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2"/>
                      <a:pt x="420" y="21872"/>
                      <a:pt x="0" y="33555"/>
                    </a:cubicBezTo>
                    <a:cubicBezTo>
                      <a:pt x="1765" y="35067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976" name="Freeform: Shape 907">
                <a:extLst>
                  <a:ext uri="{FF2B5EF4-FFF2-40B4-BE49-F238E27FC236}">
                    <a16:creationId xmlns:a16="http://schemas.microsoft.com/office/drawing/2014/main" id="{FEE7DA90-C899-F64E-9F15-3B876C492D1C}"/>
                  </a:ext>
                </a:extLst>
              </p:cNvPr>
              <p:cNvSpPr/>
              <p:nvPr/>
            </p:nvSpPr>
            <p:spPr>
              <a:xfrm>
                <a:off x="2265548" y="3269721"/>
                <a:ext cx="66646" cy="7143"/>
              </a:xfrm>
              <a:custGeom>
                <a:avLst/>
                <a:gdLst>
                  <a:gd name="connsiteX0" fmla="*/ 0 w 66646"/>
                  <a:gd name="connsiteY0" fmla="*/ 0 h 7143"/>
                  <a:gd name="connsiteX1" fmla="*/ 66647 w 66646"/>
                  <a:gd name="connsiteY1" fmla="*/ 0 h 7143"/>
                  <a:gd name="connsiteX2" fmla="*/ 66647 w 66646"/>
                  <a:gd name="connsiteY2" fmla="*/ 7144 h 7143"/>
                  <a:gd name="connsiteX3" fmla="*/ 0 w 66646"/>
                  <a:gd name="connsiteY3" fmla="*/ 7144 h 7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646" h="7143">
                    <a:moveTo>
                      <a:pt x="0" y="0"/>
                    </a:moveTo>
                    <a:lnTo>
                      <a:pt x="66647" y="0"/>
                    </a:lnTo>
                    <a:lnTo>
                      <a:pt x="66647" y="7144"/>
                    </a:lnTo>
                    <a:lnTo>
                      <a:pt x="0" y="7144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</p:grpSp>
        <p:sp>
          <p:nvSpPr>
            <p:cNvPr id="970" name="TextBox 969">
              <a:extLst>
                <a:ext uri="{FF2B5EF4-FFF2-40B4-BE49-F238E27FC236}">
                  <a16:creationId xmlns:a16="http://schemas.microsoft.com/office/drawing/2014/main" id="{C366F129-6326-5949-B27D-04186FDAD7DC}"/>
                </a:ext>
              </a:extLst>
            </p:cNvPr>
            <p:cNvSpPr txBox="1"/>
            <p:nvPr/>
          </p:nvSpPr>
          <p:spPr>
            <a:xfrm>
              <a:off x="4030308" y="1871876"/>
              <a:ext cx="447238" cy="9608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2400"/>
                </a:spcBef>
              </a:pPr>
              <a:r>
                <a:rPr lang="en-US" sz="867">
                  <a:solidFill>
                    <a:srgbClr val="644C76"/>
                  </a:solidFill>
                </a:rPr>
                <a:t>Cloghercor</a:t>
              </a:r>
            </a:p>
          </p:txBody>
        </p:sp>
      </p:grpSp>
      <p:grpSp>
        <p:nvGrpSpPr>
          <p:cNvPr id="977" name="Group 976">
            <a:extLst>
              <a:ext uri="{FF2B5EF4-FFF2-40B4-BE49-F238E27FC236}">
                <a16:creationId xmlns:a16="http://schemas.microsoft.com/office/drawing/2014/main" id="{5BC44BDC-1D87-8641-9101-3722F1A0C455}"/>
              </a:ext>
            </a:extLst>
          </p:cNvPr>
          <p:cNvGrpSpPr>
            <a:grpSpLocks/>
          </p:cNvGrpSpPr>
          <p:nvPr/>
        </p:nvGrpSpPr>
        <p:grpSpPr>
          <a:xfrm>
            <a:off x="3544753" y="4282224"/>
            <a:ext cx="807806" cy="174373"/>
            <a:chOff x="4536458" y="1851585"/>
            <a:chExt cx="605855" cy="130780"/>
          </a:xfrm>
        </p:grpSpPr>
        <p:grpSp>
          <p:nvGrpSpPr>
            <p:cNvPr id="978" name="Group 977">
              <a:extLst>
                <a:ext uri="{FF2B5EF4-FFF2-40B4-BE49-F238E27FC236}">
                  <a16:creationId xmlns:a16="http://schemas.microsoft.com/office/drawing/2014/main" id="{2FC0B60F-0B1C-D646-A222-666E593B8AFB}"/>
                </a:ext>
              </a:extLst>
            </p:cNvPr>
            <p:cNvGrpSpPr/>
            <p:nvPr/>
          </p:nvGrpSpPr>
          <p:grpSpPr>
            <a:xfrm>
              <a:off x="4536458" y="1851585"/>
              <a:ext cx="98148" cy="130780"/>
              <a:chOff x="2265548" y="3181564"/>
              <a:chExt cx="71521" cy="95300"/>
            </a:xfrm>
            <a:solidFill>
              <a:srgbClr val="644C76"/>
            </a:solidFill>
          </p:grpSpPr>
          <p:sp>
            <p:nvSpPr>
              <p:cNvPr id="980" name="Freeform: Shape 902">
                <a:extLst>
                  <a:ext uri="{FF2B5EF4-FFF2-40B4-BE49-F238E27FC236}">
                    <a16:creationId xmlns:a16="http://schemas.microsoft.com/office/drawing/2014/main" id="{BAEAB44A-28E6-4A40-9EB0-9AEB28D52525}"/>
                  </a:ext>
                </a:extLst>
              </p:cNvPr>
              <p:cNvSpPr/>
              <p:nvPr/>
            </p:nvSpPr>
            <p:spPr>
              <a:xfrm>
                <a:off x="2294459" y="3214588"/>
                <a:ext cx="8908" cy="8909"/>
              </a:xfrm>
              <a:custGeom>
                <a:avLst/>
                <a:gdLst>
                  <a:gd name="connsiteX0" fmla="*/ 8909 w 8908"/>
                  <a:gd name="connsiteY0" fmla="*/ 4455 h 8909"/>
                  <a:gd name="connsiteX1" fmla="*/ 4454 w 8908"/>
                  <a:gd name="connsiteY1" fmla="*/ 8909 h 8909"/>
                  <a:gd name="connsiteX2" fmla="*/ 0 w 8908"/>
                  <a:gd name="connsiteY2" fmla="*/ 4455 h 8909"/>
                  <a:gd name="connsiteX3" fmla="*/ 4454 w 8908"/>
                  <a:gd name="connsiteY3" fmla="*/ 0 h 8909"/>
                  <a:gd name="connsiteX4" fmla="*/ 8909 w 8908"/>
                  <a:gd name="connsiteY4" fmla="*/ 4455 h 8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9">
                    <a:moveTo>
                      <a:pt x="8909" y="4455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5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2017"/>
                      <a:pt x="8909" y="4455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981" name="Freeform: Shape 903">
                <a:extLst>
                  <a:ext uri="{FF2B5EF4-FFF2-40B4-BE49-F238E27FC236}">
                    <a16:creationId xmlns:a16="http://schemas.microsoft.com/office/drawing/2014/main" id="{A4C6DB94-FDEB-674B-8FF5-952D13DCBFCA}"/>
                  </a:ext>
                </a:extLst>
              </p:cNvPr>
              <p:cNvSpPr/>
              <p:nvPr/>
            </p:nvSpPr>
            <p:spPr>
              <a:xfrm>
                <a:off x="2287231" y="3181564"/>
                <a:ext cx="14623" cy="29572"/>
              </a:xfrm>
              <a:custGeom>
                <a:avLst/>
                <a:gdLst>
                  <a:gd name="connsiteX0" fmla="*/ 0 w 14623"/>
                  <a:gd name="connsiteY0" fmla="*/ 163 h 29572"/>
                  <a:gd name="connsiteX1" fmla="*/ 4370 w 14623"/>
                  <a:gd name="connsiteY1" fmla="*/ 22518 h 29572"/>
                  <a:gd name="connsiteX2" fmla="*/ 14624 w 14623"/>
                  <a:gd name="connsiteY2" fmla="*/ 29410 h 29572"/>
                  <a:gd name="connsiteX3" fmla="*/ 10253 w 14623"/>
                  <a:gd name="connsiteY3" fmla="*/ 7054 h 29572"/>
                  <a:gd name="connsiteX4" fmla="*/ 0 w 14623"/>
                  <a:gd name="connsiteY4" fmla="*/ 163 h 29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2">
                    <a:moveTo>
                      <a:pt x="0" y="163"/>
                    </a:moveTo>
                    <a:lnTo>
                      <a:pt x="4370" y="22518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982" name="Freeform: Shape 904">
                <a:extLst>
                  <a:ext uri="{FF2B5EF4-FFF2-40B4-BE49-F238E27FC236}">
                    <a16:creationId xmlns:a16="http://schemas.microsoft.com/office/drawing/2014/main" id="{434430A7-2DAE-A341-A5F5-1055A538C98C}"/>
                  </a:ext>
                </a:extLst>
              </p:cNvPr>
              <p:cNvSpPr/>
              <p:nvPr/>
            </p:nvSpPr>
            <p:spPr>
              <a:xfrm>
                <a:off x="2270285" y="3220471"/>
                <a:ext cx="22294" cy="27398"/>
              </a:xfrm>
              <a:custGeom>
                <a:avLst/>
                <a:gdLst>
                  <a:gd name="connsiteX0" fmla="*/ 2154 w 22294"/>
                  <a:gd name="connsiteY0" fmla="*/ 27398 h 27398"/>
                  <a:gd name="connsiteX1" fmla="*/ 19299 w 22294"/>
                  <a:gd name="connsiteY1" fmla="*/ 12355 h 27398"/>
                  <a:gd name="connsiteX2" fmla="*/ 20140 w 22294"/>
                  <a:gd name="connsiteY2" fmla="*/ 0 h 27398"/>
                  <a:gd name="connsiteX3" fmla="*/ 2995 w 22294"/>
                  <a:gd name="connsiteY3" fmla="*/ 14960 h 27398"/>
                  <a:gd name="connsiteX4" fmla="*/ 2154 w 22294"/>
                  <a:gd name="connsiteY4" fmla="*/ 27398 h 27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8">
                    <a:moveTo>
                      <a:pt x="2154" y="27398"/>
                    </a:moveTo>
                    <a:lnTo>
                      <a:pt x="19299" y="12355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8"/>
                      <a:pt x="-1039" y="23785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983" name="Freeform: Shape 905">
                <a:extLst>
                  <a:ext uri="{FF2B5EF4-FFF2-40B4-BE49-F238E27FC236}">
                    <a16:creationId xmlns:a16="http://schemas.microsoft.com/office/drawing/2014/main" id="{721BB494-A6C2-E74D-98B9-10D7AC072F85}"/>
                  </a:ext>
                </a:extLst>
              </p:cNvPr>
              <p:cNvSpPr/>
              <p:nvPr/>
            </p:nvSpPr>
            <p:spPr>
              <a:xfrm>
                <a:off x="2304376" y="3219772"/>
                <a:ext cx="32693" cy="13662"/>
              </a:xfrm>
              <a:custGeom>
                <a:avLst/>
                <a:gdLst>
                  <a:gd name="connsiteX0" fmla="*/ 32693 w 32693"/>
                  <a:gd name="connsiteY0" fmla="*/ 7675 h 13662"/>
                  <a:gd name="connsiteX1" fmla="*/ 11094 w 32693"/>
                  <a:gd name="connsiteY1" fmla="*/ 448 h 13662"/>
                  <a:gd name="connsiteX2" fmla="*/ 0 w 32693"/>
                  <a:gd name="connsiteY2" fmla="*/ 5994 h 13662"/>
                  <a:gd name="connsiteX3" fmla="*/ 21599 w 32693"/>
                  <a:gd name="connsiteY3" fmla="*/ 13222 h 13662"/>
                  <a:gd name="connsiteX4" fmla="*/ 32693 w 32693"/>
                  <a:gd name="connsiteY4" fmla="*/ 7675 h 13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62">
                    <a:moveTo>
                      <a:pt x="32693" y="7675"/>
                    </a:moveTo>
                    <a:lnTo>
                      <a:pt x="11094" y="448"/>
                    </a:lnTo>
                    <a:cubicBezTo>
                      <a:pt x="6555" y="-1065"/>
                      <a:pt x="1513" y="1372"/>
                      <a:pt x="0" y="5994"/>
                    </a:cubicBezTo>
                    <a:lnTo>
                      <a:pt x="21599" y="13222"/>
                    </a:lnTo>
                    <a:cubicBezTo>
                      <a:pt x="26222" y="14735"/>
                      <a:pt x="31180" y="12214"/>
                      <a:pt x="32693" y="7675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984" name="Freeform: Shape 906">
                <a:extLst>
                  <a:ext uri="{FF2B5EF4-FFF2-40B4-BE49-F238E27FC236}">
                    <a16:creationId xmlns:a16="http://schemas.microsoft.com/office/drawing/2014/main" id="{85ECAE3E-E665-3A41-9DEB-36D433C76CF2}"/>
                  </a:ext>
                </a:extLst>
              </p:cNvPr>
              <p:cNvSpPr/>
              <p:nvPr/>
            </p:nvSpPr>
            <p:spPr>
              <a:xfrm>
                <a:off x="2293114" y="3228099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2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2"/>
                      <a:pt x="420" y="21872"/>
                      <a:pt x="0" y="33555"/>
                    </a:cubicBezTo>
                    <a:cubicBezTo>
                      <a:pt x="1765" y="35067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985" name="Freeform: Shape 907">
                <a:extLst>
                  <a:ext uri="{FF2B5EF4-FFF2-40B4-BE49-F238E27FC236}">
                    <a16:creationId xmlns:a16="http://schemas.microsoft.com/office/drawing/2014/main" id="{FB0EFE18-47FE-3645-AAF4-2FC65783BBF4}"/>
                  </a:ext>
                </a:extLst>
              </p:cNvPr>
              <p:cNvSpPr/>
              <p:nvPr/>
            </p:nvSpPr>
            <p:spPr>
              <a:xfrm>
                <a:off x="2265548" y="3269721"/>
                <a:ext cx="66646" cy="7143"/>
              </a:xfrm>
              <a:custGeom>
                <a:avLst/>
                <a:gdLst>
                  <a:gd name="connsiteX0" fmla="*/ 0 w 66646"/>
                  <a:gd name="connsiteY0" fmla="*/ 0 h 7143"/>
                  <a:gd name="connsiteX1" fmla="*/ 66647 w 66646"/>
                  <a:gd name="connsiteY1" fmla="*/ 0 h 7143"/>
                  <a:gd name="connsiteX2" fmla="*/ 66647 w 66646"/>
                  <a:gd name="connsiteY2" fmla="*/ 7144 h 7143"/>
                  <a:gd name="connsiteX3" fmla="*/ 0 w 66646"/>
                  <a:gd name="connsiteY3" fmla="*/ 7144 h 7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646" h="7143">
                    <a:moveTo>
                      <a:pt x="0" y="0"/>
                    </a:moveTo>
                    <a:lnTo>
                      <a:pt x="66647" y="0"/>
                    </a:lnTo>
                    <a:lnTo>
                      <a:pt x="66647" y="7144"/>
                    </a:lnTo>
                    <a:lnTo>
                      <a:pt x="0" y="7144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</p:grpSp>
        <p:sp>
          <p:nvSpPr>
            <p:cNvPr id="979" name="TextBox 978">
              <a:extLst>
                <a:ext uri="{FF2B5EF4-FFF2-40B4-BE49-F238E27FC236}">
                  <a16:creationId xmlns:a16="http://schemas.microsoft.com/office/drawing/2014/main" id="{DEF4464F-E2C7-534B-ABE2-DC843C628D14}"/>
                </a:ext>
              </a:extLst>
            </p:cNvPr>
            <p:cNvSpPr txBox="1"/>
            <p:nvPr/>
          </p:nvSpPr>
          <p:spPr>
            <a:xfrm>
              <a:off x="4685457" y="1871346"/>
              <a:ext cx="456856" cy="9608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2400"/>
                </a:spcBef>
              </a:pPr>
              <a:r>
                <a:rPr lang="en-US" sz="867">
                  <a:solidFill>
                    <a:srgbClr val="644C76"/>
                  </a:solidFill>
                </a:rPr>
                <a:t>Ballinagree</a:t>
              </a:r>
            </a:p>
          </p:txBody>
        </p:sp>
      </p:grpSp>
      <p:grpSp>
        <p:nvGrpSpPr>
          <p:cNvPr id="986" name="Group 985">
            <a:extLst>
              <a:ext uri="{FF2B5EF4-FFF2-40B4-BE49-F238E27FC236}">
                <a16:creationId xmlns:a16="http://schemas.microsoft.com/office/drawing/2014/main" id="{C678FB3D-07D6-3B44-AA67-A6A600B3B8DF}"/>
              </a:ext>
            </a:extLst>
          </p:cNvPr>
          <p:cNvGrpSpPr>
            <a:grpSpLocks/>
          </p:cNvGrpSpPr>
          <p:nvPr/>
        </p:nvGrpSpPr>
        <p:grpSpPr>
          <a:xfrm>
            <a:off x="4125634" y="4426124"/>
            <a:ext cx="479745" cy="174373"/>
            <a:chOff x="4536458" y="1851585"/>
            <a:chExt cx="359809" cy="130780"/>
          </a:xfrm>
        </p:grpSpPr>
        <p:grpSp>
          <p:nvGrpSpPr>
            <p:cNvPr id="987" name="Group 986">
              <a:extLst>
                <a:ext uri="{FF2B5EF4-FFF2-40B4-BE49-F238E27FC236}">
                  <a16:creationId xmlns:a16="http://schemas.microsoft.com/office/drawing/2014/main" id="{087FEE93-3DCC-F44C-A9E0-B97D422306B1}"/>
                </a:ext>
              </a:extLst>
            </p:cNvPr>
            <p:cNvGrpSpPr/>
            <p:nvPr/>
          </p:nvGrpSpPr>
          <p:grpSpPr>
            <a:xfrm>
              <a:off x="4536458" y="1851585"/>
              <a:ext cx="98148" cy="130780"/>
              <a:chOff x="2265548" y="3181564"/>
              <a:chExt cx="71521" cy="95300"/>
            </a:xfrm>
            <a:solidFill>
              <a:srgbClr val="644C76"/>
            </a:solidFill>
          </p:grpSpPr>
          <p:sp>
            <p:nvSpPr>
              <p:cNvPr id="989" name="Freeform: Shape 902">
                <a:extLst>
                  <a:ext uri="{FF2B5EF4-FFF2-40B4-BE49-F238E27FC236}">
                    <a16:creationId xmlns:a16="http://schemas.microsoft.com/office/drawing/2014/main" id="{05DEB1BF-6E1F-D542-8549-A1091D2DB6AA}"/>
                  </a:ext>
                </a:extLst>
              </p:cNvPr>
              <p:cNvSpPr/>
              <p:nvPr/>
            </p:nvSpPr>
            <p:spPr>
              <a:xfrm>
                <a:off x="2294459" y="3214588"/>
                <a:ext cx="8908" cy="8909"/>
              </a:xfrm>
              <a:custGeom>
                <a:avLst/>
                <a:gdLst>
                  <a:gd name="connsiteX0" fmla="*/ 8909 w 8908"/>
                  <a:gd name="connsiteY0" fmla="*/ 4455 h 8909"/>
                  <a:gd name="connsiteX1" fmla="*/ 4454 w 8908"/>
                  <a:gd name="connsiteY1" fmla="*/ 8909 h 8909"/>
                  <a:gd name="connsiteX2" fmla="*/ 0 w 8908"/>
                  <a:gd name="connsiteY2" fmla="*/ 4455 h 8909"/>
                  <a:gd name="connsiteX3" fmla="*/ 4454 w 8908"/>
                  <a:gd name="connsiteY3" fmla="*/ 0 h 8909"/>
                  <a:gd name="connsiteX4" fmla="*/ 8909 w 8908"/>
                  <a:gd name="connsiteY4" fmla="*/ 4455 h 8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9">
                    <a:moveTo>
                      <a:pt x="8909" y="4455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5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2017"/>
                      <a:pt x="8909" y="4455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990" name="Freeform: Shape 903">
                <a:extLst>
                  <a:ext uri="{FF2B5EF4-FFF2-40B4-BE49-F238E27FC236}">
                    <a16:creationId xmlns:a16="http://schemas.microsoft.com/office/drawing/2014/main" id="{A8B156C2-3F32-C747-89DF-A1EAC88AADBA}"/>
                  </a:ext>
                </a:extLst>
              </p:cNvPr>
              <p:cNvSpPr/>
              <p:nvPr/>
            </p:nvSpPr>
            <p:spPr>
              <a:xfrm>
                <a:off x="2287231" y="3181564"/>
                <a:ext cx="14623" cy="29572"/>
              </a:xfrm>
              <a:custGeom>
                <a:avLst/>
                <a:gdLst>
                  <a:gd name="connsiteX0" fmla="*/ 0 w 14623"/>
                  <a:gd name="connsiteY0" fmla="*/ 163 h 29572"/>
                  <a:gd name="connsiteX1" fmla="*/ 4370 w 14623"/>
                  <a:gd name="connsiteY1" fmla="*/ 22518 h 29572"/>
                  <a:gd name="connsiteX2" fmla="*/ 14624 w 14623"/>
                  <a:gd name="connsiteY2" fmla="*/ 29410 h 29572"/>
                  <a:gd name="connsiteX3" fmla="*/ 10253 w 14623"/>
                  <a:gd name="connsiteY3" fmla="*/ 7054 h 29572"/>
                  <a:gd name="connsiteX4" fmla="*/ 0 w 14623"/>
                  <a:gd name="connsiteY4" fmla="*/ 163 h 29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2">
                    <a:moveTo>
                      <a:pt x="0" y="163"/>
                    </a:moveTo>
                    <a:lnTo>
                      <a:pt x="4370" y="22518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991" name="Freeform: Shape 904">
                <a:extLst>
                  <a:ext uri="{FF2B5EF4-FFF2-40B4-BE49-F238E27FC236}">
                    <a16:creationId xmlns:a16="http://schemas.microsoft.com/office/drawing/2014/main" id="{3F2A5D0E-2914-1C4F-AE1E-5A3A249CD73C}"/>
                  </a:ext>
                </a:extLst>
              </p:cNvPr>
              <p:cNvSpPr/>
              <p:nvPr/>
            </p:nvSpPr>
            <p:spPr>
              <a:xfrm>
                <a:off x="2270285" y="3220471"/>
                <a:ext cx="22294" cy="27398"/>
              </a:xfrm>
              <a:custGeom>
                <a:avLst/>
                <a:gdLst>
                  <a:gd name="connsiteX0" fmla="*/ 2154 w 22294"/>
                  <a:gd name="connsiteY0" fmla="*/ 27398 h 27398"/>
                  <a:gd name="connsiteX1" fmla="*/ 19299 w 22294"/>
                  <a:gd name="connsiteY1" fmla="*/ 12355 h 27398"/>
                  <a:gd name="connsiteX2" fmla="*/ 20140 w 22294"/>
                  <a:gd name="connsiteY2" fmla="*/ 0 h 27398"/>
                  <a:gd name="connsiteX3" fmla="*/ 2995 w 22294"/>
                  <a:gd name="connsiteY3" fmla="*/ 14960 h 27398"/>
                  <a:gd name="connsiteX4" fmla="*/ 2154 w 22294"/>
                  <a:gd name="connsiteY4" fmla="*/ 27398 h 27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8">
                    <a:moveTo>
                      <a:pt x="2154" y="27398"/>
                    </a:moveTo>
                    <a:lnTo>
                      <a:pt x="19299" y="12355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8"/>
                      <a:pt x="-1039" y="23785"/>
                      <a:pt x="2154" y="27398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992" name="Freeform: Shape 905">
                <a:extLst>
                  <a:ext uri="{FF2B5EF4-FFF2-40B4-BE49-F238E27FC236}">
                    <a16:creationId xmlns:a16="http://schemas.microsoft.com/office/drawing/2014/main" id="{8B062CB4-0EAD-4049-A261-F646A79427B6}"/>
                  </a:ext>
                </a:extLst>
              </p:cNvPr>
              <p:cNvSpPr/>
              <p:nvPr/>
            </p:nvSpPr>
            <p:spPr>
              <a:xfrm>
                <a:off x="2304376" y="3219772"/>
                <a:ext cx="32693" cy="13662"/>
              </a:xfrm>
              <a:custGeom>
                <a:avLst/>
                <a:gdLst>
                  <a:gd name="connsiteX0" fmla="*/ 32693 w 32693"/>
                  <a:gd name="connsiteY0" fmla="*/ 7675 h 13662"/>
                  <a:gd name="connsiteX1" fmla="*/ 11094 w 32693"/>
                  <a:gd name="connsiteY1" fmla="*/ 448 h 13662"/>
                  <a:gd name="connsiteX2" fmla="*/ 0 w 32693"/>
                  <a:gd name="connsiteY2" fmla="*/ 5994 h 13662"/>
                  <a:gd name="connsiteX3" fmla="*/ 21599 w 32693"/>
                  <a:gd name="connsiteY3" fmla="*/ 13222 h 13662"/>
                  <a:gd name="connsiteX4" fmla="*/ 32693 w 32693"/>
                  <a:gd name="connsiteY4" fmla="*/ 7675 h 13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62">
                    <a:moveTo>
                      <a:pt x="32693" y="7675"/>
                    </a:moveTo>
                    <a:lnTo>
                      <a:pt x="11094" y="448"/>
                    </a:lnTo>
                    <a:cubicBezTo>
                      <a:pt x="6555" y="-1065"/>
                      <a:pt x="1513" y="1372"/>
                      <a:pt x="0" y="5994"/>
                    </a:cubicBezTo>
                    <a:lnTo>
                      <a:pt x="21599" y="13222"/>
                    </a:lnTo>
                    <a:cubicBezTo>
                      <a:pt x="26222" y="14735"/>
                      <a:pt x="31180" y="12214"/>
                      <a:pt x="32693" y="7675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993" name="Freeform: Shape 906">
                <a:extLst>
                  <a:ext uri="{FF2B5EF4-FFF2-40B4-BE49-F238E27FC236}">
                    <a16:creationId xmlns:a16="http://schemas.microsoft.com/office/drawing/2014/main" id="{651F7608-685D-8140-A1AB-4DC0A3982F7F}"/>
                  </a:ext>
                </a:extLst>
              </p:cNvPr>
              <p:cNvSpPr/>
              <p:nvPr/>
            </p:nvSpPr>
            <p:spPr>
              <a:xfrm>
                <a:off x="2293114" y="3228099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2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2"/>
                      <a:pt x="420" y="21872"/>
                      <a:pt x="0" y="33555"/>
                    </a:cubicBezTo>
                    <a:cubicBezTo>
                      <a:pt x="1765" y="35067"/>
                      <a:pt x="3782" y="36076"/>
                      <a:pt x="5799" y="36076"/>
                    </a:cubicBezTo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  <p:sp>
            <p:nvSpPr>
              <p:cNvPr id="994" name="Freeform: Shape 907">
                <a:extLst>
                  <a:ext uri="{FF2B5EF4-FFF2-40B4-BE49-F238E27FC236}">
                    <a16:creationId xmlns:a16="http://schemas.microsoft.com/office/drawing/2014/main" id="{242385EE-952A-594C-90C0-FBEA26D475DD}"/>
                  </a:ext>
                </a:extLst>
              </p:cNvPr>
              <p:cNvSpPr/>
              <p:nvPr/>
            </p:nvSpPr>
            <p:spPr>
              <a:xfrm>
                <a:off x="2265548" y="3269721"/>
                <a:ext cx="66646" cy="7143"/>
              </a:xfrm>
              <a:custGeom>
                <a:avLst/>
                <a:gdLst>
                  <a:gd name="connsiteX0" fmla="*/ 0 w 66646"/>
                  <a:gd name="connsiteY0" fmla="*/ 0 h 7143"/>
                  <a:gd name="connsiteX1" fmla="*/ 66647 w 66646"/>
                  <a:gd name="connsiteY1" fmla="*/ 0 h 7143"/>
                  <a:gd name="connsiteX2" fmla="*/ 66647 w 66646"/>
                  <a:gd name="connsiteY2" fmla="*/ 7144 h 7143"/>
                  <a:gd name="connsiteX3" fmla="*/ 0 w 66646"/>
                  <a:gd name="connsiteY3" fmla="*/ 7144 h 7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646" h="7143">
                    <a:moveTo>
                      <a:pt x="0" y="0"/>
                    </a:moveTo>
                    <a:lnTo>
                      <a:pt x="66647" y="0"/>
                    </a:lnTo>
                    <a:lnTo>
                      <a:pt x="66647" y="7144"/>
                    </a:lnTo>
                    <a:lnTo>
                      <a:pt x="0" y="7144"/>
                    </a:lnTo>
                    <a:close/>
                  </a:path>
                </a:pathLst>
              </a:custGeom>
              <a:grpFill/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67"/>
              </a:p>
            </p:txBody>
          </p:sp>
        </p:grpSp>
        <p:sp>
          <p:nvSpPr>
            <p:cNvPr id="988" name="TextBox 987">
              <a:extLst>
                <a:ext uri="{FF2B5EF4-FFF2-40B4-BE49-F238E27FC236}">
                  <a16:creationId xmlns:a16="http://schemas.microsoft.com/office/drawing/2014/main" id="{BFDD71AC-1247-C549-A081-67550ED4F148}"/>
                </a:ext>
              </a:extLst>
            </p:cNvPr>
            <p:cNvSpPr txBox="1"/>
            <p:nvPr/>
          </p:nvSpPr>
          <p:spPr>
            <a:xfrm>
              <a:off x="4651007" y="1871346"/>
              <a:ext cx="245260" cy="9608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2400"/>
                </a:spcBef>
              </a:pPr>
              <a:r>
                <a:rPr lang="en-US" sz="867">
                  <a:solidFill>
                    <a:srgbClr val="644C76"/>
                  </a:solidFill>
                </a:rPr>
                <a:t>Coom</a:t>
              </a:r>
            </a:p>
          </p:txBody>
        </p:sp>
      </p:grpSp>
      <p:pic>
        <p:nvPicPr>
          <p:cNvPr id="465" name="Logo">
            <a:extLst>
              <a:ext uri="{FF2B5EF4-FFF2-40B4-BE49-F238E27FC236}">
                <a16:creationId xmlns:a16="http://schemas.microsoft.com/office/drawing/2014/main" id="{18F0D3A2-E401-412B-9AA6-5BD15C7F69B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26400" y="6419745"/>
            <a:ext cx="489600" cy="13388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027006A-C607-5D0D-291F-8736FC32C48F}"/>
              </a:ext>
            </a:extLst>
          </p:cNvPr>
          <p:cNvSpPr txBox="1">
            <a:spLocks/>
          </p:cNvSpPr>
          <p:nvPr/>
        </p:nvSpPr>
        <p:spPr>
          <a:xfrm>
            <a:off x="3899913" y="4649643"/>
            <a:ext cx="1078821" cy="1281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6000"/>
              </a:lnSpc>
              <a:spcBef>
                <a:spcPts val="2400"/>
              </a:spcBef>
            </a:pPr>
            <a:r>
              <a:rPr lang="en-US" sz="867" err="1">
                <a:solidFill>
                  <a:schemeClr val="accent3"/>
                </a:solidFill>
              </a:rPr>
              <a:t>Ballinrea</a:t>
            </a:r>
            <a:r>
              <a:rPr lang="en-US" sz="867">
                <a:solidFill>
                  <a:schemeClr val="accent3"/>
                </a:solidFill>
              </a:rPr>
              <a:t> Solar Farm</a:t>
            </a:r>
          </a:p>
        </p:txBody>
      </p:sp>
      <p:grpSp>
        <p:nvGrpSpPr>
          <p:cNvPr id="6" name="Graphic 2">
            <a:extLst>
              <a:ext uri="{FF2B5EF4-FFF2-40B4-BE49-F238E27FC236}">
                <a16:creationId xmlns:a16="http://schemas.microsoft.com/office/drawing/2014/main" id="{3700257F-D263-20B3-D38B-DDD4C842C8C7}"/>
              </a:ext>
            </a:extLst>
          </p:cNvPr>
          <p:cNvGrpSpPr>
            <a:grpSpLocks/>
          </p:cNvGrpSpPr>
          <p:nvPr/>
        </p:nvGrpSpPr>
        <p:grpSpPr>
          <a:xfrm>
            <a:off x="3716829" y="4635734"/>
            <a:ext cx="152392" cy="152393"/>
            <a:chOff x="2259665" y="3308466"/>
            <a:chExt cx="83287" cy="83287"/>
          </a:xfrm>
          <a:solidFill>
            <a:srgbClr val="644C76"/>
          </a:solidFill>
        </p:grpSpPr>
        <p:sp>
          <p:nvSpPr>
            <p:cNvPr id="7" name="Freeform: Shape 823">
              <a:extLst>
                <a:ext uri="{FF2B5EF4-FFF2-40B4-BE49-F238E27FC236}">
                  <a16:creationId xmlns:a16="http://schemas.microsoft.com/office/drawing/2014/main" id="{6E57F76B-E943-28A8-BD40-09B4BD8C9553}"/>
                </a:ext>
              </a:extLst>
            </p:cNvPr>
            <p:cNvSpPr/>
            <p:nvPr/>
          </p:nvSpPr>
          <p:spPr>
            <a:xfrm>
              <a:off x="2297821" y="3308466"/>
              <a:ext cx="7143" cy="10169"/>
            </a:xfrm>
            <a:custGeom>
              <a:avLst/>
              <a:gdLst>
                <a:gd name="connsiteX0" fmla="*/ 3530 w 7143"/>
                <a:gd name="connsiteY0" fmla="*/ 10169 h 10169"/>
                <a:gd name="connsiteX1" fmla="*/ 3530 w 7143"/>
                <a:gd name="connsiteY1" fmla="*/ 10169 h 10169"/>
                <a:gd name="connsiteX2" fmla="*/ 3530 w 7143"/>
                <a:gd name="connsiteY2" fmla="*/ 10169 h 10169"/>
                <a:gd name="connsiteX3" fmla="*/ 7144 w 7143"/>
                <a:gd name="connsiteY3" fmla="*/ 6723 h 10169"/>
                <a:gd name="connsiteX4" fmla="*/ 7144 w 7143"/>
                <a:gd name="connsiteY4" fmla="*/ 0 h 10169"/>
                <a:gd name="connsiteX5" fmla="*/ 0 w 7143"/>
                <a:gd name="connsiteY5" fmla="*/ 0 h 10169"/>
                <a:gd name="connsiteX6" fmla="*/ 0 w 7143"/>
                <a:gd name="connsiteY6" fmla="*/ 6723 h 10169"/>
                <a:gd name="connsiteX7" fmla="*/ 3530 w 7143"/>
                <a:gd name="connsiteY7" fmla="*/ 10169 h 10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143" h="10169">
                  <a:moveTo>
                    <a:pt x="3530" y="10169"/>
                  </a:moveTo>
                  <a:lnTo>
                    <a:pt x="3530" y="10169"/>
                  </a:lnTo>
                  <a:lnTo>
                    <a:pt x="3530" y="10169"/>
                  </a:lnTo>
                  <a:cubicBezTo>
                    <a:pt x="5547" y="10169"/>
                    <a:pt x="7144" y="8656"/>
                    <a:pt x="7144" y="6723"/>
                  </a:cubicBezTo>
                  <a:lnTo>
                    <a:pt x="7144" y="0"/>
                  </a:lnTo>
                  <a:lnTo>
                    <a:pt x="0" y="0"/>
                  </a:lnTo>
                  <a:lnTo>
                    <a:pt x="0" y="6723"/>
                  </a:lnTo>
                  <a:cubicBezTo>
                    <a:pt x="0" y="8656"/>
                    <a:pt x="1597" y="10169"/>
                    <a:pt x="3530" y="10169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rgbClr val="644C76"/>
                </a:solidFill>
              </a:endParaRPr>
            </a:p>
          </p:txBody>
        </p:sp>
        <p:sp>
          <p:nvSpPr>
            <p:cNvPr id="8" name="Freeform: Shape 824">
              <a:extLst>
                <a:ext uri="{FF2B5EF4-FFF2-40B4-BE49-F238E27FC236}">
                  <a16:creationId xmlns:a16="http://schemas.microsoft.com/office/drawing/2014/main" id="{30E10076-5DA4-E364-09CB-A8476760CFA5}"/>
                </a:ext>
              </a:extLst>
            </p:cNvPr>
            <p:cNvSpPr/>
            <p:nvPr/>
          </p:nvSpPr>
          <p:spPr>
            <a:xfrm>
              <a:off x="2269330" y="3318131"/>
              <a:ext cx="10831" cy="10768"/>
            </a:xfrm>
            <a:custGeom>
              <a:avLst/>
              <a:gdLst>
                <a:gd name="connsiteX0" fmla="*/ 9749 w 10831"/>
                <a:gd name="connsiteY0" fmla="*/ 9749 h 10768"/>
                <a:gd name="connsiteX1" fmla="*/ 9749 w 10831"/>
                <a:gd name="connsiteY1" fmla="*/ 9749 h 10768"/>
                <a:gd name="connsiteX2" fmla="*/ 9749 w 10831"/>
                <a:gd name="connsiteY2" fmla="*/ 9749 h 10768"/>
                <a:gd name="connsiteX3" fmla="*/ 9833 w 10831"/>
                <a:gd name="connsiteY3" fmla="*/ 4791 h 10768"/>
                <a:gd name="connsiteX4" fmla="*/ 5043 w 10831"/>
                <a:gd name="connsiteY4" fmla="*/ 0 h 10768"/>
                <a:gd name="connsiteX5" fmla="*/ 0 w 10831"/>
                <a:gd name="connsiteY5" fmla="*/ 5043 h 10768"/>
                <a:gd name="connsiteX6" fmla="*/ 4791 w 10831"/>
                <a:gd name="connsiteY6" fmla="*/ 9834 h 10768"/>
                <a:gd name="connsiteX7" fmla="*/ 9749 w 10831"/>
                <a:gd name="connsiteY7" fmla="*/ 9749 h 10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831" h="10768">
                  <a:moveTo>
                    <a:pt x="9749" y="9749"/>
                  </a:moveTo>
                  <a:lnTo>
                    <a:pt x="9749" y="9749"/>
                  </a:lnTo>
                  <a:cubicBezTo>
                    <a:pt x="9833" y="9665"/>
                    <a:pt x="9833" y="9665"/>
                    <a:pt x="9749" y="9749"/>
                  </a:cubicBezTo>
                  <a:cubicBezTo>
                    <a:pt x="11178" y="8321"/>
                    <a:pt x="11178" y="6136"/>
                    <a:pt x="9833" y="4791"/>
                  </a:cubicBezTo>
                  <a:lnTo>
                    <a:pt x="5043" y="0"/>
                  </a:lnTo>
                  <a:lnTo>
                    <a:pt x="0" y="5043"/>
                  </a:lnTo>
                  <a:lnTo>
                    <a:pt x="4791" y="9834"/>
                  </a:lnTo>
                  <a:cubicBezTo>
                    <a:pt x="6219" y="11094"/>
                    <a:pt x="8404" y="11094"/>
                    <a:pt x="9749" y="9749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rgbClr val="644C76"/>
                </a:solidFill>
              </a:endParaRPr>
            </a:p>
          </p:txBody>
        </p:sp>
        <p:sp>
          <p:nvSpPr>
            <p:cNvPr id="9" name="Freeform: Shape 825">
              <a:extLst>
                <a:ext uri="{FF2B5EF4-FFF2-40B4-BE49-F238E27FC236}">
                  <a16:creationId xmlns:a16="http://schemas.microsoft.com/office/drawing/2014/main" id="{32620903-AF82-0C47-7DBB-B4825B9B14A2}"/>
                </a:ext>
              </a:extLst>
            </p:cNvPr>
            <p:cNvSpPr/>
            <p:nvPr/>
          </p:nvSpPr>
          <p:spPr>
            <a:xfrm>
              <a:off x="2259665" y="3346538"/>
              <a:ext cx="10169" cy="7059"/>
            </a:xfrm>
            <a:custGeom>
              <a:avLst/>
              <a:gdLst>
                <a:gd name="connsiteX0" fmla="*/ 10169 w 10169"/>
                <a:gd name="connsiteY0" fmla="*/ 3530 h 7059"/>
                <a:gd name="connsiteX1" fmla="*/ 10169 w 10169"/>
                <a:gd name="connsiteY1" fmla="*/ 3530 h 7059"/>
                <a:gd name="connsiteX2" fmla="*/ 6724 w 10169"/>
                <a:gd name="connsiteY2" fmla="*/ 0 h 7059"/>
                <a:gd name="connsiteX3" fmla="*/ 0 w 10169"/>
                <a:gd name="connsiteY3" fmla="*/ 0 h 7059"/>
                <a:gd name="connsiteX4" fmla="*/ 0 w 10169"/>
                <a:gd name="connsiteY4" fmla="*/ 7060 h 7059"/>
                <a:gd name="connsiteX5" fmla="*/ 6724 w 10169"/>
                <a:gd name="connsiteY5" fmla="*/ 7060 h 7059"/>
                <a:gd name="connsiteX6" fmla="*/ 10169 w 10169"/>
                <a:gd name="connsiteY6" fmla="*/ 3530 h 7059"/>
                <a:gd name="connsiteX7" fmla="*/ 10169 w 10169"/>
                <a:gd name="connsiteY7" fmla="*/ 3530 h 7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169" h="7059">
                  <a:moveTo>
                    <a:pt x="10169" y="3530"/>
                  </a:moveTo>
                  <a:lnTo>
                    <a:pt x="10169" y="3530"/>
                  </a:lnTo>
                  <a:cubicBezTo>
                    <a:pt x="10169" y="1597"/>
                    <a:pt x="8657" y="0"/>
                    <a:pt x="6724" y="0"/>
                  </a:cubicBezTo>
                  <a:lnTo>
                    <a:pt x="0" y="0"/>
                  </a:lnTo>
                  <a:lnTo>
                    <a:pt x="0" y="7060"/>
                  </a:lnTo>
                  <a:lnTo>
                    <a:pt x="6724" y="7060"/>
                  </a:lnTo>
                  <a:cubicBezTo>
                    <a:pt x="8657" y="7060"/>
                    <a:pt x="10169" y="5463"/>
                    <a:pt x="10169" y="3530"/>
                  </a:cubicBezTo>
                  <a:lnTo>
                    <a:pt x="10169" y="3530"/>
                  </a:lnTo>
                  <a:close/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rgbClr val="644C76"/>
                </a:solidFill>
              </a:endParaRPr>
            </a:p>
          </p:txBody>
        </p:sp>
        <p:sp>
          <p:nvSpPr>
            <p:cNvPr id="10" name="Freeform: Shape 826">
              <a:extLst>
                <a:ext uri="{FF2B5EF4-FFF2-40B4-BE49-F238E27FC236}">
                  <a16:creationId xmlns:a16="http://schemas.microsoft.com/office/drawing/2014/main" id="{51CE5FC3-2AEE-FAD7-6147-0F7C30C78BC1}"/>
                </a:ext>
              </a:extLst>
            </p:cNvPr>
            <p:cNvSpPr/>
            <p:nvPr/>
          </p:nvSpPr>
          <p:spPr>
            <a:xfrm>
              <a:off x="2269246" y="3371257"/>
              <a:ext cx="10831" cy="10831"/>
            </a:xfrm>
            <a:custGeom>
              <a:avLst/>
              <a:gdLst>
                <a:gd name="connsiteX0" fmla="*/ 9749 w 10831"/>
                <a:gd name="connsiteY0" fmla="*/ 1082 h 10831"/>
                <a:gd name="connsiteX1" fmla="*/ 9749 w 10831"/>
                <a:gd name="connsiteY1" fmla="*/ 1082 h 10831"/>
                <a:gd name="connsiteX2" fmla="*/ 4791 w 10831"/>
                <a:gd name="connsiteY2" fmla="*/ 998 h 10831"/>
                <a:gd name="connsiteX3" fmla="*/ 0 w 10831"/>
                <a:gd name="connsiteY3" fmla="*/ 5789 h 10831"/>
                <a:gd name="connsiteX4" fmla="*/ 5043 w 10831"/>
                <a:gd name="connsiteY4" fmla="*/ 10832 h 10831"/>
                <a:gd name="connsiteX5" fmla="*/ 9833 w 10831"/>
                <a:gd name="connsiteY5" fmla="*/ 6041 h 10831"/>
                <a:gd name="connsiteX6" fmla="*/ 9749 w 10831"/>
                <a:gd name="connsiteY6" fmla="*/ 1082 h 10831"/>
                <a:gd name="connsiteX7" fmla="*/ 9749 w 10831"/>
                <a:gd name="connsiteY7" fmla="*/ 1082 h 10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831" h="10831">
                  <a:moveTo>
                    <a:pt x="9749" y="1082"/>
                  </a:moveTo>
                  <a:lnTo>
                    <a:pt x="9749" y="1082"/>
                  </a:lnTo>
                  <a:cubicBezTo>
                    <a:pt x="8320" y="-346"/>
                    <a:pt x="6135" y="-346"/>
                    <a:pt x="4791" y="998"/>
                  </a:cubicBezTo>
                  <a:lnTo>
                    <a:pt x="0" y="5789"/>
                  </a:lnTo>
                  <a:lnTo>
                    <a:pt x="5043" y="10832"/>
                  </a:lnTo>
                  <a:lnTo>
                    <a:pt x="9833" y="6041"/>
                  </a:lnTo>
                  <a:cubicBezTo>
                    <a:pt x="11178" y="4696"/>
                    <a:pt x="11178" y="2511"/>
                    <a:pt x="9749" y="1082"/>
                  </a:cubicBezTo>
                  <a:cubicBezTo>
                    <a:pt x="9749" y="1082"/>
                    <a:pt x="9749" y="1082"/>
                    <a:pt x="9749" y="1082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rgbClr val="644C76"/>
                </a:solidFill>
              </a:endParaRPr>
            </a:p>
          </p:txBody>
        </p:sp>
        <p:sp>
          <p:nvSpPr>
            <p:cNvPr id="11" name="Freeform: Shape 827">
              <a:extLst>
                <a:ext uri="{FF2B5EF4-FFF2-40B4-BE49-F238E27FC236}">
                  <a16:creationId xmlns:a16="http://schemas.microsoft.com/office/drawing/2014/main" id="{D02DC802-250C-3DAB-821E-910D5EDC80FD}"/>
                </a:ext>
              </a:extLst>
            </p:cNvPr>
            <p:cNvSpPr/>
            <p:nvPr/>
          </p:nvSpPr>
          <p:spPr>
            <a:xfrm>
              <a:off x="2297653" y="3381584"/>
              <a:ext cx="7143" cy="10169"/>
            </a:xfrm>
            <a:custGeom>
              <a:avLst/>
              <a:gdLst>
                <a:gd name="connsiteX0" fmla="*/ 3614 w 7143"/>
                <a:gd name="connsiteY0" fmla="*/ 0 h 10169"/>
                <a:gd name="connsiteX1" fmla="*/ 3614 w 7143"/>
                <a:gd name="connsiteY1" fmla="*/ 0 h 10169"/>
                <a:gd name="connsiteX2" fmla="*/ 3614 w 7143"/>
                <a:gd name="connsiteY2" fmla="*/ 0 h 10169"/>
                <a:gd name="connsiteX3" fmla="*/ 0 w 7143"/>
                <a:gd name="connsiteY3" fmla="*/ 3446 h 10169"/>
                <a:gd name="connsiteX4" fmla="*/ 0 w 7143"/>
                <a:gd name="connsiteY4" fmla="*/ 10169 h 10169"/>
                <a:gd name="connsiteX5" fmla="*/ 7144 w 7143"/>
                <a:gd name="connsiteY5" fmla="*/ 10169 h 10169"/>
                <a:gd name="connsiteX6" fmla="*/ 7144 w 7143"/>
                <a:gd name="connsiteY6" fmla="*/ 3446 h 10169"/>
                <a:gd name="connsiteX7" fmla="*/ 3614 w 7143"/>
                <a:gd name="connsiteY7" fmla="*/ 0 h 101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143" h="10169">
                  <a:moveTo>
                    <a:pt x="3614" y="0"/>
                  </a:moveTo>
                  <a:lnTo>
                    <a:pt x="3614" y="0"/>
                  </a:lnTo>
                  <a:lnTo>
                    <a:pt x="3614" y="0"/>
                  </a:lnTo>
                  <a:cubicBezTo>
                    <a:pt x="1597" y="0"/>
                    <a:pt x="0" y="1513"/>
                    <a:pt x="0" y="3446"/>
                  </a:cubicBezTo>
                  <a:lnTo>
                    <a:pt x="0" y="10169"/>
                  </a:lnTo>
                  <a:lnTo>
                    <a:pt x="7144" y="10169"/>
                  </a:lnTo>
                  <a:lnTo>
                    <a:pt x="7144" y="3446"/>
                  </a:lnTo>
                  <a:cubicBezTo>
                    <a:pt x="7144" y="1597"/>
                    <a:pt x="5547" y="0"/>
                    <a:pt x="3614" y="0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rgbClr val="644C76"/>
                </a:solidFill>
              </a:endParaRPr>
            </a:p>
          </p:txBody>
        </p:sp>
        <p:sp>
          <p:nvSpPr>
            <p:cNvPr id="12" name="Freeform: Shape 828">
              <a:extLst>
                <a:ext uri="{FF2B5EF4-FFF2-40B4-BE49-F238E27FC236}">
                  <a16:creationId xmlns:a16="http://schemas.microsoft.com/office/drawing/2014/main" id="{F85A03EB-B822-BAC4-57E1-167C477F9C0D}"/>
                </a:ext>
              </a:extLst>
            </p:cNvPr>
            <p:cNvSpPr/>
            <p:nvPr/>
          </p:nvSpPr>
          <p:spPr>
            <a:xfrm>
              <a:off x="2322456" y="3371372"/>
              <a:ext cx="10831" cy="10800"/>
            </a:xfrm>
            <a:custGeom>
              <a:avLst/>
              <a:gdLst>
                <a:gd name="connsiteX0" fmla="*/ 1082 w 10831"/>
                <a:gd name="connsiteY0" fmla="*/ 1051 h 10800"/>
                <a:gd name="connsiteX1" fmla="*/ 1082 w 10831"/>
                <a:gd name="connsiteY1" fmla="*/ 1051 h 10800"/>
                <a:gd name="connsiteX2" fmla="*/ 1082 w 10831"/>
                <a:gd name="connsiteY2" fmla="*/ 1051 h 10800"/>
                <a:gd name="connsiteX3" fmla="*/ 998 w 10831"/>
                <a:gd name="connsiteY3" fmla="*/ 6010 h 10800"/>
                <a:gd name="connsiteX4" fmla="*/ 5789 w 10831"/>
                <a:gd name="connsiteY4" fmla="*/ 10800 h 10800"/>
                <a:gd name="connsiteX5" fmla="*/ 10831 w 10831"/>
                <a:gd name="connsiteY5" fmla="*/ 5758 h 10800"/>
                <a:gd name="connsiteX6" fmla="*/ 6041 w 10831"/>
                <a:gd name="connsiteY6" fmla="*/ 967 h 10800"/>
                <a:gd name="connsiteX7" fmla="*/ 1082 w 10831"/>
                <a:gd name="connsiteY7" fmla="*/ 1051 h 1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831" h="10800">
                  <a:moveTo>
                    <a:pt x="1082" y="1051"/>
                  </a:moveTo>
                  <a:cubicBezTo>
                    <a:pt x="1082" y="1051"/>
                    <a:pt x="1082" y="1051"/>
                    <a:pt x="1082" y="1051"/>
                  </a:cubicBezTo>
                  <a:lnTo>
                    <a:pt x="1082" y="1051"/>
                  </a:lnTo>
                  <a:cubicBezTo>
                    <a:pt x="-346" y="2480"/>
                    <a:pt x="-346" y="4665"/>
                    <a:pt x="998" y="6010"/>
                  </a:cubicBezTo>
                  <a:lnTo>
                    <a:pt x="5789" y="10800"/>
                  </a:lnTo>
                  <a:lnTo>
                    <a:pt x="10831" y="5758"/>
                  </a:lnTo>
                  <a:lnTo>
                    <a:pt x="6041" y="967"/>
                  </a:lnTo>
                  <a:cubicBezTo>
                    <a:pt x="4612" y="-377"/>
                    <a:pt x="2427" y="-293"/>
                    <a:pt x="1082" y="1051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rgbClr val="644C76"/>
                </a:solidFill>
              </a:endParaRPr>
            </a:p>
          </p:txBody>
        </p:sp>
        <p:sp>
          <p:nvSpPr>
            <p:cNvPr id="13" name="Freeform: Shape 829">
              <a:extLst>
                <a:ext uri="{FF2B5EF4-FFF2-40B4-BE49-F238E27FC236}">
                  <a16:creationId xmlns:a16="http://schemas.microsoft.com/office/drawing/2014/main" id="{F74F7B2C-9215-B11B-E6D0-3209FFD1D561}"/>
                </a:ext>
              </a:extLst>
            </p:cNvPr>
            <p:cNvSpPr/>
            <p:nvPr/>
          </p:nvSpPr>
          <p:spPr>
            <a:xfrm>
              <a:off x="2332783" y="3346622"/>
              <a:ext cx="10169" cy="7144"/>
            </a:xfrm>
            <a:custGeom>
              <a:avLst/>
              <a:gdLst>
                <a:gd name="connsiteX0" fmla="*/ 3446 w 10169"/>
                <a:gd name="connsiteY0" fmla="*/ 0 h 7144"/>
                <a:gd name="connsiteX1" fmla="*/ 0 w 10169"/>
                <a:gd name="connsiteY1" fmla="*/ 3530 h 7144"/>
                <a:gd name="connsiteX2" fmla="*/ 0 w 10169"/>
                <a:gd name="connsiteY2" fmla="*/ 3530 h 7144"/>
                <a:gd name="connsiteX3" fmla="*/ 0 w 10169"/>
                <a:gd name="connsiteY3" fmla="*/ 3614 h 7144"/>
                <a:gd name="connsiteX4" fmla="*/ 3446 w 10169"/>
                <a:gd name="connsiteY4" fmla="*/ 7144 h 7144"/>
                <a:gd name="connsiteX5" fmla="*/ 10169 w 10169"/>
                <a:gd name="connsiteY5" fmla="*/ 7144 h 7144"/>
                <a:gd name="connsiteX6" fmla="*/ 10169 w 10169"/>
                <a:gd name="connsiteY6" fmla="*/ 84 h 7144"/>
                <a:gd name="connsiteX7" fmla="*/ 3446 w 10169"/>
                <a:gd name="connsiteY7" fmla="*/ 84 h 7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169" h="7144">
                  <a:moveTo>
                    <a:pt x="3446" y="0"/>
                  </a:moveTo>
                  <a:cubicBezTo>
                    <a:pt x="1513" y="0"/>
                    <a:pt x="0" y="1597"/>
                    <a:pt x="0" y="3530"/>
                  </a:cubicBezTo>
                  <a:lnTo>
                    <a:pt x="0" y="3530"/>
                  </a:lnTo>
                  <a:lnTo>
                    <a:pt x="0" y="3614"/>
                  </a:lnTo>
                  <a:cubicBezTo>
                    <a:pt x="0" y="5547"/>
                    <a:pt x="1513" y="7144"/>
                    <a:pt x="3446" y="7144"/>
                  </a:cubicBezTo>
                  <a:lnTo>
                    <a:pt x="10169" y="7144"/>
                  </a:lnTo>
                  <a:lnTo>
                    <a:pt x="10169" y="84"/>
                  </a:lnTo>
                  <a:lnTo>
                    <a:pt x="3446" y="84"/>
                  </a:lnTo>
                  <a:close/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rgbClr val="644C76"/>
                </a:solidFill>
              </a:endParaRPr>
            </a:p>
          </p:txBody>
        </p:sp>
        <p:sp>
          <p:nvSpPr>
            <p:cNvPr id="14" name="Freeform: Shape 830">
              <a:extLst>
                <a:ext uri="{FF2B5EF4-FFF2-40B4-BE49-F238E27FC236}">
                  <a16:creationId xmlns:a16="http://schemas.microsoft.com/office/drawing/2014/main" id="{5915311F-1EBF-176B-F979-4ACB82E0DA9D}"/>
                </a:ext>
              </a:extLst>
            </p:cNvPr>
            <p:cNvSpPr/>
            <p:nvPr/>
          </p:nvSpPr>
          <p:spPr>
            <a:xfrm>
              <a:off x="2322540" y="3318215"/>
              <a:ext cx="10831" cy="10831"/>
            </a:xfrm>
            <a:custGeom>
              <a:avLst/>
              <a:gdLst>
                <a:gd name="connsiteX0" fmla="*/ 1082 w 10831"/>
                <a:gd name="connsiteY0" fmla="*/ 9749 h 10831"/>
                <a:gd name="connsiteX1" fmla="*/ 1082 w 10831"/>
                <a:gd name="connsiteY1" fmla="*/ 9749 h 10831"/>
                <a:gd name="connsiteX2" fmla="*/ 6041 w 10831"/>
                <a:gd name="connsiteY2" fmla="*/ 9833 h 10831"/>
                <a:gd name="connsiteX3" fmla="*/ 10831 w 10831"/>
                <a:gd name="connsiteY3" fmla="*/ 5043 h 10831"/>
                <a:gd name="connsiteX4" fmla="*/ 5789 w 10831"/>
                <a:gd name="connsiteY4" fmla="*/ 0 h 10831"/>
                <a:gd name="connsiteX5" fmla="*/ 998 w 10831"/>
                <a:gd name="connsiteY5" fmla="*/ 4791 h 10831"/>
                <a:gd name="connsiteX6" fmla="*/ 1082 w 10831"/>
                <a:gd name="connsiteY6" fmla="*/ 9749 h 10831"/>
                <a:gd name="connsiteX7" fmla="*/ 1082 w 10831"/>
                <a:gd name="connsiteY7" fmla="*/ 9749 h 108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831" h="10831">
                  <a:moveTo>
                    <a:pt x="1082" y="9749"/>
                  </a:moveTo>
                  <a:cubicBezTo>
                    <a:pt x="1082" y="9749"/>
                    <a:pt x="1082" y="9749"/>
                    <a:pt x="1082" y="9749"/>
                  </a:cubicBezTo>
                  <a:cubicBezTo>
                    <a:pt x="2511" y="11178"/>
                    <a:pt x="4696" y="11178"/>
                    <a:pt x="6041" y="9833"/>
                  </a:cubicBezTo>
                  <a:lnTo>
                    <a:pt x="10831" y="5043"/>
                  </a:lnTo>
                  <a:lnTo>
                    <a:pt x="5789" y="0"/>
                  </a:lnTo>
                  <a:lnTo>
                    <a:pt x="998" y="4791"/>
                  </a:lnTo>
                  <a:cubicBezTo>
                    <a:pt x="-346" y="6136"/>
                    <a:pt x="-346" y="8320"/>
                    <a:pt x="1082" y="9749"/>
                  </a:cubicBezTo>
                  <a:cubicBezTo>
                    <a:pt x="1082" y="9749"/>
                    <a:pt x="1082" y="9749"/>
                    <a:pt x="1082" y="9749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rgbClr val="644C76"/>
                </a:solidFill>
              </a:endParaRPr>
            </a:p>
          </p:txBody>
        </p:sp>
        <p:sp>
          <p:nvSpPr>
            <p:cNvPr id="15" name="Freeform: Shape 831">
              <a:extLst>
                <a:ext uri="{FF2B5EF4-FFF2-40B4-BE49-F238E27FC236}">
                  <a16:creationId xmlns:a16="http://schemas.microsoft.com/office/drawing/2014/main" id="{DE98D0E2-29E5-7B8D-B72F-598825E4DCB7}"/>
                </a:ext>
              </a:extLst>
            </p:cNvPr>
            <p:cNvSpPr/>
            <p:nvPr/>
          </p:nvSpPr>
          <p:spPr>
            <a:xfrm>
              <a:off x="2276305" y="3325106"/>
              <a:ext cx="50090" cy="50090"/>
            </a:xfrm>
            <a:custGeom>
              <a:avLst/>
              <a:gdLst>
                <a:gd name="connsiteX0" fmla="*/ 25045 w 50090"/>
                <a:gd name="connsiteY0" fmla="*/ 0 h 50090"/>
                <a:gd name="connsiteX1" fmla="*/ 0 w 50090"/>
                <a:gd name="connsiteY1" fmla="*/ 25045 h 50090"/>
                <a:gd name="connsiteX2" fmla="*/ 25045 w 50090"/>
                <a:gd name="connsiteY2" fmla="*/ 50090 h 50090"/>
                <a:gd name="connsiteX3" fmla="*/ 50090 w 50090"/>
                <a:gd name="connsiteY3" fmla="*/ 25045 h 50090"/>
                <a:gd name="connsiteX4" fmla="*/ 25045 w 50090"/>
                <a:gd name="connsiteY4" fmla="*/ 0 h 50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090" h="50090">
                  <a:moveTo>
                    <a:pt x="25045" y="0"/>
                  </a:moveTo>
                  <a:cubicBezTo>
                    <a:pt x="11178" y="0"/>
                    <a:pt x="0" y="11178"/>
                    <a:pt x="0" y="25045"/>
                  </a:cubicBezTo>
                  <a:cubicBezTo>
                    <a:pt x="0" y="38828"/>
                    <a:pt x="11178" y="50090"/>
                    <a:pt x="25045" y="50090"/>
                  </a:cubicBezTo>
                  <a:cubicBezTo>
                    <a:pt x="38912" y="50090"/>
                    <a:pt x="50090" y="38828"/>
                    <a:pt x="50090" y="25045"/>
                  </a:cubicBezTo>
                  <a:cubicBezTo>
                    <a:pt x="50090" y="11178"/>
                    <a:pt x="38828" y="0"/>
                    <a:pt x="25045" y="0"/>
                  </a:cubicBezTo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>
                <a:solidFill>
                  <a:srgbClr val="644C76"/>
                </a:solidFill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7404260-F988-A31D-2B99-7D71C9A2458F}"/>
              </a:ext>
            </a:extLst>
          </p:cNvPr>
          <p:cNvGrpSpPr>
            <a:grpSpLocks/>
          </p:cNvGrpSpPr>
          <p:nvPr/>
        </p:nvGrpSpPr>
        <p:grpSpPr>
          <a:xfrm>
            <a:off x="3697918" y="4023532"/>
            <a:ext cx="156221" cy="130851"/>
            <a:chOff x="3260714" y="3305692"/>
            <a:chExt cx="85388" cy="71521"/>
          </a:xfrm>
          <a:solidFill>
            <a:srgbClr val="644C76"/>
          </a:solidFill>
        </p:grpSpPr>
        <p:sp>
          <p:nvSpPr>
            <p:cNvPr id="19" name="Freeform: Shape 418">
              <a:extLst>
                <a:ext uri="{FF2B5EF4-FFF2-40B4-BE49-F238E27FC236}">
                  <a16:creationId xmlns:a16="http://schemas.microsoft.com/office/drawing/2014/main" id="{C6A1B85D-EFE1-3F44-8CDB-0A0BA5E757F1}"/>
                </a:ext>
              </a:extLst>
            </p:cNvPr>
            <p:cNvSpPr/>
            <p:nvPr/>
          </p:nvSpPr>
          <p:spPr>
            <a:xfrm>
              <a:off x="3333244" y="3323594"/>
              <a:ext cx="6723" cy="41097"/>
            </a:xfrm>
            <a:custGeom>
              <a:avLst/>
              <a:gdLst>
                <a:gd name="connsiteX0" fmla="*/ 0 w 6723"/>
                <a:gd name="connsiteY0" fmla="*/ 0 h 41097"/>
                <a:gd name="connsiteX1" fmla="*/ 6724 w 6723"/>
                <a:gd name="connsiteY1" fmla="*/ 0 h 41097"/>
                <a:gd name="connsiteX2" fmla="*/ 6724 w 6723"/>
                <a:gd name="connsiteY2" fmla="*/ 41098 h 41097"/>
                <a:gd name="connsiteX3" fmla="*/ 0 w 6723"/>
                <a:gd name="connsiteY3" fmla="*/ 41098 h 41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23" h="41097">
                  <a:moveTo>
                    <a:pt x="0" y="0"/>
                  </a:moveTo>
                  <a:lnTo>
                    <a:pt x="6724" y="0"/>
                  </a:lnTo>
                  <a:lnTo>
                    <a:pt x="6724" y="41098"/>
                  </a:lnTo>
                  <a:lnTo>
                    <a:pt x="0" y="41098"/>
                  </a:lnTo>
                  <a:close/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20" name="Freeform: Shape 419">
              <a:extLst>
                <a:ext uri="{FF2B5EF4-FFF2-40B4-BE49-F238E27FC236}">
                  <a16:creationId xmlns:a16="http://schemas.microsoft.com/office/drawing/2014/main" id="{B0B0D077-778C-7112-CAF6-D08D74F84809}"/>
                </a:ext>
              </a:extLst>
            </p:cNvPr>
            <p:cNvSpPr/>
            <p:nvPr/>
          </p:nvSpPr>
          <p:spPr>
            <a:xfrm>
              <a:off x="3266765" y="3323594"/>
              <a:ext cx="6723" cy="41097"/>
            </a:xfrm>
            <a:custGeom>
              <a:avLst/>
              <a:gdLst>
                <a:gd name="connsiteX0" fmla="*/ 0 w 6723"/>
                <a:gd name="connsiteY0" fmla="*/ 0 h 41097"/>
                <a:gd name="connsiteX1" fmla="*/ 6724 w 6723"/>
                <a:gd name="connsiteY1" fmla="*/ 0 h 41097"/>
                <a:gd name="connsiteX2" fmla="*/ 6724 w 6723"/>
                <a:gd name="connsiteY2" fmla="*/ 41098 h 41097"/>
                <a:gd name="connsiteX3" fmla="*/ 0 w 6723"/>
                <a:gd name="connsiteY3" fmla="*/ 41098 h 41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23" h="41097">
                  <a:moveTo>
                    <a:pt x="0" y="0"/>
                  </a:moveTo>
                  <a:lnTo>
                    <a:pt x="6724" y="0"/>
                  </a:lnTo>
                  <a:lnTo>
                    <a:pt x="6724" y="41098"/>
                  </a:lnTo>
                  <a:lnTo>
                    <a:pt x="0" y="41098"/>
                  </a:lnTo>
                  <a:close/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21" name="Freeform: Shape 420">
              <a:extLst>
                <a:ext uri="{FF2B5EF4-FFF2-40B4-BE49-F238E27FC236}">
                  <a16:creationId xmlns:a16="http://schemas.microsoft.com/office/drawing/2014/main" id="{AA296B4F-6A9A-9365-77BA-47359E262037}"/>
                </a:ext>
              </a:extLst>
            </p:cNvPr>
            <p:cNvSpPr/>
            <p:nvPr/>
          </p:nvSpPr>
          <p:spPr>
            <a:xfrm>
              <a:off x="3280969" y="3305692"/>
              <a:ext cx="44879" cy="58999"/>
            </a:xfrm>
            <a:custGeom>
              <a:avLst/>
              <a:gdLst>
                <a:gd name="connsiteX0" fmla="*/ 21683 w 44879"/>
                <a:gd name="connsiteY0" fmla="*/ 46729 h 58999"/>
                <a:gd name="connsiteX1" fmla="*/ 21683 w 44879"/>
                <a:gd name="connsiteY1" fmla="*/ 33954 h 58999"/>
                <a:gd name="connsiteX2" fmla="*/ 12691 w 44879"/>
                <a:gd name="connsiteY2" fmla="*/ 33954 h 58999"/>
                <a:gd name="connsiteX3" fmla="*/ 16641 w 44879"/>
                <a:gd name="connsiteY3" fmla="*/ 17817 h 58999"/>
                <a:gd name="connsiteX4" fmla="*/ 29499 w 44879"/>
                <a:gd name="connsiteY4" fmla="*/ 17817 h 58999"/>
                <a:gd name="connsiteX5" fmla="*/ 24457 w 44879"/>
                <a:gd name="connsiteY5" fmla="*/ 28071 h 58999"/>
                <a:gd name="connsiteX6" fmla="*/ 33281 w 44879"/>
                <a:gd name="connsiteY6" fmla="*/ 28071 h 58999"/>
                <a:gd name="connsiteX7" fmla="*/ 21683 w 44879"/>
                <a:gd name="connsiteY7" fmla="*/ 46729 h 58999"/>
                <a:gd name="connsiteX8" fmla="*/ 44880 w 44879"/>
                <a:gd name="connsiteY8" fmla="*/ 0 h 58999"/>
                <a:gd name="connsiteX9" fmla="*/ 0 w 44879"/>
                <a:gd name="connsiteY9" fmla="*/ 0 h 58999"/>
                <a:gd name="connsiteX10" fmla="*/ 0 w 44879"/>
                <a:gd name="connsiteY10" fmla="*/ 58999 h 58999"/>
                <a:gd name="connsiteX11" fmla="*/ 44880 w 44879"/>
                <a:gd name="connsiteY11" fmla="*/ 58999 h 58999"/>
                <a:gd name="connsiteX12" fmla="*/ 44880 w 44879"/>
                <a:gd name="connsiteY12" fmla="*/ 0 h 58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4879" h="58999">
                  <a:moveTo>
                    <a:pt x="21683" y="46729"/>
                  </a:moveTo>
                  <a:lnTo>
                    <a:pt x="21683" y="33954"/>
                  </a:lnTo>
                  <a:lnTo>
                    <a:pt x="12691" y="33954"/>
                  </a:lnTo>
                  <a:lnTo>
                    <a:pt x="16641" y="17817"/>
                  </a:lnTo>
                  <a:lnTo>
                    <a:pt x="29499" y="17817"/>
                  </a:lnTo>
                  <a:lnTo>
                    <a:pt x="24457" y="28071"/>
                  </a:lnTo>
                  <a:lnTo>
                    <a:pt x="33281" y="28071"/>
                  </a:lnTo>
                  <a:lnTo>
                    <a:pt x="21683" y="46729"/>
                  </a:lnTo>
                  <a:close/>
                  <a:moveTo>
                    <a:pt x="44880" y="0"/>
                  </a:moveTo>
                  <a:lnTo>
                    <a:pt x="0" y="0"/>
                  </a:lnTo>
                  <a:lnTo>
                    <a:pt x="0" y="58999"/>
                  </a:lnTo>
                  <a:lnTo>
                    <a:pt x="44880" y="58999"/>
                  </a:lnTo>
                  <a:lnTo>
                    <a:pt x="44880" y="0"/>
                  </a:lnTo>
                  <a:close/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22" name="Freeform: Shape 421">
              <a:extLst>
                <a:ext uri="{FF2B5EF4-FFF2-40B4-BE49-F238E27FC236}">
                  <a16:creationId xmlns:a16="http://schemas.microsoft.com/office/drawing/2014/main" id="{BE57CA0D-FA24-C67B-FE90-17553CB3BC6E}"/>
                </a:ext>
              </a:extLst>
            </p:cNvPr>
            <p:cNvSpPr/>
            <p:nvPr/>
          </p:nvSpPr>
          <p:spPr>
            <a:xfrm>
              <a:off x="3260714" y="3370490"/>
              <a:ext cx="85388" cy="6723"/>
            </a:xfrm>
            <a:custGeom>
              <a:avLst/>
              <a:gdLst>
                <a:gd name="connsiteX0" fmla="*/ 0 w 85388"/>
                <a:gd name="connsiteY0" fmla="*/ 0 h 6723"/>
                <a:gd name="connsiteX1" fmla="*/ 85389 w 85388"/>
                <a:gd name="connsiteY1" fmla="*/ 0 h 6723"/>
                <a:gd name="connsiteX2" fmla="*/ 85389 w 85388"/>
                <a:gd name="connsiteY2" fmla="*/ 6724 h 6723"/>
                <a:gd name="connsiteX3" fmla="*/ 0 w 85388"/>
                <a:gd name="connsiteY3" fmla="*/ 6724 h 6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388" h="6723">
                  <a:moveTo>
                    <a:pt x="0" y="0"/>
                  </a:moveTo>
                  <a:lnTo>
                    <a:pt x="85389" y="0"/>
                  </a:lnTo>
                  <a:lnTo>
                    <a:pt x="85389" y="6724"/>
                  </a:lnTo>
                  <a:lnTo>
                    <a:pt x="0" y="6724"/>
                  </a:lnTo>
                  <a:close/>
                </a:path>
              </a:pathLst>
            </a:custGeom>
            <a:grpFill/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2F4F5F68-39D7-1372-EBD3-62CBCAE7F3A3}"/>
              </a:ext>
            </a:extLst>
          </p:cNvPr>
          <p:cNvGrpSpPr>
            <a:grpSpLocks/>
          </p:cNvGrpSpPr>
          <p:nvPr/>
        </p:nvGrpSpPr>
        <p:grpSpPr>
          <a:xfrm>
            <a:off x="545653" y="5341522"/>
            <a:ext cx="3990690" cy="749880"/>
            <a:chOff x="409239" y="4006140"/>
            <a:chExt cx="2993018" cy="562410"/>
          </a:xfrm>
        </p:grpSpPr>
        <p:grpSp>
          <p:nvGrpSpPr>
            <p:cNvPr id="483" name="Group 482">
              <a:extLst>
                <a:ext uri="{FF2B5EF4-FFF2-40B4-BE49-F238E27FC236}">
                  <a16:creationId xmlns:a16="http://schemas.microsoft.com/office/drawing/2014/main" id="{376376DA-A1F5-1442-92F3-D3CC7838C2D6}"/>
                </a:ext>
              </a:extLst>
            </p:cNvPr>
            <p:cNvGrpSpPr/>
            <p:nvPr/>
          </p:nvGrpSpPr>
          <p:grpSpPr>
            <a:xfrm>
              <a:off x="410584" y="4180726"/>
              <a:ext cx="83963" cy="111879"/>
              <a:chOff x="2265548" y="3068441"/>
              <a:chExt cx="71521" cy="95300"/>
            </a:xfrm>
          </p:grpSpPr>
          <p:sp>
            <p:nvSpPr>
              <p:cNvPr id="579" name="Freeform: Shape 894">
                <a:extLst>
                  <a:ext uri="{FF2B5EF4-FFF2-40B4-BE49-F238E27FC236}">
                    <a16:creationId xmlns:a16="http://schemas.microsoft.com/office/drawing/2014/main" id="{E3823F55-07F0-484E-ADE7-AD859F797538}"/>
                  </a:ext>
                </a:extLst>
              </p:cNvPr>
              <p:cNvSpPr/>
              <p:nvPr/>
            </p:nvSpPr>
            <p:spPr>
              <a:xfrm>
                <a:off x="2265548" y="3153152"/>
                <a:ext cx="66731" cy="10589"/>
              </a:xfrm>
              <a:custGeom>
                <a:avLst/>
                <a:gdLst>
                  <a:gd name="connsiteX0" fmla="*/ 62529 w 66731"/>
                  <a:gd name="connsiteY0" fmla="*/ 1513 h 10589"/>
                  <a:gd name="connsiteX1" fmla="*/ 61604 w 66731"/>
                  <a:gd name="connsiteY1" fmla="*/ 1933 h 10589"/>
                  <a:gd name="connsiteX2" fmla="*/ 55721 w 66731"/>
                  <a:gd name="connsiteY2" fmla="*/ 3530 h 10589"/>
                  <a:gd name="connsiteX3" fmla="*/ 49586 w 66731"/>
                  <a:gd name="connsiteY3" fmla="*/ 1681 h 10589"/>
                  <a:gd name="connsiteX4" fmla="*/ 49418 w 66731"/>
                  <a:gd name="connsiteY4" fmla="*/ 1597 h 10589"/>
                  <a:gd name="connsiteX5" fmla="*/ 44712 w 66731"/>
                  <a:gd name="connsiteY5" fmla="*/ 168 h 10589"/>
                  <a:gd name="connsiteX6" fmla="*/ 40005 w 66731"/>
                  <a:gd name="connsiteY6" fmla="*/ 1597 h 10589"/>
                  <a:gd name="connsiteX7" fmla="*/ 39837 w 66731"/>
                  <a:gd name="connsiteY7" fmla="*/ 1681 h 10589"/>
                  <a:gd name="connsiteX8" fmla="*/ 33702 w 66731"/>
                  <a:gd name="connsiteY8" fmla="*/ 3530 h 10589"/>
                  <a:gd name="connsiteX9" fmla="*/ 27567 w 66731"/>
                  <a:gd name="connsiteY9" fmla="*/ 1681 h 10589"/>
                  <a:gd name="connsiteX10" fmla="*/ 27398 w 66731"/>
                  <a:gd name="connsiteY10" fmla="*/ 1597 h 10589"/>
                  <a:gd name="connsiteX11" fmla="*/ 22692 w 66731"/>
                  <a:gd name="connsiteY11" fmla="*/ 168 h 10589"/>
                  <a:gd name="connsiteX12" fmla="*/ 17649 w 66731"/>
                  <a:gd name="connsiteY12" fmla="*/ 1513 h 10589"/>
                  <a:gd name="connsiteX13" fmla="*/ 11514 w 66731"/>
                  <a:gd name="connsiteY13" fmla="*/ 3362 h 10589"/>
                  <a:gd name="connsiteX14" fmla="*/ 5379 w 66731"/>
                  <a:gd name="connsiteY14" fmla="*/ 1513 h 10589"/>
                  <a:gd name="connsiteX15" fmla="*/ 5211 w 66731"/>
                  <a:gd name="connsiteY15" fmla="*/ 1429 h 10589"/>
                  <a:gd name="connsiteX16" fmla="*/ 588 w 66731"/>
                  <a:gd name="connsiteY16" fmla="*/ 0 h 10589"/>
                  <a:gd name="connsiteX17" fmla="*/ 0 w 66731"/>
                  <a:gd name="connsiteY17" fmla="*/ 0 h 10589"/>
                  <a:gd name="connsiteX18" fmla="*/ 0 w 66731"/>
                  <a:gd name="connsiteY18" fmla="*/ 7060 h 10589"/>
                  <a:gd name="connsiteX19" fmla="*/ 588 w 66731"/>
                  <a:gd name="connsiteY19" fmla="*/ 7060 h 10589"/>
                  <a:gd name="connsiteX20" fmla="*/ 3950 w 66731"/>
                  <a:gd name="connsiteY20" fmla="*/ 8237 h 10589"/>
                  <a:gd name="connsiteX21" fmla="*/ 4454 w 66731"/>
                  <a:gd name="connsiteY21" fmla="*/ 8489 h 10589"/>
                  <a:gd name="connsiteX22" fmla="*/ 11514 w 66731"/>
                  <a:gd name="connsiteY22" fmla="*/ 10590 h 10589"/>
                  <a:gd name="connsiteX23" fmla="*/ 19078 w 66731"/>
                  <a:gd name="connsiteY23" fmla="*/ 8237 h 10589"/>
                  <a:gd name="connsiteX24" fmla="*/ 19246 w 66731"/>
                  <a:gd name="connsiteY24" fmla="*/ 8153 h 10589"/>
                  <a:gd name="connsiteX25" fmla="*/ 22692 w 66731"/>
                  <a:gd name="connsiteY25" fmla="*/ 7060 h 10589"/>
                  <a:gd name="connsiteX26" fmla="*/ 26306 w 66731"/>
                  <a:gd name="connsiteY26" fmla="*/ 8237 h 10589"/>
                  <a:gd name="connsiteX27" fmla="*/ 26726 w 66731"/>
                  <a:gd name="connsiteY27" fmla="*/ 8489 h 10589"/>
                  <a:gd name="connsiteX28" fmla="*/ 33870 w 66731"/>
                  <a:gd name="connsiteY28" fmla="*/ 10590 h 10589"/>
                  <a:gd name="connsiteX29" fmla="*/ 41434 w 66731"/>
                  <a:gd name="connsiteY29" fmla="*/ 8237 h 10589"/>
                  <a:gd name="connsiteX30" fmla="*/ 41602 w 66731"/>
                  <a:gd name="connsiteY30" fmla="*/ 8153 h 10589"/>
                  <a:gd name="connsiteX31" fmla="*/ 45048 w 66731"/>
                  <a:gd name="connsiteY31" fmla="*/ 7060 h 10589"/>
                  <a:gd name="connsiteX32" fmla="*/ 48662 w 66731"/>
                  <a:gd name="connsiteY32" fmla="*/ 8237 h 10589"/>
                  <a:gd name="connsiteX33" fmla="*/ 49082 w 66731"/>
                  <a:gd name="connsiteY33" fmla="*/ 8489 h 10589"/>
                  <a:gd name="connsiteX34" fmla="*/ 56226 w 66731"/>
                  <a:gd name="connsiteY34" fmla="*/ 10590 h 10589"/>
                  <a:gd name="connsiteX35" fmla="*/ 63790 w 66731"/>
                  <a:gd name="connsiteY35" fmla="*/ 8237 h 10589"/>
                  <a:gd name="connsiteX36" fmla="*/ 66227 w 66731"/>
                  <a:gd name="connsiteY36" fmla="*/ 7144 h 10589"/>
                  <a:gd name="connsiteX37" fmla="*/ 66731 w 66731"/>
                  <a:gd name="connsiteY37" fmla="*/ 7060 h 10589"/>
                  <a:gd name="connsiteX38" fmla="*/ 66731 w 66731"/>
                  <a:gd name="connsiteY38" fmla="*/ 0 h 10589"/>
                  <a:gd name="connsiteX39" fmla="*/ 66059 w 66731"/>
                  <a:gd name="connsiteY39" fmla="*/ 84 h 10589"/>
                  <a:gd name="connsiteX40" fmla="*/ 62529 w 66731"/>
                  <a:gd name="connsiteY40" fmla="*/ 1513 h 10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66731" h="10589">
                    <a:moveTo>
                      <a:pt x="62529" y="1513"/>
                    </a:moveTo>
                    <a:cubicBezTo>
                      <a:pt x="62193" y="1681"/>
                      <a:pt x="61856" y="1849"/>
                      <a:pt x="61604" y="1933"/>
                    </a:cubicBezTo>
                    <a:cubicBezTo>
                      <a:pt x="60008" y="2689"/>
                      <a:pt x="58327" y="3530"/>
                      <a:pt x="55721" y="3530"/>
                    </a:cubicBezTo>
                    <a:cubicBezTo>
                      <a:pt x="52528" y="3530"/>
                      <a:pt x="51015" y="2522"/>
                      <a:pt x="49586" y="1681"/>
                    </a:cubicBezTo>
                    <a:lnTo>
                      <a:pt x="49418" y="1597"/>
                    </a:lnTo>
                    <a:cubicBezTo>
                      <a:pt x="48157" y="841"/>
                      <a:pt x="46981" y="168"/>
                      <a:pt x="44712" y="168"/>
                    </a:cubicBezTo>
                    <a:cubicBezTo>
                      <a:pt x="42442" y="168"/>
                      <a:pt x="41182" y="841"/>
                      <a:pt x="40005" y="1597"/>
                    </a:cubicBezTo>
                    <a:lnTo>
                      <a:pt x="39837" y="1681"/>
                    </a:lnTo>
                    <a:cubicBezTo>
                      <a:pt x="38492" y="2522"/>
                      <a:pt x="36895" y="3530"/>
                      <a:pt x="33702" y="3530"/>
                    </a:cubicBezTo>
                    <a:cubicBezTo>
                      <a:pt x="30508" y="3530"/>
                      <a:pt x="28911" y="2522"/>
                      <a:pt x="27567" y="1681"/>
                    </a:cubicBezTo>
                    <a:lnTo>
                      <a:pt x="27398" y="1597"/>
                    </a:lnTo>
                    <a:cubicBezTo>
                      <a:pt x="26138" y="841"/>
                      <a:pt x="24961" y="168"/>
                      <a:pt x="22692" y="168"/>
                    </a:cubicBezTo>
                    <a:cubicBezTo>
                      <a:pt x="20255" y="168"/>
                      <a:pt x="19078" y="757"/>
                      <a:pt x="17649" y="1513"/>
                    </a:cubicBezTo>
                    <a:cubicBezTo>
                      <a:pt x="16305" y="2353"/>
                      <a:pt x="14708" y="3362"/>
                      <a:pt x="11514" y="3362"/>
                    </a:cubicBezTo>
                    <a:cubicBezTo>
                      <a:pt x="8404" y="3362"/>
                      <a:pt x="6724" y="2353"/>
                      <a:pt x="5379" y="1513"/>
                    </a:cubicBezTo>
                    <a:lnTo>
                      <a:pt x="5211" y="1429"/>
                    </a:lnTo>
                    <a:cubicBezTo>
                      <a:pt x="3950" y="672"/>
                      <a:pt x="2773" y="0"/>
                      <a:pt x="588" y="0"/>
                    </a:cubicBezTo>
                    <a:lnTo>
                      <a:pt x="0" y="0"/>
                    </a:lnTo>
                    <a:lnTo>
                      <a:pt x="0" y="7060"/>
                    </a:lnTo>
                    <a:lnTo>
                      <a:pt x="588" y="7060"/>
                    </a:lnTo>
                    <a:cubicBezTo>
                      <a:pt x="2101" y="7060"/>
                      <a:pt x="2858" y="7480"/>
                      <a:pt x="3950" y="8237"/>
                    </a:cubicBezTo>
                    <a:lnTo>
                      <a:pt x="4454" y="8489"/>
                    </a:lnTo>
                    <a:cubicBezTo>
                      <a:pt x="5967" y="9329"/>
                      <a:pt x="8068" y="10590"/>
                      <a:pt x="11514" y="10590"/>
                    </a:cubicBezTo>
                    <a:cubicBezTo>
                      <a:pt x="15212" y="10590"/>
                      <a:pt x="17313" y="9413"/>
                      <a:pt x="19078" y="8237"/>
                    </a:cubicBezTo>
                    <a:lnTo>
                      <a:pt x="19246" y="8153"/>
                    </a:lnTo>
                    <a:cubicBezTo>
                      <a:pt x="20339" y="7480"/>
                      <a:pt x="21011" y="7060"/>
                      <a:pt x="22692" y="7060"/>
                    </a:cubicBezTo>
                    <a:cubicBezTo>
                      <a:pt x="24373" y="7060"/>
                      <a:pt x="25297" y="7564"/>
                      <a:pt x="26306" y="8237"/>
                    </a:cubicBezTo>
                    <a:lnTo>
                      <a:pt x="26726" y="8489"/>
                    </a:lnTo>
                    <a:cubicBezTo>
                      <a:pt x="28239" y="9329"/>
                      <a:pt x="30340" y="10590"/>
                      <a:pt x="33870" y="10590"/>
                    </a:cubicBezTo>
                    <a:cubicBezTo>
                      <a:pt x="37568" y="10590"/>
                      <a:pt x="39669" y="9413"/>
                      <a:pt x="41434" y="8237"/>
                    </a:cubicBezTo>
                    <a:lnTo>
                      <a:pt x="41602" y="8153"/>
                    </a:lnTo>
                    <a:cubicBezTo>
                      <a:pt x="42694" y="7480"/>
                      <a:pt x="43367" y="7060"/>
                      <a:pt x="45048" y="7060"/>
                    </a:cubicBezTo>
                    <a:cubicBezTo>
                      <a:pt x="46729" y="7060"/>
                      <a:pt x="47653" y="7564"/>
                      <a:pt x="48662" y="8237"/>
                    </a:cubicBezTo>
                    <a:lnTo>
                      <a:pt x="49082" y="8489"/>
                    </a:lnTo>
                    <a:cubicBezTo>
                      <a:pt x="50595" y="9329"/>
                      <a:pt x="52696" y="10590"/>
                      <a:pt x="56226" y="10590"/>
                    </a:cubicBezTo>
                    <a:cubicBezTo>
                      <a:pt x="59923" y="10590"/>
                      <a:pt x="62025" y="9413"/>
                      <a:pt x="63790" y="8237"/>
                    </a:cubicBezTo>
                    <a:cubicBezTo>
                      <a:pt x="64630" y="7648"/>
                      <a:pt x="65302" y="7228"/>
                      <a:pt x="66227" y="7144"/>
                    </a:cubicBezTo>
                    <a:lnTo>
                      <a:pt x="66731" y="7060"/>
                    </a:lnTo>
                    <a:lnTo>
                      <a:pt x="66731" y="0"/>
                    </a:lnTo>
                    <a:lnTo>
                      <a:pt x="66059" y="84"/>
                    </a:lnTo>
                    <a:cubicBezTo>
                      <a:pt x="64546" y="337"/>
                      <a:pt x="63537" y="841"/>
                      <a:pt x="62529" y="1513"/>
                    </a:cubicBezTo>
                  </a:path>
                </a:pathLst>
              </a:custGeom>
              <a:solidFill>
                <a:srgbClr val="3B4956"/>
              </a:solidFill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467"/>
              </a:p>
            </p:txBody>
          </p:sp>
          <p:sp>
            <p:nvSpPr>
              <p:cNvPr id="580" name="Freeform: Shape 895">
                <a:extLst>
                  <a:ext uri="{FF2B5EF4-FFF2-40B4-BE49-F238E27FC236}">
                    <a16:creationId xmlns:a16="http://schemas.microsoft.com/office/drawing/2014/main" id="{6F8130D7-C69F-974F-ABE1-561DDF2D7CA6}"/>
                  </a:ext>
                </a:extLst>
              </p:cNvPr>
              <p:cNvSpPr/>
              <p:nvPr/>
            </p:nvSpPr>
            <p:spPr>
              <a:xfrm>
                <a:off x="2294459" y="3101465"/>
                <a:ext cx="8908" cy="8908"/>
              </a:xfrm>
              <a:custGeom>
                <a:avLst/>
                <a:gdLst>
                  <a:gd name="connsiteX0" fmla="*/ 8909 w 8908"/>
                  <a:gd name="connsiteY0" fmla="*/ 4454 h 8908"/>
                  <a:gd name="connsiteX1" fmla="*/ 4454 w 8908"/>
                  <a:gd name="connsiteY1" fmla="*/ 8909 h 8908"/>
                  <a:gd name="connsiteX2" fmla="*/ 0 w 8908"/>
                  <a:gd name="connsiteY2" fmla="*/ 4454 h 8908"/>
                  <a:gd name="connsiteX3" fmla="*/ 4454 w 8908"/>
                  <a:gd name="connsiteY3" fmla="*/ 0 h 8908"/>
                  <a:gd name="connsiteX4" fmla="*/ 8909 w 8908"/>
                  <a:gd name="connsiteY4" fmla="*/ 4454 h 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8">
                    <a:moveTo>
                      <a:pt x="8909" y="4454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4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1933"/>
                      <a:pt x="8909" y="4454"/>
                    </a:cubicBezTo>
                  </a:path>
                </a:pathLst>
              </a:custGeom>
              <a:solidFill>
                <a:srgbClr val="3B4956"/>
              </a:solidFill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467"/>
              </a:p>
            </p:txBody>
          </p:sp>
          <p:sp>
            <p:nvSpPr>
              <p:cNvPr id="581" name="Freeform: Shape 896">
                <a:extLst>
                  <a:ext uri="{FF2B5EF4-FFF2-40B4-BE49-F238E27FC236}">
                    <a16:creationId xmlns:a16="http://schemas.microsoft.com/office/drawing/2014/main" id="{164F8EA9-B849-3F4A-B728-E32A7D8AFD28}"/>
                  </a:ext>
                </a:extLst>
              </p:cNvPr>
              <p:cNvSpPr/>
              <p:nvPr/>
            </p:nvSpPr>
            <p:spPr>
              <a:xfrm>
                <a:off x="2287231" y="3068441"/>
                <a:ext cx="14623" cy="29573"/>
              </a:xfrm>
              <a:custGeom>
                <a:avLst/>
                <a:gdLst>
                  <a:gd name="connsiteX0" fmla="*/ 0 w 14623"/>
                  <a:gd name="connsiteY0" fmla="*/ 163 h 29573"/>
                  <a:gd name="connsiteX1" fmla="*/ 4370 w 14623"/>
                  <a:gd name="connsiteY1" fmla="*/ 22519 h 29573"/>
                  <a:gd name="connsiteX2" fmla="*/ 14624 w 14623"/>
                  <a:gd name="connsiteY2" fmla="*/ 29410 h 29573"/>
                  <a:gd name="connsiteX3" fmla="*/ 10253 w 14623"/>
                  <a:gd name="connsiteY3" fmla="*/ 7054 h 29573"/>
                  <a:gd name="connsiteX4" fmla="*/ 0 w 14623"/>
                  <a:gd name="connsiteY4" fmla="*/ 163 h 29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3">
                    <a:moveTo>
                      <a:pt x="0" y="163"/>
                    </a:moveTo>
                    <a:lnTo>
                      <a:pt x="4370" y="22519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solidFill>
                <a:srgbClr val="3B4956"/>
              </a:solidFill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467"/>
              </a:p>
            </p:txBody>
          </p:sp>
          <p:sp>
            <p:nvSpPr>
              <p:cNvPr id="582" name="Freeform: Shape 897">
                <a:extLst>
                  <a:ext uri="{FF2B5EF4-FFF2-40B4-BE49-F238E27FC236}">
                    <a16:creationId xmlns:a16="http://schemas.microsoft.com/office/drawing/2014/main" id="{73ABCC98-DB92-184C-A2A2-F044C245F98B}"/>
                  </a:ext>
                </a:extLst>
              </p:cNvPr>
              <p:cNvSpPr/>
              <p:nvPr/>
            </p:nvSpPr>
            <p:spPr>
              <a:xfrm>
                <a:off x="2270285" y="3107348"/>
                <a:ext cx="22294" cy="27397"/>
              </a:xfrm>
              <a:custGeom>
                <a:avLst/>
                <a:gdLst>
                  <a:gd name="connsiteX0" fmla="*/ 2154 w 22294"/>
                  <a:gd name="connsiteY0" fmla="*/ 27398 h 27397"/>
                  <a:gd name="connsiteX1" fmla="*/ 19299 w 22294"/>
                  <a:gd name="connsiteY1" fmla="*/ 12354 h 27397"/>
                  <a:gd name="connsiteX2" fmla="*/ 20140 w 22294"/>
                  <a:gd name="connsiteY2" fmla="*/ 0 h 27397"/>
                  <a:gd name="connsiteX3" fmla="*/ 2995 w 22294"/>
                  <a:gd name="connsiteY3" fmla="*/ 14960 h 27397"/>
                  <a:gd name="connsiteX4" fmla="*/ 2154 w 22294"/>
                  <a:gd name="connsiteY4" fmla="*/ 27398 h 27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7">
                    <a:moveTo>
                      <a:pt x="2154" y="27398"/>
                    </a:moveTo>
                    <a:lnTo>
                      <a:pt x="19299" y="12354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7"/>
                      <a:pt x="-1039" y="23784"/>
                      <a:pt x="2154" y="27398"/>
                    </a:cubicBezTo>
                  </a:path>
                </a:pathLst>
              </a:custGeom>
              <a:solidFill>
                <a:srgbClr val="3B4956"/>
              </a:solidFill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467"/>
              </a:p>
            </p:txBody>
          </p:sp>
          <p:sp>
            <p:nvSpPr>
              <p:cNvPr id="583" name="Freeform: Shape 898">
                <a:extLst>
                  <a:ext uri="{FF2B5EF4-FFF2-40B4-BE49-F238E27FC236}">
                    <a16:creationId xmlns:a16="http://schemas.microsoft.com/office/drawing/2014/main" id="{2D9EAA6F-AAA4-E44B-84F1-A2F7CD4F313C}"/>
                  </a:ext>
                </a:extLst>
              </p:cNvPr>
              <p:cNvSpPr/>
              <p:nvPr/>
            </p:nvSpPr>
            <p:spPr>
              <a:xfrm>
                <a:off x="2304376" y="3106564"/>
                <a:ext cx="32693" cy="13670"/>
              </a:xfrm>
              <a:custGeom>
                <a:avLst/>
                <a:gdLst>
                  <a:gd name="connsiteX0" fmla="*/ 32693 w 32693"/>
                  <a:gd name="connsiteY0" fmla="*/ 7676 h 13670"/>
                  <a:gd name="connsiteX1" fmla="*/ 11094 w 32693"/>
                  <a:gd name="connsiteY1" fmla="*/ 448 h 13670"/>
                  <a:gd name="connsiteX2" fmla="*/ 0 w 32693"/>
                  <a:gd name="connsiteY2" fmla="*/ 5995 h 13670"/>
                  <a:gd name="connsiteX3" fmla="*/ 21599 w 32693"/>
                  <a:gd name="connsiteY3" fmla="*/ 13223 h 13670"/>
                  <a:gd name="connsiteX4" fmla="*/ 32693 w 32693"/>
                  <a:gd name="connsiteY4" fmla="*/ 7676 h 13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70">
                    <a:moveTo>
                      <a:pt x="32693" y="7676"/>
                    </a:moveTo>
                    <a:lnTo>
                      <a:pt x="11094" y="448"/>
                    </a:lnTo>
                    <a:cubicBezTo>
                      <a:pt x="6555" y="-1065"/>
                      <a:pt x="1513" y="1373"/>
                      <a:pt x="0" y="5995"/>
                    </a:cubicBezTo>
                    <a:lnTo>
                      <a:pt x="21599" y="13223"/>
                    </a:lnTo>
                    <a:cubicBezTo>
                      <a:pt x="26222" y="14735"/>
                      <a:pt x="31180" y="12298"/>
                      <a:pt x="32693" y="7676"/>
                    </a:cubicBezTo>
                  </a:path>
                </a:pathLst>
              </a:custGeom>
              <a:solidFill>
                <a:srgbClr val="3B4956"/>
              </a:solidFill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467"/>
              </a:p>
            </p:txBody>
          </p:sp>
          <p:sp>
            <p:nvSpPr>
              <p:cNvPr id="584" name="Freeform: Shape 899">
                <a:extLst>
                  <a:ext uri="{FF2B5EF4-FFF2-40B4-BE49-F238E27FC236}">
                    <a16:creationId xmlns:a16="http://schemas.microsoft.com/office/drawing/2014/main" id="{9E66B12D-86F1-4746-B598-A07DA23069F1}"/>
                  </a:ext>
                </a:extLst>
              </p:cNvPr>
              <p:cNvSpPr/>
              <p:nvPr/>
            </p:nvSpPr>
            <p:spPr>
              <a:xfrm>
                <a:off x="2293114" y="3114975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3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3"/>
                      <a:pt x="420" y="21872"/>
                      <a:pt x="0" y="33555"/>
                    </a:cubicBezTo>
                    <a:cubicBezTo>
                      <a:pt x="1765" y="34984"/>
                      <a:pt x="3782" y="36076"/>
                      <a:pt x="5799" y="36076"/>
                    </a:cubicBezTo>
                  </a:path>
                </a:pathLst>
              </a:custGeom>
              <a:solidFill>
                <a:srgbClr val="3B4956"/>
              </a:solidFill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467"/>
              </a:p>
            </p:txBody>
          </p:sp>
        </p:grpSp>
        <p:grpSp>
          <p:nvGrpSpPr>
            <p:cNvPr id="484" name="Group 483">
              <a:extLst>
                <a:ext uri="{FF2B5EF4-FFF2-40B4-BE49-F238E27FC236}">
                  <a16:creationId xmlns:a16="http://schemas.microsoft.com/office/drawing/2014/main" id="{AF2F75EE-E7E3-FC43-B966-A4D360C53222}"/>
                </a:ext>
              </a:extLst>
            </p:cNvPr>
            <p:cNvGrpSpPr/>
            <p:nvPr/>
          </p:nvGrpSpPr>
          <p:grpSpPr>
            <a:xfrm>
              <a:off x="416851" y="4317699"/>
              <a:ext cx="83963" cy="111879"/>
              <a:chOff x="2265548" y="3181564"/>
              <a:chExt cx="71521" cy="95300"/>
            </a:xfrm>
          </p:grpSpPr>
          <p:sp>
            <p:nvSpPr>
              <p:cNvPr id="573" name="Freeform: Shape 888">
                <a:extLst>
                  <a:ext uri="{FF2B5EF4-FFF2-40B4-BE49-F238E27FC236}">
                    <a16:creationId xmlns:a16="http://schemas.microsoft.com/office/drawing/2014/main" id="{C05B666B-F06A-3548-B665-5EA20593D419}"/>
                  </a:ext>
                </a:extLst>
              </p:cNvPr>
              <p:cNvSpPr/>
              <p:nvPr/>
            </p:nvSpPr>
            <p:spPr>
              <a:xfrm>
                <a:off x="2294459" y="3214588"/>
                <a:ext cx="8908" cy="8909"/>
              </a:xfrm>
              <a:custGeom>
                <a:avLst/>
                <a:gdLst>
                  <a:gd name="connsiteX0" fmla="*/ 8909 w 8908"/>
                  <a:gd name="connsiteY0" fmla="*/ 4455 h 8909"/>
                  <a:gd name="connsiteX1" fmla="*/ 4454 w 8908"/>
                  <a:gd name="connsiteY1" fmla="*/ 8909 h 8909"/>
                  <a:gd name="connsiteX2" fmla="*/ 0 w 8908"/>
                  <a:gd name="connsiteY2" fmla="*/ 4455 h 8909"/>
                  <a:gd name="connsiteX3" fmla="*/ 4454 w 8908"/>
                  <a:gd name="connsiteY3" fmla="*/ 0 h 8909"/>
                  <a:gd name="connsiteX4" fmla="*/ 8909 w 8908"/>
                  <a:gd name="connsiteY4" fmla="*/ 4455 h 8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908" h="8909">
                    <a:moveTo>
                      <a:pt x="8909" y="4455"/>
                    </a:moveTo>
                    <a:cubicBezTo>
                      <a:pt x="8909" y="6892"/>
                      <a:pt x="6892" y="8909"/>
                      <a:pt x="4454" y="8909"/>
                    </a:cubicBezTo>
                    <a:cubicBezTo>
                      <a:pt x="2017" y="8909"/>
                      <a:pt x="0" y="6892"/>
                      <a:pt x="0" y="4455"/>
                    </a:cubicBezTo>
                    <a:cubicBezTo>
                      <a:pt x="0" y="1933"/>
                      <a:pt x="2017" y="0"/>
                      <a:pt x="4454" y="0"/>
                    </a:cubicBezTo>
                    <a:cubicBezTo>
                      <a:pt x="6892" y="0"/>
                      <a:pt x="8909" y="2017"/>
                      <a:pt x="8909" y="4455"/>
                    </a:cubicBezTo>
                  </a:path>
                </a:pathLst>
              </a:custGeom>
              <a:solidFill>
                <a:srgbClr val="3B4956"/>
              </a:solidFill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467"/>
              </a:p>
            </p:txBody>
          </p:sp>
          <p:sp>
            <p:nvSpPr>
              <p:cNvPr id="574" name="Freeform: Shape 889">
                <a:extLst>
                  <a:ext uri="{FF2B5EF4-FFF2-40B4-BE49-F238E27FC236}">
                    <a16:creationId xmlns:a16="http://schemas.microsoft.com/office/drawing/2014/main" id="{53588A91-30BA-FB43-A5A5-31ACF3E26AB0}"/>
                  </a:ext>
                </a:extLst>
              </p:cNvPr>
              <p:cNvSpPr/>
              <p:nvPr/>
            </p:nvSpPr>
            <p:spPr>
              <a:xfrm>
                <a:off x="2287231" y="3181564"/>
                <a:ext cx="14623" cy="29572"/>
              </a:xfrm>
              <a:custGeom>
                <a:avLst/>
                <a:gdLst>
                  <a:gd name="connsiteX0" fmla="*/ 0 w 14623"/>
                  <a:gd name="connsiteY0" fmla="*/ 163 h 29572"/>
                  <a:gd name="connsiteX1" fmla="*/ 4370 w 14623"/>
                  <a:gd name="connsiteY1" fmla="*/ 22518 h 29572"/>
                  <a:gd name="connsiteX2" fmla="*/ 14624 w 14623"/>
                  <a:gd name="connsiteY2" fmla="*/ 29410 h 29572"/>
                  <a:gd name="connsiteX3" fmla="*/ 10253 w 14623"/>
                  <a:gd name="connsiteY3" fmla="*/ 7054 h 29572"/>
                  <a:gd name="connsiteX4" fmla="*/ 0 w 14623"/>
                  <a:gd name="connsiteY4" fmla="*/ 163 h 29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3" h="29572">
                    <a:moveTo>
                      <a:pt x="0" y="163"/>
                    </a:moveTo>
                    <a:lnTo>
                      <a:pt x="4370" y="22518"/>
                    </a:lnTo>
                    <a:cubicBezTo>
                      <a:pt x="5295" y="27225"/>
                      <a:pt x="9917" y="30335"/>
                      <a:pt x="14624" y="29410"/>
                    </a:cubicBezTo>
                    <a:lnTo>
                      <a:pt x="10253" y="7054"/>
                    </a:lnTo>
                    <a:cubicBezTo>
                      <a:pt x="9413" y="2348"/>
                      <a:pt x="4791" y="-762"/>
                      <a:pt x="0" y="163"/>
                    </a:cubicBezTo>
                  </a:path>
                </a:pathLst>
              </a:custGeom>
              <a:solidFill>
                <a:srgbClr val="3B4956"/>
              </a:solidFill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467"/>
              </a:p>
            </p:txBody>
          </p:sp>
          <p:sp>
            <p:nvSpPr>
              <p:cNvPr id="575" name="Freeform: Shape 890">
                <a:extLst>
                  <a:ext uri="{FF2B5EF4-FFF2-40B4-BE49-F238E27FC236}">
                    <a16:creationId xmlns:a16="http://schemas.microsoft.com/office/drawing/2014/main" id="{3356DDF7-E644-9342-A0C2-F1D3B80A181B}"/>
                  </a:ext>
                </a:extLst>
              </p:cNvPr>
              <p:cNvSpPr/>
              <p:nvPr/>
            </p:nvSpPr>
            <p:spPr>
              <a:xfrm>
                <a:off x="2270285" y="3220471"/>
                <a:ext cx="22294" cy="27398"/>
              </a:xfrm>
              <a:custGeom>
                <a:avLst/>
                <a:gdLst>
                  <a:gd name="connsiteX0" fmla="*/ 2154 w 22294"/>
                  <a:gd name="connsiteY0" fmla="*/ 27398 h 27398"/>
                  <a:gd name="connsiteX1" fmla="*/ 19299 w 22294"/>
                  <a:gd name="connsiteY1" fmla="*/ 12355 h 27398"/>
                  <a:gd name="connsiteX2" fmla="*/ 20140 w 22294"/>
                  <a:gd name="connsiteY2" fmla="*/ 0 h 27398"/>
                  <a:gd name="connsiteX3" fmla="*/ 2995 w 22294"/>
                  <a:gd name="connsiteY3" fmla="*/ 14960 h 27398"/>
                  <a:gd name="connsiteX4" fmla="*/ 2154 w 22294"/>
                  <a:gd name="connsiteY4" fmla="*/ 27398 h 27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294" h="27398">
                    <a:moveTo>
                      <a:pt x="2154" y="27398"/>
                    </a:moveTo>
                    <a:lnTo>
                      <a:pt x="19299" y="12355"/>
                    </a:lnTo>
                    <a:cubicBezTo>
                      <a:pt x="22913" y="9161"/>
                      <a:pt x="23334" y="3614"/>
                      <a:pt x="20140" y="0"/>
                    </a:cubicBezTo>
                    <a:lnTo>
                      <a:pt x="2995" y="14960"/>
                    </a:lnTo>
                    <a:cubicBezTo>
                      <a:pt x="-619" y="18238"/>
                      <a:pt x="-1039" y="23785"/>
                      <a:pt x="2154" y="27398"/>
                    </a:cubicBezTo>
                  </a:path>
                </a:pathLst>
              </a:custGeom>
              <a:solidFill>
                <a:srgbClr val="3B4956"/>
              </a:solidFill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467"/>
              </a:p>
            </p:txBody>
          </p:sp>
          <p:sp>
            <p:nvSpPr>
              <p:cNvPr id="576" name="Freeform: Shape 891">
                <a:extLst>
                  <a:ext uri="{FF2B5EF4-FFF2-40B4-BE49-F238E27FC236}">
                    <a16:creationId xmlns:a16="http://schemas.microsoft.com/office/drawing/2014/main" id="{4976F02D-C432-F344-BA22-CDD22DFF48AF}"/>
                  </a:ext>
                </a:extLst>
              </p:cNvPr>
              <p:cNvSpPr/>
              <p:nvPr/>
            </p:nvSpPr>
            <p:spPr>
              <a:xfrm>
                <a:off x="2304376" y="3219772"/>
                <a:ext cx="32693" cy="13662"/>
              </a:xfrm>
              <a:custGeom>
                <a:avLst/>
                <a:gdLst>
                  <a:gd name="connsiteX0" fmla="*/ 32693 w 32693"/>
                  <a:gd name="connsiteY0" fmla="*/ 7675 h 13662"/>
                  <a:gd name="connsiteX1" fmla="*/ 11094 w 32693"/>
                  <a:gd name="connsiteY1" fmla="*/ 448 h 13662"/>
                  <a:gd name="connsiteX2" fmla="*/ 0 w 32693"/>
                  <a:gd name="connsiteY2" fmla="*/ 5994 h 13662"/>
                  <a:gd name="connsiteX3" fmla="*/ 21599 w 32693"/>
                  <a:gd name="connsiteY3" fmla="*/ 13222 h 13662"/>
                  <a:gd name="connsiteX4" fmla="*/ 32693 w 32693"/>
                  <a:gd name="connsiteY4" fmla="*/ 7675 h 13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693" h="13662">
                    <a:moveTo>
                      <a:pt x="32693" y="7675"/>
                    </a:moveTo>
                    <a:lnTo>
                      <a:pt x="11094" y="448"/>
                    </a:lnTo>
                    <a:cubicBezTo>
                      <a:pt x="6555" y="-1065"/>
                      <a:pt x="1513" y="1372"/>
                      <a:pt x="0" y="5994"/>
                    </a:cubicBezTo>
                    <a:lnTo>
                      <a:pt x="21599" y="13222"/>
                    </a:lnTo>
                    <a:cubicBezTo>
                      <a:pt x="26222" y="14735"/>
                      <a:pt x="31180" y="12214"/>
                      <a:pt x="32693" y="7675"/>
                    </a:cubicBezTo>
                  </a:path>
                </a:pathLst>
              </a:custGeom>
              <a:solidFill>
                <a:srgbClr val="3B4956"/>
              </a:solidFill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467"/>
              </a:p>
            </p:txBody>
          </p:sp>
          <p:sp>
            <p:nvSpPr>
              <p:cNvPr id="577" name="Freeform: Shape 892">
                <a:extLst>
                  <a:ext uri="{FF2B5EF4-FFF2-40B4-BE49-F238E27FC236}">
                    <a16:creationId xmlns:a16="http://schemas.microsoft.com/office/drawing/2014/main" id="{12B67637-B725-9144-92CB-A614A1E3378E}"/>
                  </a:ext>
                </a:extLst>
              </p:cNvPr>
              <p:cNvSpPr/>
              <p:nvPr/>
            </p:nvSpPr>
            <p:spPr>
              <a:xfrm>
                <a:off x="2293114" y="3228099"/>
                <a:ext cx="11514" cy="36075"/>
              </a:xfrm>
              <a:custGeom>
                <a:avLst/>
                <a:gdLst>
                  <a:gd name="connsiteX0" fmla="*/ 5799 w 11514"/>
                  <a:gd name="connsiteY0" fmla="*/ 36076 h 36075"/>
                  <a:gd name="connsiteX1" fmla="*/ 11514 w 11514"/>
                  <a:gd name="connsiteY1" fmla="*/ 33807 h 36075"/>
                  <a:gd name="connsiteX2" fmla="*/ 9497 w 11514"/>
                  <a:gd name="connsiteY2" fmla="*/ 3467 h 36075"/>
                  <a:gd name="connsiteX3" fmla="*/ 2017 w 11514"/>
                  <a:gd name="connsiteY3" fmla="*/ 3467 h 36075"/>
                  <a:gd name="connsiteX4" fmla="*/ 0 w 11514"/>
                  <a:gd name="connsiteY4" fmla="*/ 33555 h 36075"/>
                  <a:gd name="connsiteX5" fmla="*/ 5799 w 11514"/>
                  <a:gd name="connsiteY5" fmla="*/ 36076 h 3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14" h="36075">
                    <a:moveTo>
                      <a:pt x="5799" y="36076"/>
                    </a:moveTo>
                    <a:cubicBezTo>
                      <a:pt x="7732" y="36076"/>
                      <a:pt x="9749" y="35320"/>
                      <a:pt x="11514" y="33807"/>
                    </a:cubicBezTo>
                    <a:cubicBezTo>
                      <a:pt x="11094" y="22041"/>
                      <a:pt x="10253" y="6492"/>
                      <a:pt x="9497" y="3467"/>
                    </a:cubicBezTo>
                    <a:cubicBezTo>
                      <a:pt x="8320" y="-1156"/>
                      <a:pt x="3194" y="-1156"/>
                      <a:pt x="2017" y="3467"/>
                    </a:cubicBezTo>
                    <a:cubicBezTo>
                      <a:pt x="1261" y="6492"/>
                      <a:pt x="420" y="21872"/>
                      <a:pt x="0" y="33555"/>
                    </a:cubicBezTo>
                    <a:cubicBezTo>
                      <a:pt x="1765" y="35067"/>
                      <a:pt x="3782" y="36076"/>
                      <a:pt x="5799" y="36076"/>
                    </a:cubicBezTo>
                  </a:path>
                </a:pathLst>
              </a:custGeom>
              <a:solidFill>
                <a:srgbClr val="3B4956"/>
              </a:solidFill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467"/>
              </a:p>
            </p:txBody>
          </p:sp>
          <p:sp>
            <p:nvSpPr>
              <p:cNvPr id="578" name="Freeform: Shape 893">
                <a:extLst>
                  <a:ext uri="{FF2B5EF4-FFF2-40B4-BE49-F238E27FC236}">
                    <a16:creationId xmlns:a16="http://schemas.microsoft.com/office/drawing/2014/main" id="{7755045B-BC86-6642-97FC-E2D139CE3A89}"/>
                  </a:ext>
                </a:extLst>
              </p:cNvPr>
              <p:cNvSpPr/>
              <p:nvPr/>
            </p:nvSpPr>
            <p:spPr>
              <a:xfrm>
                <a:off x="2265548" y="3269721"/>
                <a:ext cx="66646" cy="7143"/>
              </a:xfrm>
              <a:custGeom>
                <a:avLst/>
                <a:gdLst>
                  <a:gd name="connsiteX0" fmla="*/ 0 w 66646"/>
                  <a:gd name="connsiteY0" fmla="*/ 0 h 7143"/>
                  <a:gd name="connsiteX1" fmla="*/ 66647 w 66646"/>
                  <a:gd name="connsiteY1" fmla="*/ 0 h 7143"/>
                  <a:gd name="connsiteX2" fmla="*/ 66647 w 66646"/>
                  <a:gd name="connsiteY2" fmla="*/ 7144 h 7143"/>
                  <a:gd name="connsiteX3" fmla="*/ 0 w 66646"/>
                  <a:gd name="connsiteY3" fmla="*/ 7144 h 7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646" h="7143">
                    <a:moveTo>
                      <a:pt x="0" y="0"/>
                    </a:moveTo>
                    <a:lnTo>
                      <a:pt x="66647" y="0"/>
                    </a:lnTo>
                    <a:lnTo>
                      <a:pt x="66647" y="7144"/>
                    </a:lnTo>
                    <a:lnTo>
                      <a:pt x="0" y="7144"/>
                    </a:lnTo>
                    <a:close/>
                  </a:path>
                </a:pathLst>
              </a:custGeom>
              <a:solidFill>
                <a:srgbClr val="3B4956"/>
              </a:solidFill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467"/>
              </a:p>
            </p:txBody>
          </p:sp>
        </p:grpSp>
        <p:sp>
          <p:nvSpPr>
            <p:cNvPr id="487" name="Freeform: Shape 839">
              <a:extLst>
                <a:ext uri="{FF2B5EF4-FFF2-40B4-BE49-F238E27FC236}">
                  <a16:creationId xmlns:a16="http://schemas.microsoft.com/office/drawing/2014/main" id="{6F94DDAB-46AC-B64E-AADF-CD185A35B9BB}"/>
                </a:ext>
              </a:extLst>
            </p:cNvPr>
            <p:cNvSpPr/>
            <p:nvPr/>
          </p:nvSpPr>
          <p:spPr>
            <a:xfrm>
              <a:off x="1539067" y="4344768"/>
              <a:ext cx="83963" cy="83963"/>
            </a:xfrm>
            <a:custGeom>
              <a:avLst/>
              <a:gdLst>
                <a:gd name="connsiteX0" fmla="*/ 0 w 71521"/>
                <a:gd name="connsiteY0" fmla="*/ 20003 h 71521"/>
                <a:gd name="connsiteX1" fmla="*/ 16220 w 71521"/>
                <a:gd name="connsiteY1" fmla="*/ 7480 h 71521"/>
                <a:gd name="connsiteX2" fmla="*/ 16220 w 71521"/>
                <a:gd name="connsiteY2" fmla="*/ 84 h 71521"/>
                <a:gd name="connsiteX3" fmla="*/ 0 w 71521"/>
                <a:gd name="connsiteY3" fmla="*/ 84 h 71521"/>
                <a:gd name="connsiteX4" fmla="*/ 0 w 71521"/>
                <a:gd name="connsiteY4" fmla="*/ 20003 h 71521"/>
                <a:gd name="connsiteX5" fmla="*/ 62109 w 71521"/>
                <a:gd name="connsiteY5" fmla="*/ 62108 h 71521"/>
                <a:gd name="connsiteX6" fmla="*/ 52696 w 71521"/>
                <a:gd name="connsiteY6" fmla="*/ 62108 h 71521"/>
                <a:gd name="connsiteX7" fmla="*/ 52696 w 71521"/>
                <a:gd name="connsiteY7" fmla="*/ 52695 h 71521"/>
                <a:gd name="connsiteX8" fmla="*/ 62109 w 71521"/>
                <a:gd name="connsiteY8" fmla="*/ 52695 h 71521"/>
                <a:gd name="connsiteX9" fmla="*/ 62109 w 71521"/>
                <a:gd name="connsiteY9" fmla="*/ 62108 h 71521"/>
                <a:gd name="connsiteX10" fmla="*/ 62109 w 71521"/>
                <a:gd name="connsiteY10" fmla="*/ 45636 h 71521"/>
                <a:gd name="connsiteX11" fmla="*/ 52696 w 71521"/>
                <a:gd name="connsiteY11" fmla="*/ 45636 h 71521"/>
                <a:gd name="connsiteX12" fmla="*/ 52696 w 71521"/>
                <a:gd name="connsiteY12" fmla="*/ 36223 h 71521"/>
                <a:gd name="connsiteX13" fmla="*/ 62109 w 71521"/>
                <a:gd name="connsiteY13" fmla="*/ 36223 h 71521"/>
                <a:gd name="connsiteX14" fmla="*/ 62109 w 71521"/>
                <a:gd name="connsiteY14" fmla="*/ 45636 h 71521"/>
                <a:gd name="connsiteX15" fmla="*/ 45636 w 71521"/>
                <a:gd name="connsiteY15" fmla="*/ 62108 h 71521"/>
                <a:gd name="connsiteX16" fmla="*/ 36223 w 71521"/>
                <a:gd name="connsiteY16" fmla="*/ 62108 h 71521"/>
                <a:gd name="connsiteX17" fmla="*/ 36223 w 71521"/>
                <a:gd name="connsiteY17" fmla="*/ 52695 h 71521"/>
                <a:gd name="connsiteX18" fmla="*/ 45636 w 71521"/>
                <a:gd name="connsiteY18" fmla="*/ 52695 h 71521"/>
                <a:gd name="connsiteX19" fmla="*/ 45636 w 71521"/>
                <a:gd name="connsiteY19" fmla="*/ 62108 h 71521"/>
                <a:gd name="connsiteX20" fmla="*/ 45636 w 71521"/>
                <a:gd name="connsiteY20" fmla="*/ 45636 h 71521"/>
                <a:gd name="connsiteX21" fmla="*/ 36223 w 71521"/>
                <a:gd name="connsiteY21" fmla="*/ 45636 h 71521"/>
                <a:gd name="connsiteX22" fmla="*/ 36223 w 71521"/>
                <a:gd name="connsiteY22" fmla="*/ 36223 h 71521"/>
                <a:gd name="connsiteX23" fmla="*/ 45636 w 71521"/>
                <a:gd name="connsiteY23" fmla="*/ 36223 h 71521"/>
                <a:gd name="connsiteX24" fmla="*/ 45636 w 71521"/>
                <a:gd name="connsiteY24" fmla="*/ 45636 h 71521"/>
                <a:gd name="connsiteX25" fmla="*/ 71522 w 71521"/>
                <a:gd name="connsiteY25" fmla="*/ 71521 h 71521"/>
                <a:gd name="connsiteX26" fmla="*/ 71522 w 71521"/>
                <a:gd name="connsiteY26" fmla="*/ 27650 h 71521"/>
                <a:gd name="connsiteX27" fmla="*/ 35803 w 71521"/>
                <a:gd name="connsiteY27" fmla="*/ 0 h 71521"/>
                <a:gd name="connsiteX28" fmla="*/ 84 w 71521"/>
                <a:gd name="connsiteY28" fmla="*/ 27650 h 71521"/>
                <a:gd name="connsiteX29" fmla="*/ 84 w 71521"/>
                <a:gd name="connsiteY29" fmla="*/ 71521 h 71521"/>
                <a:gd name="connsiteX30" fmla="*/ 71522 w 71521"/>
                <a:gd name="connsiteY30" fmla="*/ 71521 h 71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71521" h="71521">
                  <a:moveTo>
                    <a:pt x="0" y="20003"/>
                  </a:moveTo>
                  <a:lnTo>
                    <a:pt x="16220" y="7480"/>
                  </a:lnTo>
                  <a:lnTo>
                    <a:pt x="16220" y="84"/>
                  </a:lnTo>
                  <a:lnTo>
                    <a:pt x="0" y="84"/>
                  </a:lnTo>
                  <a:lnTo>
                    <a:pt x="0" y="20003"/>
                  </a:lnTo>
                  <a:close/>
                  <a:moveTo>
                    <a:pt x="62109" y="62108"/>
                  </a:moveTo>
                  <a:lnTo>
                    <a:pt x="52696" y="62108"/>
                  </a:lnTo>
                  <a:lnTo>
                    <a:pt x="52696" y="52695"/>
                  </a:lnTo>
                  <a:lnTo>
                    <a:pt x="62109" y="52695"/>
                  </a:lnTo>
                  <a:lnTo>
                    <a:pt x="62109" y="62108"/>
                  </a:lnTo>
                  <a:close/>
                  <a:moveTo>
                    <a:pt x="62109" y="45636"/>
                  </a:moveTo>
                  <a:lnTo>
                    <a:pt x="52696" y="45636"/>
                  </a:lnTo>
                  <a:lnTo>
                    <a:pt x="52696" y="36223"/>
                  </a:lnTo>
                  <a:lnTo>
                    <a:pt x="62109" y="36223"/>
                  </a:lnTo>
                  <a:lnTo>
                    <a:pt x="62109" y="45636"/>
                  </a:lnTo>
                  <a:close/>
                  <a:moveTo>
                    <a:pt x="45636" y="62108"/>
                  </a:moveTo>
                  <a:lnTo>
                    <a:pt x="36223" y="62108"/>
                  </a:lnTo>
                  <a:lnTo>
                    <a:pt x="36223" y="52695"/>
                  </a:lnTo>
                  <a:lnTo>
                    <a:pt x="45636" y="52695"/>
                  </a:lnTo>
                  <a:lnTo>
                    <a:pt x="45636" y="62108"/>
                  </a:lnTo>
                  <a:close/>
                  <a:moveTo>
                    <a:pt x="45636" y="45636"/>
                  </a:moveTo>
                  <a:lnTo>
                    <a:pt x="36223" y="45636"/>
                  </a:lnTo>
                  <a:lnTo>
                    <a:pt x="36223" y="36223"/>
                  </a:lnTo>
                  <a:lnTo>
                    <a:pt x="45636" y="36223"/>
                  </a:lnTo>
                  <a:lnTo>
                    <a:pt x="45636" y="45636"/>
                  </a:lnTo>
                  <a:close/>
                  <a:moveTo>
                    <a:pt x="71522" y="71521"/>
                  </a:moveTo>
                  <a:lnTo>
                    <a:pt x="71522" y="27650"/>
                  </a:lnTo>
                  <a:lnTo>
                    <a:pt x="35803" y="0"/>
                  </a:lnTo>
                  <a:lnTo>
                    <a:pt x="84" y="27650"/>
                  </a:lnTo>
                  <a:lnTo>
                    <a:pt x="84" y="71521"/>
                  </a:lnTo>
                  <a:lnTo>
                    <a:pt x="71522" y="71521"/>
                  </a:lnTo>
                  <a:close/>
                </a:path>
              </a:pathLst>
            </a:custGeom>
            <a:solidFill>
              <a:srgbClr val="3B4956"/>
            </a:solidFill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467"/>
            </a:p>
          </p:txBody>
        </p:sp>
        <p:grpSp>
          <p:nvGrpSpPr>
            <p:cNvPr id="488" name="Group 487">
              <a:extLst>
                <a:ext uri="{FF2B5EF4-FFF2-40B4-BE49-F238E27FC236}">
                  <a16:creationId xmlns:a16="http://schemas.microsoft.com/office/drawing/2014/main" id="{1CFA4C52-6A88-F84B-8760-6D1B0C4FCE98}"/>
                </a:ext>
              </a:extLst>
            </p:cNvPr>
            <p:cNvGrpSpPr/>
            <p:nvPr/>
          </p:nvGrpSpPr>
          <p:grpSpPr>
            <a:xfrm>
              <a:off x="409239" y="4463422"/>
              <a:ext cx="100243" cy="83963"/>
              <a:chOff x="3260714" y="3305692"/>
              <a:chExt cx="85388" cy="71521"/>
            </a:xfrm>
          </p:grpSpPr>
          <p:sp>
            <p:nvSpPr>
              <p:cNvPr id="554" name="Freeform: Shape 869">
                <a:extLst>
                  <a:ext uri="{FF2B5EF4-FFF2-40B4-BE49-F238E27FC236}">
                    <a16:creationId xmlns:a16="http://schemas.microsoft.com/office/drawing/2014/main" id="{27A6BC4F-F888-3D48-B1DC-262CD3253202}"/>
                  </a:ext>
                </a:extLst>
              </p:cNvPr>
              <p:cNvSpPr/>
              <p:nvPr/>
            </p:nvSpPr>
            <p:spPr>
              <a:xfrm>
                <a:off x="3333244" y="3323594"/>
                <a:ext cx="6723" cy="41097"/>
              </a:xfrm>
              <a:custGeom>
                <a:avLst/>
                <a:gdLst>
                  <a:gd name="connsiteX0" fmla="*/ 0 w 6723"/>
                  <a:gd name="connsiteY0" fmla="*/ 0 h 41097"/>
                  <a:gd name="connsiteX1" fmla="*/ 6724 w 6723"/>
                  <a:gd name="connsiteY1" fmla="*/ 0 h 41097"/>
                  <a:gd name="connsiteX2" fmla="*/ 6724 w 6723"/>
                  <a:gd name="connsiteY2" fmla="*/ 41098 h 41097"/>
                  <a:gd name="connsiteX3" fmla="*/ 0 w 6723"/>
                  <a:gd name="connsiteY3" fmla="*/ 41098 h 41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723" h="41097">
                    <a:moveTo>
                      <a:pt x="0" y="0"/>
                    </a:moveTo>
                    <a:lnTo>
                      <a:pt x="6724" y="0"/>
                    </a:lnTo>
                    <a:lnTo>
                      <a:pt x="6724" y="41098"/>
                    </a:lnTo>
                    <a:lnTo>
                      <a:pt x="0" y="41098"/>
                    </a:lnTo>
                    <a:close/>
                  </a:path>
                </a:pathLst>
              </a:custGeom>
              <a:solidFill>
                <a:srgbClr val="3B4956"/>
              </a:solidFill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467"/>
              </a:p>
            </p:txBody>
          </p:sp>
          <p:sp>
            <p:nvSpPr>
              <p:cNvPr id="555" name="Freeform: Shape 870">
                <a:extLst>
                  <a:ext uri="{FF2B5EF4-FFF2-40B4-BE49-F238E27FC236}">
                    <a16:creationId xmlns:a16="http://schemas.microsoft.com/office/drawing/2014/main" id="{5AF32C38-A557-EF40-8D6E-D4057A4190FA}"/>
                  </a:ext>
                </a:extLst>
              </p:cNvPr>
              <p:cNvSpPr/>
              <p:nvPr/>
            </p:nvSpPr>
            <p:spPr>
              <a:xfrm>
                <a:off x="3266765" y="3323594"/>
                <a:ext cx="6723" cy="41097"/>
              </a:xfrm>
              <a:custGeom>
                <a:avLst/>
                <a:gdLst>
                  <a:gd name="connsiteX0" fmla="*/ 0 w 6723"/>
                  <a:gd name="connsiteY0" fmla="*/ 0 h 41097"/>
                  <a:gd name="connsiteX1" fmla="*/ 6724 w 6723"/>
                  <a:gd name="connsiteY1" fmla="*/ 0 h 41097"/>
                  <a:gd name="connsiteX2" fmla="*/ 6724 w 6723"/>
                  <a:gd name="connsiteY2" fmla="*/ 41098 h 41097"/>
                  <a:gd name="connsiteX3" fmla="*/ 0 w 6723"/>
                  <a:gd name="connsiteY3" fmla="*/ 41098 h 41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723" h="41097">
                    <a:moveTo>
                      <a:pt x="0" y="0"/>
                    </a:moveTo>
                    <a:lnTo>
                      <a:pt x="6724" y="0"/>
                    </a:lnTo>
                    <a:lnTo>
                      <a:pt x="6724" y="41098"/>
                    </a:lnTo>
                    <a:lnTo>
                      <a:pt x="0" y="41098"/>
                    </a:lnTo>
                    <a:close/>
                  </a:path>
                </a:pathLst>
              </a:custGeom>
              <a:solidFill>
                <a:srgbClr val="3B4956"/>
              </a:solidFill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467"/>
              </a:p>
            </p:txBody>
          </p:sp>
          <p:sp>
            <p:nvSpPr>
              <p:cNvPr id="556" name="Freeform: Shape 871">
                <a:extLst>
                  <a:ext uri="{FF2B5EF4-FFF2-40B4-BE49-F238E27FC236}">
                    <a16:creationId xmlns:a16="http://schemas.microsoft.com/office/drawing/2014/main" id="{9592B4B6-8BE9-DD42-8E7B-71FE8FCB7CFC}"/>
                  </a:ext>
                </a:extLst>
              </p:cNvPr>
              <p:cNvSpPr/>
              <p:nvPr/>
            </p:nvSpPr>
            <p:spPr>
              <a:xfrm>
                <a:off x="3280969" y="3305692"/>
                <a:ext cx="44879" cy="58999"/>
              </a:xfrm>
              <a:custGeom>
                <a:avLst/>
                <a:gdLst>
                  <a:gd name="connsiteX0" fmla="*/ 21683 w 44879"/>
                  <a:gd name="connsiteY0" fmla="*/ 46729 h 58999"/>
                  <a:gd name="connsiteX1" fmla="*/ 21683 w 44879"/>
                  <a:gd name="connsiteY1" fmla="*/ 33954 h 58999"/>
                  <a:gd name="connsiteX2" fmla="*/ 12691 w 44879"/>
                  <a:gd name="connsiteY2" fmla="*/ 33954 h 58999"/>
                  <a:gd name="connsiteX3" fmla="*/ 16641 w 44879"/>
                  <a:gd name="connsiteY3" fmla="*/ 17817 h 58999"/>
                  <a:gd name="connsiteX4" fmla="*/ 29499 w 44879"/>
                  <a:gd name="connsiteY4" fmla="*/ 17817 h 58999"/>
                  <a:gd name="connsiteX5" fmla="*/ 24457 w 44879"/>
                  <a:gd name="connsiteY5" fmla="*/ 28071 h 58999"/>
                  <a:gd name="connsiteX6" fmla="*/ 33281 w 44879"/>
                  <a:gd name="connsiteY6" fmla="*/ 28071 h 58999"/>
                  <a:gd name="connsiteX7" fmla="*/ 21683 w 44879"/>
                  <a:gd name="connsiteY7" fmla="*/ 46729 h 58999"/>
                  <a:gd name="connsiteX8" fmla="*/ 44880 w 44879"/>
                  <a:gd name="connsiteY8" fmla="*/ 0 h 58999"/>
                  <a:gd name="connsiteX9" fmla="*/ 0 w 44879"/>
                  <a:gd name="connsiteY9" fmla="*/ 0 h 58999"/>
                  <a:gd name="connsiteX10" fmla="*/ 0 w 44879"/>
                  <a:gd name="connsiteY10" fmla="*/ 58999 h 58999"/>
                  <a:gd name="connsiteX11" fmla="*/ 44880 w 44879"/>
                  <a:gd name="connsiteY11" fmla="*/ 58999 h 58999"/>
                  <a:gd name="connsiteX12" fmla="*/ 44880 w 44879"/>
                  <a:gd name="connsiteY12" fmla="*/ 0 h 58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879" h="58999">
                    <a:moveTo>
                      <a:pt x="21683" y="46729"/>
                    </a:moveTo>
                    <a:lnTo>
                      <a:pt x="21683" y="33954"/>
                    </a:lnTo>
                    <a:lnTo>
                      <a:pt x="12691" y="33954"/>
                    </a:lnTo>
                    <a:lnTo>
                      <a:pt x="16641" y="17817"/>
                    </a:lnTo>
                    <a:lnTo>
                      <a:pt x="29499" y="17817"/>
                    </a:lnTo>
                    <a:lnTo>
                      <a:pt x="24457" y="28071"/>
                    </a:lnTo>
                    <a:lnTo>
                      <a:pt x="33281" y="28071"/>
                    </a:lnTo>
                    <a:lnTo>
                      <a:pt x="21683" y="46729"/>
                    </a:lnTo>
                    <a:close/>
                    <a:moveTo>
                      <a:pt x="44880" y="0"/>
                    </a:moveTo>
                    <a:lnTo>
                      <a:pt x="0" y="0"/>
                    </a:lnTo>
                    <a:lnTo>
                      <a:pt x="0" y="58999"/>
                    </a:lnTo>
                    <a:lnTo>
                      <a:pt x="44880" y="58999"/>
                    </a:lnTo>
                    <a:lnTo>
                      <a:pt x="44880" y="0"/>
                    </a:lnTo>
                    <a:close/>
                  </a:path>
                </a:pathLst>
              </a:custGeom>
              <a:solidFill>
                <a:srgbClr val="3B4956"/>
              </a:solidFill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467"/>
              </a:p>
            </p:txBody>
          </p:sp>
          <p:sp>
            <p:nvSpPr>
              <p:cNvPr id="557" name="Freeform: Shape 872">
                <a:extLst>
                  <a:ext uri="{FF2B5EF4-FFF2-40B4-BE49-F238E27FC236}">
                    <a16:creationId xmlns:a16="http://schemas.microsoft.com/office/drawing/2014/main" id="{E68D03B8-4C9C-D647-9973-52DD65A7D7EC}"/>
                  </a:ext>
                </a:extLst>
              </p:cNvPr>
              <p:cNvSpPr/>
              <p:nvPr/>
            </p:nvSpPr>
            <p:spPr>
              <a:xfrm>
                <a:off x="3260714" y="3370490"/>
                <a:ext cx="85388" cy="6723"/>
              </a:xfrm>
              <a:custGeom>
                <a:avLst/>
                <a:gdLst>
                  <a:gd name="connsiteX0" fmla="*/ 0 w 85388"/>
                  <a:gd name="connsiteY0" fmla="*/ 0 h 6723"/>
                  <a:gd name="connsiteX1" fmla="*/ 85389 w 85388"/>
                  <a:gd name="connsiteY1" fmla="*/ 0 h 6723"/>
                  <a:gd name="connsiteX2" fmla="*/ 85389 w 85388"/>
                  <a:gd name="connsiteY2" fmla="*/ 6724 h 6723"/>
                  <a:gd name="connsiteX3" fmla="*/ 0 w 85388"/>
                  <a:gd name="connsiteY3" fmla="*/ 6724 h 67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388" h="6723">
                    <a:moveTo>
                      <a:pt x="0" y="0"/>
                    </a:moveTo>
                    <a:lnTo>
                      <a:pt x="85389" y="0"/>
                    </a:lnTo>
                    <a:lnTo>
                      <a:pt x="85389" y="6724"/>
                    </a:lnTo>
                    <a:lnTo>
                      <a:pt x="0" y="6724"/>
                    </a:lnTo>
                    <a:close/>
                  </a:path>
                </a:pathLst>
              </a:custGeom>
              <a:solidFill>
                <a:srgbClr val="3B4956"/>
              </a:solidFill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467"/>
              </a:p>
            </p:txBody>
          </p:sp>
        </p:grpSp>
        <p:grpSp>
          <p:nvGrpSpPr>
            <p:cNvPr id="501" name="Group 500">
              <a:extLst>
                <a:ext uri="{FF2B5EF4-FFF2-40B4-BE49-F238E27FC236}">
                  <a16:creationId xmlns:a16="http://schemas.microsoft.com/office/drawing/2014/main" id="{98A5B188-8B3F-EE45-AD2D-67F0AB879B69}"/>
                </a:ext>
              </a:extLst>
            </p:cNvPr>
            <p:cNvGrpSpPr/>
            <p:nvPr/>
          </p:nvGrpSpPr>
          <p:grpSpPr>
            <a:xfrm>
              <a:off x="1542815" y="4201768"/>
              <a:ext cx="82162" cy="101315"/>
              <a:chOff x="3270799" y="3187874"/>
              <a:chExt cx="69986" cy="86301"/>
            </a:xfrm>
          </p:grpSpPr>
          <p:sp>
            <p:nvSpPr>
              <p:cNvPr id="544" name="Freeform: Shape 859">
                <a:extLst>
                  <a:ext uri="{FF2B5EF4-FFF2-40B4-BE49-F238E27FC236}">
                    <a16:creationId xmlns:a16="http://schemas.microsoft.com/office/drawing/2014/main" id="{47254476-9D16-6C45-9A18-8E7830526ABA}"/>
                  </a:ext>
                </a:extLst>
              </p:cNvPr>
              <p:cNvSpPr/>
              <p:nvPr/>
            </p:nvSpPr>
            <p:spPr>
              <a:xfrm>
                <a:off x="3323663" y="3213412"/>
                <a:ext cx="14791" cy="8572"/>
              </a:xfrm>
              <a:custGeom>
                <a:avLst/>
                <a:gdLst>
                  <a:gd name="connsiteX0" fmla="*/ 0 w 14791"/>
                  <a:gd name="connsiteY0" fmla="*/ 0 h 8572"/>
                  <a:gd name="connsiteX1" fmla="*/ 14792 w 14791"/>
                  <a:gd name="connsiteY1" fmla="*/ 0 h 8572"/>
                  <a:gd name="connsiteX2" fmla="*/ 14792 w 14791"/>
                  <a:gd name="connsiteY2" fmla="*/ 8573 h 8572"/>
                  <a:gd name="connsiteX3" fmla="*/ 0 w 14791"/>
                  <a:gd name="connsiteY3" fmla="*/ 8573 h 8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791" h="8572">
                    <a:moveTo>
                      <a:pt x="0" y="0"/>
                    </a:moveTo>
                    <a:lnTo>
                      <a:pt x="14792" y="0"/>
                    </a:lnTo>
                    <a:lnTo>
                      <a:pt x="14792" y="8573"/>
                    </a:lnTo>
                    <a:lnTo>
                      <a:pt x="0" y="8573"/>
                    </a:lnTo>
                    <a:close/>
                  </a:path>
                </a:pathLst>
              </a:custGeom>
              <a:solidFill>
                <a:srgbClr val="3B4956"/>
              </a:solidFill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467"/>
              </a:p>
            </p:txBody>
          </p:sp>
          <p:sp>
            <p:nvSpPr>
              <p:cNvPr id="545" name="Freeform: Shape 860">
                <a:extLst>
                  <a:ext uri="{FF2B5EF4-FFF2-40B4-BE49-F238E27FC236}">
                    <a16:creationId xmlns:a16="http://schemas.microsoft.com/office/drawing/2014/main" id="{F7A268B8-1B3B-1C4D-9356-CB7D1706C738}"/>
                  </a:ext>
                </a:extLst>
              </p:cNvPr>
              <p:cNvSpPr/>
              <p:nvPr/>
            </p:nvSpPr>
            <p:spPr>
              <a:xfrm rot="17847868">
                <a:off x="3309988" y="3190354"/>
                <a:ext cx="13531" cy="8572"/>
              </a:xfrm>
              <a:custGeom>
                <a:avLst/>
                <a:gdLst>
                  <a:gd name="connsiteX0" fmla="*/ 0 w 13531"/>
                  <a:gd name="connsiteY0" fmla="*/ 0 h 8572"/>
                  <a:gd name="connsiteX1" fmla="*/ 13531 w 13531"/>
                  <a:gd name="connsiteY1" fmla="*/ 0 h 8572"/>
                  <a:gd name="connsiteX2" fmla="*/ 13531 w 13531"/>
                  <a:gd name="connsiteY2" fmla="*/ 8572 h 8572"/>
                  <a:gd name="connsiteX3" fmla="*/ 0 w 13531"/>
                  <a:gd name="connsiteY3" fmla="*/ 8572 h 8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531" h="8572">
                    <a:moveTo>
                      <a:pt x="0" y="0"/>
                    </a:moveTo>
                    <a:lnTo>
                      <a:pt x="13531" y="0"/>
                    </a:lnTo>
                    <a:lnTo>
                      <a:pt x="13531" y="8572"/>
                    </a:lnTo>
                    <a:lnTo>
                      <a:pt x="0" y="8572"/>
                    </a:lnTo>
                    <a:close/>
                  </a:path>
                </a:pathLst>
              </a:custGeom>
              <a:solidFill>
                <a:srgbClr val="3B4956"/>
              </a:solidFill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467"/>
              </a:p>
            </p:txBody>
          </p:sp>
          <p:sp>
            <p:nvSpPr>
              <p:cNvPr id="546" name="Freeform: Shape 861">
                <a:extLst>
                  <a:ext uri="{FF2B5EF4-FFF2-40B4-BE49-F238E27FC236}">
                    <a16:creationId xmlns:a16="http://schemas.microsoft.com/office/drawing/2014/main" id="{A26B6388-29BC-B449-AF9B-DA495422567D}"/>
                  </a:ext>
                </a:extLst>
              </p:cNvPr>
              <p:cNvSpPr/>
              <p:nvPr/>
            </p:nvSpPr>
            <p:spPr>
              <a:xfrm rot="19840763">
                <a:off x="3327759" y="3195696"/>
                <a:ext cx="13026" cy="8572"/>
              </a:xfrm>
              <a:custGeom>
                <a:avLst/>
                <a:gdLst>
                  <a:gd name="connsiteX0" fmla="*/ 0 w 13026"/>
                  <a:gd name="connsiteY0" fmla="*/ 0 h 8572"/>
                  <a:gd name="connsiteX1" fmla="*/ 13027 w 13026"/>
                  <a:gd name="connsiteY1" fmla="*/ 0 h 8572"/>
                  <a:gd name="connsiteX2" fmla="*/ 13027 w 13026"/>
                  <a:gd name="connsiteY2" fmla="*/ 8573 h 8572"/>
                  <a:gd name="connsiteX3" fmla="*/ 0 w 13026"/>
                  <a:gd name="connsiteY3" fmla="*/ 8573 h 8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26" h="8572">
                    <a:moveTo>
                      <a:pt x="0" y="0"/>
                    </a:moveTo>
                    <a:lnTo>
                      <a:pt x="13027" y="0"/>
                    </a:lnTo>
                    <a:lnTo>
                      <a:pt x="13027" y="8573"/>
                    </a:lnTo>
                    <a:lnTo>
                      <a:pt x="0" y="8573"/>
                    </a:lnTo>
                    <a:close/>
                  </a:path>
                </a:pathLst>
              </a:custGeom>
              <a:solidFill>
                <a:srgbClr val="3B4956"/>
              </a:solidFill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467"/>
              </a:p>
            </p:txBody>
          </p:sp>
          <p:grpSp>
            <p:nvGrpSpPr>
              <p:cNvPr id="547" name="Graphic 2">
                <a:extLst>
                  <a:ext uri="{FF2B5EF4-FFF2-40B4-BE49-F238E27FC236}">
                    <a16:creationId xmlns:a16="http://schemas.microsoft.com/office/drawing/2014/main" id="{B6AD6E92-C126-7D47-B0A0-0C6F14AE4102}"/>
                  </a:ext>
                </a:extLst>
              </p:cNvPr>
              <p:cNvGrpSpPr/>
              <p:nvPr/>
            </p:nvGrpSpPr>
            <p:grpSpPr>
              <a:xfrm>
                <a:off x="3270799" y="3187946"/>
                <a:ext cx="57822" cy="86229"/>
                <a:chOff x="3270799" y="3187946"/>
                <a:chExt cx="57822" cy="86229"/>
              </a:xfrm>
              <a:solidFill>
                <a:srgbClr val="3B4956"/>
              </a:solidFill>
            </p:grpSpPr>
            <p:sp>
              <p:nvSpPr>
                <p:cNvPr id="548" name="Freeform: Shape 863">
                  <a:extLst>
                    <a:ext uri="{FF2B5EF4-FFF2-40B4-BE49-F238E27FC236}">
                      <a16:creationId xmlns:a16="http://schemas.microsoft.com/office/drawing/2014/main" id="{DCBA0DF9-5AB2-AF4C-BBFA-182F0CF3598F}"/>
                    </a:ext>
                  </a:extLst>
                </p:cNvPr>
                <p:cNvSpPr/>
                <p:nvPr/>
              </p:nvSpPr>
              <p:spPr>
                <a:xfrm>
                  <a:off x="3293659" y="3210974"/>
                  <a:ext cx="14455" cy="14455"/>
                </a:xfrm>
                <a:custGeom>
                  <a:avLst/>
                  <a:gdLst>
                    <a:gd name="connsiteX0" fmla="*/ 14456 w 14455"/>
                    <a:gd name="connsiteY0" fmla="*/ 7228 h 14455"/>
                    <a:gd name="connsiteX1" fmla="*/ 7228 w 14455"/>
                    <a:gd name="connsiteY1" fmla="*/ 0 h 14455"/>
                    <a:gd name="connsiteX2" fmla="*/ 0 w 14455"/>
                    <a:gd name="connsiteY2" fmla="*/ 7228 h 14455"/>
                    <a:gd name="connsiteX3" fmla="*/ 7228 w 14455"/>
                    <a:gd name="connsiteY3" fmla="*/ 14456 h 14455"/>
                    <a:gd name="connsiteX4" fmla="*/ 14456 w 14455"/>
                    <a:gd name="connsiteY4" fmla="*/ 7228 h 144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455" h="14455">
                      <a:moveTo>
                        <a:pt x="14456" y="7228"/>
                      </a:moveTo>
                      <a:cubicBezTo>
                        <a:pt x="14456" y="3278"/>
                        <a:pt x="11178" y="0"/>
                        <a:pt x="7228" y="0"/>
                      </a:cubicBezTo>
                      <a:cubicBezTo>
                        <a:pt x="3278" y="0"/>
                        <a:pt x="0" y="3194"/>
                        <a:pt x="0" y="7228"/>
                      </a:cubicBezTo>
                      <a:cubicBezTo>
                        <a:pt x="0" y="11178"/>
                        <a:pt x="3194" y="14456"/>
                        <a:pt x="7228" y="14456"/>
                      </a:cubicBezTo>
                      <a:cubicBezTo>
                        <a:pt x="11262" y="14372"/>
                        <a:pt x="14456" y="11178"/>
                        <a:pt x="14456" y="7228"/>
                      </a:cubicBezTo>
                    </a:path>
                  </a:pathLst>
                </a:custGeom>
                <a:solidFill>
                  <a:srgbClr val="3B4956"/>
                </a:solidFill>
                <a:ln w="840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467"/>
                </a:p>
              </p:txBody>
            </p:sp>
            <p:sp>
              <p:nvSpPr>
                <p:cNvPr id="549" name="Freeform: Shape 864">
                  <a:extLst>
                    <a:ext uri="{FF2B5EF4-FFF2-40B4-BE49-F238E27FC236}">
                      <a16:creationId xmlns:a16="http://schemas.microsoft.com/office/drawing/2014/main" id="{32851B38-B492-254D-BE73-F62977D9DE31}"/>
                    </a:ext>
                  </a:extLst>
                </p:cNvPr>
                <p:cNvSpPr/>
                <p:nvPr/>
              </p:nvSpPr>
              <p:spPr>
                <a:xfrm>
                  <a:off x="3270799" y="3187946"/>
                  <a:ext cx="57822" cy="86229"/>
                </a:xfrm>
                <a:custGeom>
                  <a:avLst/>
                  <a:gdLst>
                    <a:gd name="connsiteX0" fmla="*/ 57822 w 57822"/>
                    <a:gd name="connsiteY0" fmla="*/ 42526 h 86229"/>
                    <a:gd name="connsiteX1" fmla="*/ 43199 w 57822"/>
                    <a:gd name="connsiteY1" fmla="*/ 33366 h 86229"/>
                    <a:gd name="connsiteX2" fmla="*/ 39669 w 57822"/>
                    <a:gd name="connsiteY2" fmla="*/ 39669 h 86229"/>
                    <a:gd name="connsiteX3" fmla="*/ 30172 w 57822"/>
                    <a:gd name="connsiteY3" fmla="*/ 43619 h 86229"/>
                    <a:gd name="connsiteX4" fmla="*/ 16725 w 57822"/>
                    <a:gd name="connsiteY4" fmla="*/ 30172 h 86229"/>
                    <a:gd name="connsiteX5" fmla="*/ 20675 w 57822"/>
                    <a:gd name="connsiteY5" fmla="*/ 20675 h 86229"/>
                    <a:gd name="connsiteX6" fmla="*/ 30172 w 57822"/>
                    <a:gd name="connsiteY6" fmla="*/ 16725 h 86229"/>
                    <a:gd name="connsiteX7" fmla="*/ 34374 w 57822"/>
                    <a:gd name="connsiteY7" fmla="*/ 17397 h 86229"/>
                    <a:gd name="connsiteX8" fmla="*/ 34374 w 57822"/>
                    <a:gd name="connsiteY8" fmla="*/ 0 h 86229"/>
                    <a:gd name="connsiteX9" fmla="*/ 25802 w 57822"/>
                    <a:gd name="connsiteY9" fmla="*/ 0 h 86229"/>
                    <a:gd name="connsiteX10" fmla="*/ 25802 w 57822"/>
                    <a:gd name="connsiteY10" fmla="*/ 12607 h 86229"/>
                    <a:gd name="connsiteX11" fmla="*/ 20003 w 57822"/>
                    <a:gd name="connsiteY11" fmla="*/ 1429 h 86229"/>
                    <a:gd name="connsiteX12" fmla="*/ 12354 w 57822"/>
                    <a:gd name="connsiteY12" fmla="*/ 5379 h 86229"/>
                    <a:gd name="connsiteX13" fmla="*/ 18994 w 57822"/>
                    <a:gd name="connsiteY13" fmla="*/ 18154 h 86229"/>
                    <a:gd name="connsiteX14" fmla="*/ 6808 w 57822"/>
                    <a:gd name="connsiteY14" fmla="*/ 10506 h 86229"/>
                    <a:gd name="connsiteX15" fmla="*/ 2269 w 57822"/>
                    <a:gd name="connsiteY15" fmla="*/ 17817 h 86229"/>
                    <a:gd name="connsiteX16" fmla="*/ 15128 w 57822"/>
                    <a:gd name="connsiteY16" fmla="*/ 25886 h 86229"/>
                    <a:gd name="connsiteX17" fmla="*/ 0 w 57822"/>
                    <a:gd name="connsiteY17" fmla="*/ 25886 h 86229"/>
                    <a:gd name="connsiteX18" fmla="*/ 0 w 57822"/>
                    <a:gd name="connsiteY18" fmla="*/ 34458 h 86229"/>
                    <a:gd name="connsiteX19" fmla="*/ 13531 w 57822"/>
                    <a:gd name="connsiteY19" fmla="*/ 34458 h 86229"/>
                    <a:gd name="connsiteX20" fmla="*/ 1681 w 57822"/>
                    <a:gd name="connsiteY20" fmla="*/ 41014 h 86229"/>
                    <a:gd name="connsiteX21" fmla="*/ 5883 w 57822"/>
                    <a:gd name="connsiteY21" fmla="*/ 48578 h 86229"/>
                    <a:gd name="connsiteX22" fmla="*/ 19750 w 57822"/>
                    <a:gd name="connsiteY22" fmla="*/ 40845 h 86229"/>
                    <a:gd name="connsiteX23" fmla="*/ 12438 w 57822"/>
                    <a:gd name="connsiteY23" fmla="*/ 54881 h 86229"/>
                    <a:gd name="connsiteX24" fmla="*/ 20087 w 57822"/>
                    <a:gd name="connsiteY24" fmla="*/ 58831 h 86229"/>
                    <a:gd name="connsiteX25" fmla="*/ 26474 w 57822"/>
                    <a:gd name="connsiteY25" fmla="*/ 46561 h 86229"/>
                    <a:gd name="connsiteX26" fmla="*/ 26558 w 57822"/>
                    <a:gd name="connsiteY26" fmla="*/ 86229 h 86229"/>
                    <a:gd name="connsiteX27" fmla="*/ 33954 w 57822"/>
                    <a:gd name="connsiteY27" fmla="*/ 86229 h 86229"/>
                    <a:gd name="connsiteX28" fmla="*/ 33870 w 57822"/>
                    <a:gd name="connsiteY28" fmla="*/ 46477 h 86229"/>
                    <a:gd name="connsiteX29" fmla="*/ 40257 w 57822"/>
                    <a:gd name="connsiteY29" fmla="*/ 58831 h 86229"/>
                    <a:gd name="connsiteX30" fmla="*/ 47905 w 57822"/>
                    <a:gd name="connsiteY30" fmla="*/ 54881 h 86229"/>
                    <a:gd name="connsiteX31" fmla="*/ 41266 w 57822"/>
                    <a:gd name="connsiteY31" fmla="*/ 42106 h 86229"/>
                    <a:gd name="connsiteX32" fmla="*/ 53452 w 57822"/>
                    <a:gd name="connsiteY32" fmla="*/ 49754 h 86229"/>
                    <a:gd name="connsiteX33" fmla="*/ 57822 w 57822"/>
                    <a:gd name="connsiteY33" fmla="*/ 42526 h 862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</a:cxnLst>
                  <a:rect l="l" t="t" r="r" b="b"/>
                  <a:pathLst>
                    <a:path w="57822" h="86229">
                      <a:moveTo>
                        <a:pt x="57822" y="42526"/>
                      </a:moveTo>
                      <a:lnTo>
                        <a:pt x="43199" y="33366"/>
                      </a:lnTo>
                      <a:cubicBezTo>
                        <a:pt x="42610" y="35719"/>
                        <a:pt x="41434" y="37904"/>
                        <a:pt x="39669" y="39669"/>
                      </a:cubicBezTo>
                      <a:cubicBezTo>
                        <a:pt x="37147" y="42190"/>
                        <a:pt x="33786" y="43619"/>
                        <a:pt x="30172" y="43619"/>
                      </a:cubicBezTo>
                      <a:cubicBezTo>
                        <a:pt x="22776" y="43619"/>
                        <a:pt x="16725" y="37568"/>
                        <a:pt x="16725" y="30172"/>
                      </a:cubicBezTo>
                      <a:cubicBezTo>
                        <a:pt x="16725" y="26558"/>
                        <a:pt x="18154" y="23196"/>
                        <a:pt x="20675" y="20675"/>
                      </a:cubicBezTo>
                      <a:cubicBezTo>
                        <a:pt x="23196" y="18154"/>
                        <a:pt x="26558" y="16725"/>
                        <a:pt x="30172" y="16725"/>
                      </a:cubicBezTo>
                      <a:cubicBezTo>
                        <a:pt x="31601" y="16725"/>
                        <a:pt x="33029" y="16977"/>
                        <a:pt x="34374" y="17397"/>
                      </a:cubicBezTo>
                      <a:lnTo>
                        <a:pt x="34374" y="0"/>
                      </a:lnTo>
                      <a:lnTo>
                        <a:pt x="25802" y="0"/>
                      </a:lnTo>
                      <a:lnTo>
                        <a:pt x="25802" y="12607"/>
                      </a:lnTo>
                      <a:lnTo>
                        <a:pt x="20003" y="1429"/>
                      </a:lnTo>
                      <a:lnTo>
                        <a:pt x="12354" y="5379"/>
                      </a:lnTo>
                      <a:lnTo>
                        <a:pt x="18994" y="18154"/>
                      </a:lnTo>
                      <a:lnTo>
                        <a:pt x="6808" y="10506"/>
                      </a:lnTo>
                      <a:lnTo>
                        <a:pt x="2269" y="17817"/>
                      </a:lnTo>
                      <a:lnTo>
                        <a:pt x="15128" y="25886"/>
                      </a:lnTo>
                      <a:lnTo>
                        <a:pt x="0" y="25886"/>
                      </a:lnTo>
                      <a:lnTo>
                        <a:pt x="0" y="34458"/>
                      </a:lnTo>
                      <a:lnTo>
                        <a:pt x="13531" y="34458"/>
                      </a:lnTo>
                      <a:lnTo>
                        <a:pt x="1681" y="41014"/>
                      </a:lnTo>
                      <a:lnTo>
                        <a:pt x="5883" y="48578"/>
                      </a:lnTo>
                      <a:lnTo>
                        <a:pt x="19750" y="40845"/>
                      </a:lnTo>
                      <a:lnTo>
                        <a:pt x="12438" y="54881"/>
                      </a:lnTo>
                      <a:lnTo>
                        <a:pt x="20087" y="58831"/>
                      </a:lnTo>
                      <a:lnTo>
                        <a:pt x="26474" y="46561"/>
                      </a:lnTo>
                      <a:lnTo>
                        <a:pt x="26558" y="86229"/>
                      </a:lnTo>
                      <a:lnTo>
                        <a:pt x="33954" y="86229"/>
                      </a:lnTo>
                      <a:lnTo>
                        <a:pt x="33870" y="46477"/>
                      </a:lnTo>
                      <a:lnTo>
                        <a:pt x="40257" y="58831"/>
                      </a:lnTo>
                      <a:lnTo>
                        <a:pt x="47905" y="54881"/>
                      </a:lnTo>
                      <a:lnTo>
                        <a:pt x="41266" y="42106"/>
                      </a:lnTo>
                      <a:lnTo>
                        <a:pt x="53452" y="49754"/>
                      </a:lnTo>
                      <a:lnTo>
                        <a:pt x="57822" y="42526"/>
                      </a:lnTo>
                      <a:close/>
                    </a:path>
                  </a:pathLst>
                </a:custGeom>
                <a:solidFill>
                  <a:srgbClr val="3B4956"/>
                </a:solidFill>
                <a:ln w="840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467"/>
                </a:p>
              </p:txBody>
            </p:sp>
          </p:grpSp>
        </p:grpSp>
        <p:sp>
          <p:nvSpPr>
            <p:cNvPr id="510" name="Freeform: Shape 843">
              <a:extLst>
                <a:ext uri="{FF2B5EF4-FFF2-40B4-BE49-F238E27FC236}">
                  <a16:creationId xmlns:a16="http://schemas.microsoft.com/office/drawing/2014/main" id="{D5801AF4-11C3-7148-B6F7-34BFDEA10FAA}"/>
                </a:ext>
              </a:extLst>
            </p:cNvPr>
            <p:cNvSpPr/>
            <p:nvPr/>
          </p:nvSpPr>
          <p:spPr>
            <a:xfrm>
              <a:off x="2634955" y="4199690"/>
              <a:ext cx="77747" cy="77747"/>
            </a:xfrm>
            <a:custGeom>
              <a:avLst/>
              <a:gdLst>
                <a:gd name="connsiteX0" fmla="*/ 0 w 66226"/>
                <a:gd name="connsiteY0" fmla="*/ 0 h 66226"/>
                <a:gd name="connsiteX1" fmla="*/ 66227 w 66226"/>
                <a:gd name="connsiteY1" fmla="*/ 0 h 66226"/>
                <a:gd name="connsiteX2" fmla="*/ 66227 w 66226"/>
                <a:gd name="connsiteY2" fmla="*/ 66227 h 66226"/>
                <a:gd name="connsiteX3" fmla="*/ 0 w 66226"/>
                <a:gd name="connsiteY3" fmla="*/ 66227 h 66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226" h="66226">
                  <a:moveTo>
                    <a:pt x="0" y="0"/>
                  </a:moveTo>
                  <a:lnTo>
                    <a:pt x="66227" y="0"/>
                  </a:lnTo>
                  <a:lnTo>
                    <a:pt x="66227" y="66227"/>
                  </a:lnTo>
                  <a:lnTo>
                    <a:pt x="0" y="66227"/>
                  </a:lnTo>
                  <a:close/>
                </a:path>
              </a:pathLst>
            </a:custGeom>
            <a:solidFill>
              <a:srgbClr val="3A9CDE"/>
            </a:solidFill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467"/>
            </a:p>
          </p:txBody>
        </p:sp>
        <p:sp>
          <p:nvSpPr>
            <p:cNvPr id="529" name="Freeform: Shape 844">
              <a:extLst>
                <a:ext uri="{FF2B5EF4-FFF2-40B4-BE49-F238E27FC236}">
                  <a16:creationId xmlns:a16="http://schemas.microsoft.com/office/drawing/2014/main" id="{C46286A9-F278-FB4D-B088-555EF4D7DE8E}"/>
                </a:ext>
              </a:extLst>
            </p:cNvPr>
            <p:cNvSpPr/>
            <p:nvPr/>
          </p:nvSpPr>
          <p:spPr>
            <a:xfrm>
              <a:off x="2634955" y="4464705"/>
              <a:ext cx="77747" cy="77747"/>
            </a:xfrm>
            <a:custGeom>
              <a:avLst/>
              <a:gdLst>
                <a:gd name="connsiteX0" fmla="*/ 0 w 66226"/>
                <a:gd name="connsiteY0" fmla="*/ 0 h 66226"/>
                <a:gd name="connsiteX1" fmla="*/ 66227 w 66226"/>
                <a:gd name="connsiteY1" fmla="*/ 0 h 66226"/>
                <a:gd name="connsiteX2" fmla="*/ 66227 w 66226"/>
                <a:gd name="connsiteY2" fmla="*/ 66227 h 66226"/>
                <a:gd name="connsiteX3" fmla="*/ 0 w 66226"/>
                <a:gd name="connsiteY3" fmla="*/ 66227 h 66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226" h="66226">
                  <a:moveTo>
                    <a:pt x="0" y="0"/>
                  </a:moveTo>
                  <a:lnTo>
                    <a:pt x="66227" y="0"/>
                  </a:lnTo>
                  <a:lnTo>
                    <a:pt x="66227" y="66227"/>
                  </a:lnTo>
                  <a:lnTo>
                    <a:pt x="0" y="66227"/>
                  </a:lnTo>
                  <a:close/>
                </a:path>
              </a:pathLst>
            </a:custGeom>
            <a:solidFill>
              <a:srgbClr val="644C76"/>
            </a:solidFill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467"/>
            </a:p>
          </p:txBody>
        </p:sp>
        <p:sp>
          <p:nvSpPr>
            <p:cNvPr id="530" name="Freeform: Shape 845">
              <a:extLst>
                <a:ext uri="{FF2B5EF4-FFF2-40B4-BE49-F238E27FC236}">
                  <a16:creationId xmlns:a16="http://schemas.microsoft.com/office/drawing/2014/main" id="{6318FDB6-97BB-7840-89A4-BC6086A422CF}"/>
                </a:ext>
              </a:extLst>
            </p:cNvPr>
            <p:cNvSpPr/>
            <p:nvPr/>
          </p:nvSpPr>
          <p:spPr>
            <a:xfrm>
              <a:off x="2634955" y="4332198"/>
              <a:ext cx="77747" cy="77747"/>
            </a:xfrm>
            <a:custGeom>
              <a:avLst/>
              <a:gdLst>
                <a:gd name="connsiteX0" fmla="*/ 0 w 66226"/>
                <a:gd name="connsiteY0" fmla="*/ 0 h 66226"/>
                <a:gd name="connsiteX1" fmla="*/ 66227 w 66226"/>
                <a:gd name="connsiteY1" fmla="*/ 0 h 66226"/>
                <a:gd name="connsiteX2" fmla="*/ 66227 w 66226"/>
                <a:gd name="connsiteY2" fmla="*/ 66227 h 66226"/>
                <a:gd name="connsiteX3" fmla="*/ 0 w 66226"/>
                <a:gd name="connsiteY3" fmla="*/ 66227 h 662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226" h="66226">
                  <a:moveTo>
                    <a:pt x="0" y="0"/>
                  </a:moveTo>
                  <a:lnTo>
                    <a:pt x="66227" y="0"/>
                  </a:lnTo>
                  <a:lnTo>
                    <a:pt x="66227" y="66227"/>
                  </a:lnTo>
                  <a:lnTo>
                    <a:pt x="0" y="66227"/>
                  </a:lnTo>
                  <a:close/>
                </a:path>
              </a:pathLst>
            </a:custGeom>
            <a:solidFill>
              <a:srgbClr val="8ECDC8"/>
            </a:solidFill>
            <a:ln w="84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467"/>
            </a:p>
          </p:txBody>
        </p:sp>
        <p:sp>
          <p:nvSpPr>
            <p:cNvPr id="531" name="TextBox 530">
              <a:extLst>
                <a:ext uri="{FF2B5EF4-FFF2-40B4-BE49-F238E27FC236}">
                  <a16:creationId xmlns:a16="http://schemas.microsoft.com/office/drawing/2014/main" id="{6CDA61BB-760B-9646-8F56-7856BFB7E709}"/>
                </a:ext>
              </a:extLst>
            </p:cNvPr>
            <p:cNvSpPr txBox="1"/>
            <p:nvPr/>
          </p:nvSpPr>
          <p:spPr>
            <a:xfrm>
              <a:off x="416145" y="4013987"/>
              <a:ext cx="293350" cy="7391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2400"/>
                </a:spcBef>
              </a:pPr>
              <a:r>
                <a:rPr lang="en-US" sz="667" b="1">
                  <a:solidFill>
                    <a:schemeClr val="tx2"/>
                  </a:solidFill>
                </a:rPr>
                <a:t>Activities</a:t>
              </a:r>
            </a:p>
          </p:txBody>
        </p:sp>
        <p:sp>
          <p:nvSpPr>
            <p:cNvPr id="532" name="TextBox 531">
              <a:extLst>
                <a:ext uri="{FF2B5EF4-FFF2-40B4-BE49-F238E27FC236}">
                  <a16:creationId xmlns:a16="http://schemas.microsoft.com/office/drawing/2014/main" id="{A3D58821-9229-6747-8F9E-1E33992D03D9}"/>
                </a:ext>
              </a:extLst>
            </p:cNvPr>
            <p:cNvSpPr txBox="1"/>
            <p:nvPr/>
          </p:nvSpPr>
          <p:spPr>
            <a:xfrm>
              <a:off x="2634955" y="4006140"/>
              <a:ext cx="203181" cy="7391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2400"/>
                </a:spcBef>
              </a:pPr>
              <a:r>
                <a:rPr lang="en-US" sz="667" b="1">
                  <a:solidFill>
                    <a:schemeClr val="tx2"/>
                  </a:solidFill>
                </a:rPr>
                <a:t>Status</a:t>
              </a:r>
            </a:p>
          </p:txBody>
        </p:sp>
        <p:sp>
          <p:nvSpPr>
            <p:cNvPr id="533" name="TextBox 532">
              <a:extLst>
                <a:ext uri="{FF2B5EF4-FFF2-40B4-BE49-F238E27FC236}">
                  <a16:creationId xmlns:a16="http://schemas.microsoft.com/office/drawing/2014/main" id="{61CF78B3-7476-4E4F-B1B0-027D879D78EF}"/>
                </a:ext>
              </a:extLst>
            </p:cNvPr>
            <p:cNvSpPr txBox="1"/>
            <p:nvPr/>
          </p:nvSpPr>
          <p:spPr>
            <a:xfrm>
              <a:off x="2783097" y="4203651"/>
              <a:ext cx="370294" cy="7391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2400"/>
                </a:spcBef>
              </a:pPr>
              <a:r>
                <a:rPr lang="en-US" sz="667">
                  <a:solidFill>
                    <a:schemeClr val="accent1"/>
                  </a:solidFill>
                </a:rPr>
                <a:t>In operation</a:t>
              </a:r>
            </a:p>
          </p:txBody>
        </p:sp>
        <p:sp>
          <p:nvSpPr>
            <p:cNvPr id="534" name="TextBox 533">
              <a:extLst>
                <a:ext uri="{FF2B5EF4-FFF2-40B4-BE49-F238E27FC236}">
                  <a16:creationId xmlns:a16="http://schemas.microsoft.com/office/drawing/2014/main" id="{C376BC63-DC13-F340-86B1-241A1F312175}"/>
                </a:ext>
              </a:extLst>
            </p:cNvPr>
            <p:cNvSpPr txBox="1"/>
            <p:nvPr/>
          </p:nvSpPr>
          <p:spPr>
            <a:xfrm>
              <a:off x="2783097" y="4475413"/>
              <a:ext cx="619160" cy="7391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2400"/>
                </a:spcBef>
              </a:pPr>
              <a:r>
                <a:rPr lang="en-US" sz="667">
                  <a:solidFill>
                    <a:schemeClr val="accent3"/>
                  </a:solidFill>
                </a:rPr>
                <a:t>Under development</a:t>
              </a:r>
            </a:p>
          </p:txBody>
        </p:sp>
        <p:sp>
          <p:nvSpPr>
            <p:cNvPr id="536" name="TextBox 535">
              <a:extLst>
                <a:ext uri="{FF2B5EF4-FFF2-40B4-BE49-F238E27FC236}">
                  <a16:creationId xmlns:a16="http://schemas.microsoft.com/office/drawing/2014/main" id="{22504C81-9FAB-8343-B761-39F1391C655F}"/>
                </a:ext>
              </a:extLst>
            </p:cNvPr>
            <p:cNvSpPr txBox="1"/>
            <p:nvPr/>
          </p:nvSpPr>
          <p:spPr>
            <a:xfrm>
              <a:off x="1670348" y="4220707"/>
              <a:ext cx="277721" cy="7391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2400"/>
                </a:spcBef>
              </a:pPr>
              <a:r>
                <a:rPr lang="en-US" sz="667">
                  <a:solidFill>
                    <a:schemeClr val="tx2"/>
                  </a:solidFill>
                </a:rPr>
                <a:t>Bio plant</a:t>
              </a:r>
            </a:p>
          </p:txBody>
        </p:sp>
        <p:sp>
          <p:nvSpPr>
            <p:cNvPr id="537" name="TextBox 536">
              <a:extLst>
                <a:ext uri="{FF2B5EF4-FFF2-40B4-BE49-F238E27FC236}">
                  <a16:creationId xmlns:a16="http://schemas.microsoft.com/office/drawing/2014/main" id="{F8A97610-9BEE-6945-9C12-B9EA5F9790A4}"/>
                </a:ext>
              </a:extLst>
            </p:cNvPr>
            <p:cNvSpPr txBox="1"/>
            <p:nvPr/>
          </p:nvSpPr>
          <p:spPr>
            <a:xfrm>
              <a:off x="548611" y="4475413"/>
              <a:ext cx="245260" cy="7391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2400"/>
                </a:spcBef>
              </a:pPr>
              <a:r>
                <a:rPr lang="en-US" sz="667">
                  <a:solidFill>
                    <a:schemeClr val="tx2"/>
                  </a:solidFill>
                </a:rPr>
                <a:t>Storage</a:t>
              </a:r>
            </a:p>
          </p:txBody>
        </p:sp>
        <p:sp>
          <p:nvSpPr>
            <p:cNvPr id="538" name="TextBox 537">
              <a:extLst>
                <a:ext uri="{FF2B5EF4-FFF2-40B4-BE49-F238E27FC236}">
                  <a16:creationId xmlns:a16="http://schemas.microsoft.com/office/drawing/2014/main" id="{EA792337-857E-1745-B209-AE72C5F329AD}"/>
                </a:ext>
              </a:extLst>
            </p:cNvPr>
            <p:cNvSpPr txBox="1"/>
            <p:nvPr/>
          </p:nvSpPr>
          <p:spPr>
            <a:xfrm>
              <a:off x="1670348" y="4360848"/>
              <a:ext cx="471283" cy="7391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2400"/>
                </a:spcBef>
              </a:pPr>
              <a:r>
                <a:rPr lang="en-US" sz="667">
                  <a:solidFill>
                    <a:schemeClr val="tx2"/>
                  </a:solidFill>
                </a:rPr>
                <a:t>Sales of energy</a:t>
              </a:r>
            </a:p>
          </p:txBody>
        </p:sp>
        <p:sp>
          <p:nvSpPr>
            <p:cNvPr id="541" name="TextBox 540">
              <a:extLst>
                <a:ext uri="{FF2B5EF4-FFF2-40B4-BE49-F238E27FC236}">
                  <a16:creationId xmlns:a16="http://schemas.microsoft.com/office/drawing/2014/main" id="{FF612AED-06BC-2845-AD53-619279399256}"/>
                </a:ext>
              </a:extLst>
            </p:cNvPr>
            <p:cNvSpPr txBox="1"/>
            <p:nvPr/>
          </p:nvSpPr>
          <p:spPr>
            <a:xfrm>
              <a:off x="548611" y="4342553"/>
              <a:ext cx="423193" cy="7391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2400"/>
                </a:spcBef>
              </a:pPr>
              <a:r>
                <a:rPr lang="en-US" sz="667">
                  <a:solidFill>
                    <a:schemeClr val="tx2"/>
                  </a:solidFill>
                </a:rPr>
                <a:t>Onshore wind</a:t>
              </a:r>
            </a:p>
          </p:txBody>
        </p:sp>
        <p:sp>
          <p:nvSpPr>
            <p:cNvPr id="542" name="TextBox 541">
              <a:extLst>
                <a:ext uri="{FF2B5EF4-FFF2-40B4-BE49-F238E27FC236}">
                  <a16:creationId xmlns:a16="http://schemas.microsoft.com/office/drawing/2014/main" id="{516DC8DC-CCE8-6846-B4CA-2F268A7BA963}"/>
                </a:ext>
              </a:extLst>
            </p:cNvPr>
            <p:cNvSpPr txBox="1"/>
            <p:nvPr/>
          </p:nvSpPr>
          <p:spPr>
            <a:xfrm>
              <a:off x="548611" y="4201412"/>
              <a:ext cx="431609" cy="7391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2400"/>
                </a:spcBef>
              </a:pPr>
              <a:r>
                <a:rPr lang="en-US" sz="667">
                  <a:solidFill>
                    <a:schemeClr val="tx2"/>
                  </a:solidFill>
                </a:rPr>
                <a:t>Offshore wind</a:t>
              </a:r>
            </a:p>
          </p:txBody>
        </p:sp>
        <p:sp>
          <p:nvSpPr>
            <p:cNvPr id="543" name="TextBox 542">
              <a:extLst>
                <a:ext uri="{FF2B5EF4-FFF2-40B4-BE49-F238E27FC236}">
                  <a16:creationId xmlns:a16="http://schemas.microsoft.com/office/drawing/2014/main" id="{70A0041F-9A56-0845-82EB-4907B8E64F10}"/>
                </a:ext>
              </a:extLst>
            </p:cNvPr>
            <p:cNvSpPr txBox="1"/>
            <p:nvPr/>
          </p:nvSpPr>
          <p:spPr>
            <a:xfrm>
              <a:off x="2783097" y="4344046"/>
              <a:ext cx="587902" cy="7391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2400"/>
                </a:spcBef>
              </a:pPr>
              <a:r>
                <a:rPr lang="en-US" sz="667">
                  <a:solidFill>
                    <a:srgbClr val="8ECDC8"/>
                  </a:solidFill>
                </a:rPr>
                <a:t>Under construction</a:t>
              </a:r>
            </a:p>
          </p:txBody>
        </p:sp>
        <p:grpSp>
          <p:nvGrpSpPr>
            <p:cNvPr id="32" name="Graphic 2">
              <a:extLst>
                <a:ext uri="{FF2B5EF4-FFF2-40B4-BE49-F238E27FC236}">
                  <a16:creationId xmlns:a16="http://schemas.microsoft.com/office/drawing/2014/main" id="{EA419B9C-E61D-ED03-18ED-1949D179F6B9}"/>
                </a:ext>
              </a:extLst>
            </p:cNvPr>
            <p:cNvGrpSpPr/>
            <p:nvPr/>
          </p:nvGrpSpPr>
          <p:grpSpPr>
            <a:xfrm>
              <a:off x="1537733" y="4470773"/>
              <a:ext cx="97777" cy="97777"/>
              <a:chOff x="2259665" y="3308466"/>
              <a:chExt cx="83287" cy="83287"/>
            </a:xfrm>
            <a:solidFill>
              <a:srgbClr val="3B4956"/>
            </a:solidFill>
          </p:grpSpPr>
          <p:sp>
            <p:nvSpPr>
              <p:cNvPr id="33" name="Freeform: Shape 879">
                <a:extLst>
                  <a:ext uri="{FF2B5EF4-FFF2-40B4-BE49-F238E27FC236}">
                    <a16:creationId xmlns:a16="http://schemas.microsoft.com/office/drawing/2014/main" id="{30EDD7DD-164F-5264-124A-92D2B1383A03}"/>
                  </a:ext>
                </a:extLst>
              </p:cNvPr>
              <p:cNvSpPr/>
              <p:nvPr/>
            </p:nvSpPr>
            <p:spPr>
              <a:xfrm>
                <a:off x="2297821" y="3308466"/>
                <a:ext cx="7143" cy="10169"/>
              </a:xfrm>
              <a:custGeom>
                <a:avLst/>
                <a:gdLst>
                  <a:gd name="connsiteX0" fmla="*/ 3530 w 7143"/>
                  <a:gd name="connsiteY0" fmla="*/ 10169 h 10169"/>
                  <a:gd name="connsiteX1" fmla="*/ 3530 w 7143"/>
                  <a:gd name="connsiteY1" fmla="*/ 10169 h 10169"/>
                  <a:gd name="connsiteX2" fmla="*/ 3530 w 7143"/>
                  <a:gd name="connsiteY2" fmla="*/ 10169 h 10169"/>
                  <a:gd name="connsiteX3" fmla="*/ 7144 w 7143"/>
                  <a:gd name="connsiteY3" fmla="*/ 6723 h 10169"/>
                  <a:gd name="connsiteX4" fmla="*/ 7144 w 7143"/>
                  <a:gd name="connsiteY4" fmla="*/ 0 h 10169"/>
                  <a:gd name="connsiteX5" fmla="*/ 0 w 7143"/>
                  <a:gd name="connsiteY5" fmla="*/ 0 h 10169"/>
                  <a:gd name="connsiteX6" fmla="*/ 0 w 7143"/>
                  <a:gd name="connsiteY6" fmla="*/ 6723 h 10169"/>
                  <a:gd name="connsiteX7" fmla="*/ 3530 w 7143"/>
                  <a:gd name="connsiteY7" fmla="*/ 10169 h 101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143" h="10169">
                    <a:moveTo>
                      <a:pt x="3530" y="10169"/>
                    </a:moveTo>
                    <a:lnTo>
                      <a:pt x="3530" y="10169"/>
                    </a:lnTo>
                    <a:lnTo>
                      <a:pt x="3530" y="10169"/>
                    </a:lnTo>
                    <a:cubicBezTo>
                      <a:pt x="5547" y="10169"/>
                      <a:pt x="7144" y="8656"/>
                      <a:pt x="7144" y="6723"/>
                    </a:cubicBezTo>
                    <a:lnTo>
                      <a:pt x="7144" y="0"/>
                    </a:lnTo>
                    <a:lnTo>
                      <a:pt x="0" y="0"/>
                    </a:lnTo>
                    <a:lnTo>
                      <a:pt x="0" y="6723"/>
                    </a:lnTo>
                    <a:cubicBezTo>
                      <a:pt x="0" y="8656"/>
                      <a:pt x="1597" y="10169"/>
                      <a:pt x="3530" y="10169"/>
                    </a:cubicBezTo>
                  </a:path>
                </a:pathLst>
              </a:custGeom>
              <a:solidFill>
                <a:srgbClr val="3B4956"/>
              </a:solidFill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467"/>
              </a:p>
            </p:txBody>
          </p:sp>
          <p:sp>
            <p:nvSpPr>
              <p:cNvPr id="34" name="Freeform: Shape 880">
                <a:extLst>
                  <a:ext uri="{FF2B5EF4-FFF2-40B4-BE49-F238E27FC236}">
                    <a16:creationId xmlns:a16="http://schemas.microsoft.com/office/drawing/2014/main" id="{794F0F61-78AA-4271-3F25-B64114076BB5}"/>
                  </a:ext>
                </a:extLst>
              </p:cNvPr>
              <p:cNvSpPr/>
              <p:nvPr/>
            </p:nvSpPr>
            <p:spPr>
              <a:xfrm>
                <a:off x="2269330" y="3318131"/>
                <a:ext cx="10831" cy="10768"/>
              </a:xfrm>
              <a:custGeom>
                <a:avLst/>
                <a:gdLst>
                  <a:gd name="connsiteX0" fmla="*/ 9749 w 10831"/>
                  <a:gd name="connsiteY0" fmla="*/ 9749 h 10768"/>
                  <a:gd name="connsiteX1" fmla="*/ 9749 w 10831"/>
                  <a:gd name="connsiteY1" fmla="*/ 9749 h 10768"/>
                  <a:gd name="connsiteX2" fmla="*/ 9749 w 10831"/>
                  <a:gd name="connsiteY2" fmla="*/ 9749 h 10768"/>
                  <a:gd name="connsiteX3" fmla="*/ 9833 w 10831"/>
                  <a:gd name="connsiteY3" fmla="*/ 4791 h 10768"/>
                  <a:gd name="connsiteX4" fmla="*/ 5043 w 10831"/>
                  <a:gd name="connsiteY4" fmla="*/ 0 h 10768"/>
                  <a:gd name="connsiteX5" fmla="*/ 0 w 10831"/>
                  <a:gd name="connsiteY5" fmla="*/ 5043 h 10768"/>
                  <a:gd name="connsiteX6" fmla="*/ 4791 w 10831"/>
                  <a:gd name="connsiteY6" fmla="*/ 9834 h 10768"/>
                  <a:gd name="connsiteX7" fmla="*/ 9749 w 10831"/>
                  <a:gd name="connsiteY7" fmla="*/ 9749 h 10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831" h="10768">
                    <a:moveTo>
                      <a:pt x="9749" y="9749"/>
                    </a:moveTo>
                    <a:lnTo>
                      <a:pt x="9749" y="9749"/>
                    </a:lnTo>
                    <a:cubicBezTo>
                      <a:pt x="9833" y="9665"/>
                      <a:pt x="9833" y="9665"/>
                      <a:pt x="9749" y="9749"/>
                    </a:cubicBezTo>
                    <a:cubicBezTo>
                      <a:pt x="11178" y="8321"/>
                      <a:pt x="11178" y="6136"/>
                      <a:pt x="9833" y="4791"/>
                    </a:cubicBezTo>
                    <a:lnTo>
                      <a:pt x="5043" y="0"/>
                    </a:lnTo>
                    <a:lnTo>
                      <a:pt x="0" y="5043"/>
                    </a:lnTo>
                    <a:lnTo>
                      <a:pt x="4791" y="9834"/>
                    </a:lnTo>
                    <a:cubicBezTo>
                      <a:pt x="6219" y="11094"/>
                      <a:pt x="8404" y="11094"/>
                      <a:pt x="9749" y="9749"/>
                    </a:cubicBezTo>
                  </a:path>
                </a:pathLst>
              </a:custGeom>
              <a:solidFill>
                <a:srgbClr val="3B4956"/>
              </a:solidFill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467"/>
              </a:p>
            </p:txBody>
          </p:sp>
          <p:sp>
            <p:nvSpPr>
              <p:cNvPr id="35" name="Freeform: Shape 881">
                <a:extLst>
                  <a:ext uri="{FF2B5EF4-FFF2-40B4-BE49-F238E27FC236}">
                    <a16:creationId xmlns:a16="http://schemas.microsoft.com/office/drawing/2014/main" id="{4121BF0E-50AF-8188-E6E4-780FF82B0496}"/>
                  </a:ext>
                </a:extLst>
              </p:cNvPr>
              <p:cNvSpPr/>
              <p:nvPr/>
            </p:nvSpPr>
            <p:spPr>
              <a:xfrm>
                <a:off x="2259665" y="3346538"/>
                <a:ext cx="10169" cy="7059"/>
              </a:xfrm>
              <a:custGeom>
                <a:avLst/>
                <a:gdLst>
                  <a:gd name="connsiteX0" fmla="*/ 10169 w 10169"/>
                  <a:gd name="connsiteY0" fmla="*/ 3530 h 7059"/>
                  <a:gd name="connsiteX1" fmla="*/ 10169 w 10169"/>
                  <a:gd name="connsiteY1" fmla="*/ 3530 h 7059"/>
                  <a:gd name="connsiteX2" fmla="*/ 6724 w 10169"/>
                  <a:gd name="connsiteY2" fmla="*/ 0 h 7059"/>
                  <a:gd name="connsiteX3" fmla="*/ 0 w 10169"/>
                  <a:gd name="connsiteY3" fmla="*/ 0 h 7059"/>
                  <a:gd name="connsiteX4" fmla="*/ 0 w 10169"/>
                  <a:gd name="connsiteY4" fmla="*/ 7060 h 7059"/>
                  <a:gd name="connsiteX5" fmla="*/ 6724 w 10169"/>
                  <a:gd name="connsiteY5" fmla="*/ 7060 h 7059"/>
                  <a:gd name="connsiteX6" fmla="*/ 10169 w 10169"/>
                  <a:gd name="connsiteY6" fmla="*/ 3530 h 7059"/>
                  <a:gd name="connsiteX7" fmla="*/ 10169 w 10169"/>
                  <a:gd name="connsiteY7" fmla="*/ 3530 h 7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169" h="7059">
                    <a:moveTo>
                      <a:pt x="10169" y="3530"/>
                    </a:moveTo>
                    <a:lnTo>
                      <a:pt x="10169" y="3530"/>
                    </a:lnTo>
                    <a:cubicBezTo>
                      <a:pt x="10169" y="1597"/>
                      <a:pt x="8657" y="0"/>
                      <a:pt x="6724" y="0"/>
                    </a:cubicBezTo>
                    <a:lnTo>
                      <a:pt x="0" y="0"/>
                    </a:lnTo>
                    <a:lnTo>
                      <a:pt x="0" y="7060"/>
                    </a:lnTo>
                    <a:lnTo>
                      <a:pt x="6724" y="7060"/>
                    </a:lnTo>
                    <a:cubicBezTo>
                      <a:pt x="8657" y="7060"/>
                      <a:pt x="10169" y="5463"/>
                      <a:pt x="10169" y="3530"/>
                    </a:cubicBezTo>
                    <a:lnTo>
                      <a:pt x="10169" y="3530"/>
                    </a:lnTo>
                    <a:close/>
                  </a:path>
                </a:pathLst>
              </a:custGeom>
              <a:solidFill>
                <a:srgbClr val="3B4956"/>
              </a:solidFill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467"/>
              </a:p>
            </p:txBody>
          </p:sp>
          <p:sp>
            <p:nvSpPr>
              <p:cNvPr id="36" name="Freeform: Shape 882">
                <a:extLst>
                  <a:ext uri="{FF2B5EF4-FFF2-40B4-BE49-F238E27FC236}">
                    <a16:creationId xmlns:a16="http://schemas.microsoft.com/office/drawing/2014/main" id="{135F1176-6AFC-C944-43AD-94809ADFEDF3}"/>
                  </a:ext>
                </a:extLst>
              </p:cNvPr>
              <p:cNvSpPr/>
              <p:nvPr/>
            </p:nvSpPr>
            <p:spPr>
              <a:xfrm>
                <a:off x="2269246" y="3371257"/>
                <a:ext cx="10831" cy="10831"/>
              </a:xfrm>
              <a:custGeom>
                <a:avLst/>
                <a:gdLst>
                  <a:gd name="connsiteX0" fmla="*/ 9749 w 10831"/>
                  <a:gd name="connsiteY0" fmla="*/ 1082 h 10831"/>
                  <a:gd name="connsiteX1" fmla="*/ 9749 w 10831"/>
                  <a:gd name="connsiteY1" fmla="*/ 1082 h 10831"/>
                  <a:gd name="connsiteX2" fmla="*/ 4791 w 10831"/>
                  <a:gd name="connsiteY2" fmla="*/ 998 h 10831"/>
                  <a:gd name="connsiteX3" fmla="*/ 0 w 10831"/>
                  <a:gd name="connsiteY3" fmla="*/ 5789 h 10831"/>
                  <a:gd name="connsiteX4" fmla="*/ 5043 w 10831"/>
                  <a:gd name="connsiteY4" fmla="*/ 10832 h 10831"/>
                  <a:gd name="connsiteX5" fmla="*/ 9833 w 10831"/>
                  <a:gd name="connsiteY5" fmla="*/ 6041 h 10831"/>
                  <a:gd name="connsiteX6" fmla="*/ 9749 w 10831"/>
                  <a:gd name="connsiteY6" fmla="*/ 1082 h 10831"/>
                  <a:gd name="connsiteX7" fmla="*/ 9749 w 10831"/>
                  <a:gd name="connsiteY7" fmla="*/ 1082 h 108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831" h="10831">
                    <a:moveTo>
                      <a:pt x="9749" y="1082"/>
                    </a:moveTo>
                    <a:lnTo>
                      <a:pt x="9749" y="1082"/>
                    </a:lnTo>
                    <a:cubicBezTo>
                      <a:pt x="8320" y="-346"/>
                      <a:pt x="6135" y="-346"/>
                      <a:pt x="4791" y="998"/>
                    </a:cubicBezTo>
                    <a:lnTo>
                      <a:pt x="0" y="5789"/>
                    </a:lnTo>
                    <a:lnTo>
                      <a:pt x="5043" y="10832"/>
                    </a:lnTo>
                    <a:lnTo>
                      <a:pt x="9833" y="6041"/>
                    </a:lnTo>
                    <a:cubicBezTo>
                      <a:pt x="11178" y="4696"/>
                      <a:pt x="11178" y="2511"/>
                      <a:pt x="9749" y="1082"/>
                    </a:cubicBezTo>
                    <a:cubicBezTo>
                      <a:pt x="9749" y="1082"/>
                      <a:pt x="9749" y="1082"/>
                      <a:pt x="9749" y="1082"/>
                    </a:cubicBezTo>
                  </a:path>
                </a:pathLst>
              </a:custGeom>
              <a:solidFill>
                <a:srgbClr val="3B4956"/>
              </a:solidFill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467"/>
              </a:p>
            </p:txBody>
          </p:sp>
          <p:sp>
            <p:nvSpPr>
              <p:cNvPr id="37" name="Freeform: Shape 883">
                <a:extLst>
                  <a:ext uri="{FF2B5EF4-FFF2-40B4-BE49-F238E27FC236}">
                    <a16:creationId xmlns:a16="http://schemas.microsoft.com/office/drawing/2014/main" id="{FCA90955-F334-B9C8-DA6D-373BF7E72037}"/>
                  </a:ext>
                </a:extLst>
              </p:cNvPr>
              <p:cNvSpPr/>
              <p:nvPr/>
            </p:nvSpPr>
            <p:spPr>
              <a:xfrm>
                <a:off x="2297653" y="3381584"/>
                <a:ext cx="7143" cy="10169"/>
              </a:xfrm>
              <a:custGeom>
                <a:avLst/>
                <a:gdLst>
                  <a:gd name="connsiteX0" fmla="*/ 3614 w 7143"/>
                  <a:gd name="connsiteY0" fmla="*/ 0 h 10169"/>
                  <a:gd name="connsiteX1" fmla="*/ 3614 w 7143"/>
                  <a:gd name="connsiteY1" fmla="*/ 0 h 10169"/>
                  <a:gd name="connsiteX2" fmla="*/ 3614 w 7143"/>
                  <a:gd name="connsiteY2" fmla="*/ 0 h 10169"/>
                  <a:gd name="connsiteX3" fmla="*/ 0 w 7143"/>
                  <a:gd name="connsiteY3" fmla="*/ 3446 h 10169"/>
                  <a:gd name="connsiteX4" fmla="*/ 0 w 7143"/>
                  <a:gd name="connsiteY4" fmla="*/ 10169 h 10169"/>
                  <a:gd name="connsiteX5" fmla="*/ 7144 w 7143"/>
                  <a:gd name="connsiteY5" fmla="*/ 10169 h 10169"/>
                  <a:gd name="connsiteX6" fmla="*/ 7144 w 7143"/>
                  <a:gd name="connsiteY6" fmla="*/ 3446 h 10169"/>
                  <a:gd name="connsiteX7" fmla="*/ 3614 w 7143"/>
                  <a:gd name="connsiteY7" fmla="*/ 0 h 101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143" h="10169">
                    <a:moveTo>
                      <a:pt x="3614" y="0"/>
                    </a:moveTo>
                    <a:lnTo>
                      <a:pt x="3614" y="0"/>
                    </a:lnTo>
                    <a:lnTo>
                      <a:pt x="3614" y="0"/>
                    </a:lnTo>
                    <a:cubicBezTo>
                      <a:pt x="1597" y="0"/>
                      <a:pt x="0" y="1513"/>
                      <a:pt x="0" y="3446"/>
                    </a:cubicBezTo>
                    <a:lnTo>
                      <a:pt x="0" y="10169"/>
                    </a:lnTo>
                    <a:lnTo>
                      <a:pt x="7144" y="10169"/>
                    </a:lnTo>
                    <a:lnTo>
                      <a:pt x="7144" y="3446"/>
                    </a:lnTo>
                    <a:cubicBezTo>
                      <a:pt x="7144" y="1597"/>
                      <a:pt x="5547" y="0"/>
                      <a:pt x="3614" y="0"/>
                    </a:cubicBezTo>
                  </a:path>
                </a:pathLst>
              </a:custGeom>
              <a:solidFill>
                <a:srgbClr val="3B4956"/>
              </a:solidFill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467"/>
              </a:p>
            </p:txBody>
          </p:sp>
          <p:sp>
            <p:nvSpPr>
              <p:cNvPr id="38" name="Freeform: Shape 884">
                <a:extLst>
                  <a:ext uri="{FF2B5EF4-FFF2-40B4-BE49-F238E27FC236}">
                    <a16:creationId xmlns:a16="http://schemas.microsoft.com/office/drawing/2014/main" id="{6A1FC6C2-595B-CA6B-4713-6C2C28AE0C58}"/>
                  </a:ext>
                </a:extLst>
              </p:cNvPr>
              <p:cNvSpPr/>
              <p:nvPr/>
            </p:nvSpPr>
            <p:spPr>
              <a:xfrm>
                <a:off x="2322456" y="3371372"/>
                <a:ext cx="10831" cy="10800"/>
              </a:xfrm>
              <a:custGeom>
                <a:avLst/>
                <a:gdLst>
                  <a:gd name="connsiteX0" fmla="*/ 1082 w 10831"/>
                  <a:gd name="connsiteY0" fmla="*/ 1051 h 10800"/>
                  <a:gd name="connsiteX1" fmla="*/ 1082 w 10831"/>
                  <a:gd name="connsiteY1" fmla="*/ 1051 h 10800"/>
                  <a:gd name="connsiteX2" fmla="*/ 1082 w 10831"/>
                  <a:gd name="connsiteY2" fmla="*/ 1051 h 10800"/>
                  <a:gd name="connsiteX3" fmla="*/ 998 w 10831"/>
                  <a:gd name="connsiteY3" fmla="*/ 6010 h 10800"/>
                  <a:gd name="connsiteX4" fmla="*/ 5789 w 10831"/>
                  <a:gd name="connsiteY4" fmla="*/ 10800 h 10800"/>
                  <a:gd name="connsiteX5" fmla="*/ 10831 w 10831"/>
                  <a:gd name="connsiteY5" fmla="*/ 5758 h 10800"/>
                  <a:gd name="connsiteX6" fmla="*/ 6041 w 10831"/>
                  <a:gd name="connsiteY6" fmla="*/ 967 h 10800"/>
                  <a:gd name="connsiteX7" fmla="*/ 1082 w 10831"/>
                  <a:gd name="connsiteY7" fmla="*/ 1051 h 10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831" h="10800">
                    <a:moveTo>
                      <a:pt x="1082" y="1051"/>
                    </a:moveTo>
                    <a:cubicBezTo>
                      <a:pt x="1082" y="1051"/>
                      <a:pt x="1082" y="1051"/>
                      <a:pt x="1082" y="1051"/>
                    </a:cubicBezTo>
                    <a:lnTo>
                      <a:pt x="1082" y="1051"/>
                    </a:lnTo>
                    <a:cubicBezTo>
                      <a:pt x="-346" y="2480"/>
                      <a:pt x="-346" y="4665"/>
                      <a:pt x="998" y="6010"/>
                    </a:cubicBezTo>
                    <a:lnTo>
                      <a:pt x="5789" y="10800"/>
                    </a:lnTo>
                    <a:lnTo>
                      <a:pt x="10831" y="5758"/>
                    </a:lnTo>
                    <a:lnTo>
                      <a:pt x="6041" y="967"/>
                    </a:lnTo>
                    <a:cubicBezTo>
                      <a:pt x="4612" y="-377"/>
                      <a:pt x="2427" y="-293"/>
                      <a:pt x="1082" y="1051"/>
                    </a:cubicBezTo>
                  </a:path>
                </a:pathLst>
              </a:custGeom>
              <a:solidFill>
                <a:srgbClr val="3B4956"/>
              </a:solidFill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467"/>
              </a:p>
            </p:txBody>
          </p:sp>
          <p:sp>
            <p:nvSpPr>
              <p:cNvPr id="39" name="Freeform: Shape 885">
                <a:extLst>
                  <a:ext uri="{FF2B5EF4-FFF2-40B4-BE49-F238E27FC236}">
                    <a16:creationId xmlns:a16="http://schemas.microsoft.com/office/drawing/2014/main" id="{35FF9647-10D1-7FB4-A3E7-26AA522EE647}"/>
                  </a:ext>
                </a:extLst>
              </p:cNvPr>
              <p:cNvSpPr/>
              <p:nvPr/>
            </p:nvSpPr>
            <p:spPr>
              <a:xfrm>
                <a:off x="2332783" y="3346622"/>
                <a:ext cx="10169" cy="7144"/>
              </a:xfrm>
              <a:custGeom>
                <a:avLst/>
                <a:gdLst>
                  <a:gd name="connsiteX0" fmla="*/ 3446 w 10169"/>
                  <a:gd name="connsiteY0" fmla="*/ 0 h 7144"/>
                  <a:gd name="connsiteX1" fmla="*/ 0 w 10169"/>
                  <a:gd name="connsiteY1" fmla="*/ 3530 h 7144"/>
                  <a:gd name="connsiteX2" fmla="*/ 0 w 10169"/>
                  <a:gd name="connsiteY2" fmla="*/ 3530 h 7144"/>
                  <a:gd name="connsiteX3" fmla="*/ 0 w 10169"/>
                  <a:gd name="connsiteY3" fmla="*/ 3614 h 7144"/>
                  <a:gd name="connsiteX4" fmla="*/ 3446 w 10169"/>
                  <a:gd name="connsiteY4" fmla="*/ 7144 h 7144"/>
                  <a:gd name="connsiteX5" fmla="*/ 10169 w 10169"/>
                  <a:gd name="connsiteY5" fmla="*/ 7144 h 7144"/>
                  <a:gd name="connsiteX6" fmla="*/ 10169 w 10169"/>
                  <a:gd name="connsiteY6" fmla="*/ 84 h 7144"/>
                  <a:gd name="connsiteX7" fmla="*/ 3446 w 10169"/>
                  <a:gd name="connsiteY7" fmla="*/ 84 h 7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169" h="7144">
                    <a:moveTo>
                      <a:pt x="3446" y="0"/>
                    </a:moveTo>
                    <a:cubicBezTo>
                      <a:pt x="1513" y="0"/>
                      <a:pt x="0" y="1597"/>
                      <a:pt x="0" y="3530"/>
                    </a:cubicBezTo>
                    <a:lnTo>
                      <a:pt x="0" y="3530"/>
                    </a:lnTo>
                    <a:lnTo>
                      <a:pt x="0" y="3614"/>
                    </a:lnTo>
                    <a:cubicBezTo>
                      <a:pt x="0" y="5547"/>
                      <a:pt x="1513" y="7144"/>
                      <a:pt x="3446" y="7144"/>
                    </a:cubicBezTo>
                    <a:lnTo>
                      <a:pt x="10169" y="7144"/>
                    </a:lnTo>
                    <a:lnTo>
                      <a:pt x="10169" y="84"/>
                    </a:lnTo>
                    <a:lnTo>
                      <a:pt x="3446" y="84"/>
                    </a:lnTo>
                    <a:close/>
                  </a:path>
                </a:pathLst>
              </a:custGeom>
              <a:solidFill>
                <a:srgbClr val="3B4956"/>
              </a:solidFill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467"/>
              </a:p>
            </p:txBody>
          </p:sp>
          <p:sp>
            <p:nvSpPr>
              <p:cNvPr id="40" name="Freeform: Shape 886">
                <a:extLst>
                  <a:ext uri="{FF2B5EF4-FFF2-40B4-BE49-F238E27FC236}">
                    <a16:creationId xmlns:a16="http://schemas.microsoft.com/office/drawing/2014/main" id="{4DFCBFA0-DD25-911B-DE45-E91509155068}"/>
                  </a:ext>
                </a:extLst>
              </p:cNvPr>
              <p:cNvSpPr/>
              <p:nvPr/>
            </p:nvSpPr>
            <p:spPr>
              <a:xfrm>
                <a:off x="2322540" y="3318215"/>
                <a:ext cx="10831" cy="10831"/>
              </a:xfrm>
              <a:custGeom>
                <a:avLst/>
                <a:gdLst>
                  <a:gd name="connsiteX0" fmla="*/ 1082 w 10831"/>
                  <a:gd name="connsiteY0" fmla="*/ 9749 h 10831"/>
                  <a:gd name="connsiteX1" fmla="*/ 1082 w 10831"/>
                  <a:gd name="connsiteY1" fmla="*/ 9749 h 10831"/>
                  <a:gd name="connsiteX2" fmla="*/ 6041 w 10831"/>
                  <a:gd name="connsiteY2" fmla="*/ 9833 h 10831"/>
                  <a:gd name="connsiteX3" fmla="*/ 10831 w 10831"/>
                  <a:gd name="connsiteY3" fmla="*/ 5043 h 10831"/>
                  <a:gd name="connsiteX4" fmla="*/ 5789 w 10831"/>
                  <a:gd name="connsiteY4" fmla="*/ 0 h 10831"/>
                  <a:gd name="connsiteX5" fmla="*/ 998 w 10831"/>
                  <a:gd name="connsiteY5" fmla="*/ 4791 h 10831"/>
                  <a:gd name="connsiteX6" fmla="*/ 1082 w 10831"/>
                  <a:gd name="connsiteY6" fmla="*/ 9749 h 10831"/>
                  <a:gd name="connsiteX7" fmla="*/ 1082 w 10831"/>
                  <a:gd name="connsiteY7" fmla="*/ 9749 h 108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831" h="10831">
                    <a:moveTo>
                      <a:pt x="1082" y="9749"/>
                    </a:moveTo>
                    <a:cubicBezTo>
                      <a:pt x="1082" y="9749"/>
                      <a:pt x="1082" y="9749"/>
                      <a:pt x="1082" y="9749"/>
                    </a:cubicBezTo>
                    <a:cubicBezTo>
                      <a:pt x="2511" y="11178"/>
                      <a:pt x="4696" y="11178"/>
                      <a:pt x="6041" y="9833"/>
                    </a:cubicBezTo>
                    <a:lnTo>
                      <a:pt x="10831" y="5043"/>
                    </a:lnTo>
                    <a:lnTo>
                      <a:pt x="5789" y="0"/>
                    </a:lnTo>
                    <a:lnTo>
                      <a:pt x="998" y="4791"/>
                    </a:lnTo>
                    <a:cubicBezTo>
                      <a:pt x="-346" y="6136"/>
                      <a:pt x="-346" y="8320"/>
                      <a:pt x="1082" y="9749"/>
                    </a:cubicBezTo>
                    <a:cubicBezTo>
                      <a:pt x="1082" y="9749"/>
                      <a:pt x="1082" y="9749"/>
                      <a:pt x="1082" y="9749"/>
                    </a:cubicBezTo>
                  </a:path>
                </a:pathLst>
              </a:custGeom>
              <a:solidFill>
                <a:srgbClr val="3B4956"/>
              </a:solidFill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467"/>
              </a:p>
            </p:txBody>
          </p:sp>
          <p:sp>
            <p:nvSpPr>
              <p:cNvPr id="41" name="Freeform: Shape 887">
                <a:extLst>
                  <a:ext uri="{FF2B5EF4-FFF2-40B4-BE49-F238E27FC236}">
                    <a16:creationId xmlns:a16="http://schemas.microsoft.com/office/drawing/2014/main" id="{CCBC2465-29DC-88DE-E2FC-8349175455A1}"/>
                  </a:ext>
                </a:extLst>
              </p:cNvPr>
              <p:cNvSpPr/>
              <p:nvPr/>
            </p:nvSpPr>
            <p:spPr>
              <a:xfrm>
                <a:off x="2276305" y="3325106"/>
                <a:ext cx="50090" cy="50090"/>
              </a:xfrm>
              <a:custGeom>
                <a:avLst/>
                <a:gdLst>
                  <a:gd name="connsiteX0" fmla="*/ 25045 w 50090"/>
                  <a:gd name="connsiteY0" fmla="*/ 0 h 50090"/>
                  <a:gd name="connsiteX1" fmla="*/ 0 w 50090"/>
                  <a:gd name="connsiteY1" fmla="*/ 25045 h 50090"/>
                  <a:gd name="connsiteX2" fmla="*/ 25045 w 50090"/>
                  <a:gd name="connsiteY2" fmla="*/ 50090 h 50090"/>
                  <a:gd name="connsiteX3" fmla="*/ 50090 w 50090"/>
                  <a:gd name="connsiteY3" fmla="*/ 25045 h 50090"/>
                  <a:gd name="connsiteX4" fmla="*/ 25045 w 50090"/>
                  <a:gd name="connsiteY4" fmla="*/ 0 h 50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090" h="50090">
                    <a:moveTo>
                      <a:pt x="25045" y="0"/>
                    </a:moveTo>
                    <a:cubicBezTo>
                      <a:pt x="11178" y="0"/>
                      <a:pt x="0" y="11178"/>
                      <a:pt x="0" y="25045"/>
                    </a:cubicBezTo>
                    <a:cubicBezTo>
                      <a:pt x="0" y="38828"/>
                      <a:pt x="11178" y="50090"/>
                      <a:pt x="25045" y="50090"/>
                    </a:cubicBezTo>
                    <a:cubicBezTo>
                      <a:pt x="38912" y="50090"/>
                      <a:pt x="50090" y="38828"/>
                      <a:pt x="50090" y="25045"/>
                    </a:cubicBezTo>
                    <a:cubicBezTo>
                      <a:pt x="50090" y="11178"/>
                      <a:pt x="38828" y="0"/>
                      <a:pt x="25045" y="0"/>
                    </a:cubicBezTo>
                  </a:path>
                </a:pathLst>
              </a:custGeom>
              <a:solidFill>
                <a:srgbClr val="3B4956"/>
              </a:solidFill>
              <a:ln w="840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467"/>
              </a:p>
            </p:txBody>
          </p:sp>
        </p:grp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E815315B-FD29-94CA-04A6-B7ED6BCD1071}"/>
                </a:ext>
              </a:extLst>
            </p:cNvPr>
            <p:cNvSpPr txBox="1"/>
            <p:nvPr/>
          </p:nvSpPr>
          <p:spPr>
            <a:xfrm>
              <a:off x="1672585" y="4488013"/>
              <a:ext cx="158697" cy="7391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6000"/>
                </a:lnSpc>
                <a:spcBef>
                  <a:spcPts val="2400"/>
                </a:spcBef>
              </a:pPr>
              <a:r>
                <a:rPr lang="en-US" sz="667">
                  <a:solidFill>
                    <a:schemeClr val="tx2"/>
                  </a:solidFill>
                </a:rPr>
                <a:t>Solar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8E35564A-D5E9-2D28-0D61-7DDE02B7263D}"/>
              </a:ext>
            </a:extLst>
          </p:cNvPr>
          <p:cNvSpPr txBox="1"/>
          <p:nvPr/>
        </p:nvSpPr>
        <p:spPr>
          <a:xfrm>
            <a:off x="408562" y="359923"/>
            <a:ext cx="461835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>
                <a:solidFill>
                  <a:schemeClr val="accent1"/>
                </a:solidFill>
              </a:rPr>
              <a:t>Our footprint in UK &amp; I</a:t>
            </a:r>
            <a:endParaRPr lang="en-GB" sz="2200" b="1">
              <a:solidFill>
                <a:schemeClr val="accent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690267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8216402608072553"/>
</p:tagLst>
</file>

<file path=ppt/theme/theme1.xml><?xml version="1.0" encoding="utf-8"?>
<a:theme xmlns:a="http://schemas.openxmlformats.org/drawingml/2006/main" name="Office Theme">
  <a:themeElements>
    <a:clrScheme name="ESB GB PPT">
      <a:dk1>
        <a:srgbClr val="467BBD"/>
      </a:dk1>
      <a:lt1>
        <a:srgbClr val="A59D95"/>
      </a:lt1>
      <a:dk2>
        <a:srgbClr val="FFFFFF"/>
      </a:dk2>
      <a:lt2>
        <a:srgbClr val="B6BF00"/>
      </a:lt2>
      <a:accent1>
        <a:srgbClr val="003C71"/>
      </a:accent1>
      <a:accent2>
        <a:srgbClr val="009FDF"/>
      </a:accent2>
      <a:accent3>
        <a:srgbClr val="ECC200"/>
      </a:accent3>
      <a:accent4>
        <a:srgbClr val="63666A"/>
      </a:accent4>
      <a:accent5>
        <a:srgbClr val="00A599"/>
      </a:accent5>
      <a:accent6>
        <a:srgbClr val="D57E1C"/>
      </a:accent6>
      <a:hlink>
        <a:srgbClr val="009FDF"/>
      </a:hlink>
      <a:folHlink>
        <a:srgbClr val="6E267B"/>
      </a:folHlink>
    </a:clrScheme>
    <a:fontScheme name="ESB Document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SB_PPT_16-9_2022 Update.potx" id="{2369C03D-A641-4EE9-AA0D-558D9E1385C4}" vid="{DBFC9619-B2EF-4A23-89BC-224E2BBE52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338A2B45A691D46B89AF89CFBC4924D" ma:contentTypeVersion="19" ma:contentTypeDescription="Create a new document." ma:contentTypeScope="" ma:versionID="4c7d0843bb4987f748fb7e05743e3252">
  <xsd:schema xmlns:xsd="http://www.w3.org/2001/XMLSchema" xmlns:xs="http://www.w3.org/2001/XMLSchema" xmlns:p="http://schemas.microsoft.com/office/2006/metadata/properties" xmlns:ns2="335f2b85-71de-43fe-9521-67a01a54a423" xmlns:ns3="abe046fe-f862-4313-9ce1-c9b6d3eed73c" xmlns:ns4="751c287e-43d5-4c03-91e7-eb4bcdc1bd73" targetNamespace="http://schemas.microsoft.com/office/2006/metadata/properties" ma:root="true" ma:fieldsID="3572545cbb0067eff667f4272534f0a2" ns2:_="" ns3:_="" ns4:_="">
    <xsd:import namespace="335f2b85-71de-43fe-9521-67a01a54a423"/>
    <xsd:import namespace="abe046fe-f862-4313-9ce1-c9b6d3eed73c"/>
    <xsd:import namespace="751c287e-43d5-4c03-91e7-eb4bcdc1bd7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_Flow_SignoffStatus" minOccurs="0"/>
                <xsd:element ref="ns2:MediaLengthInSeconds" minOccurs="0"/>
                <xsd:element ref="ns2:lcf76f155ced4ddcb4097134ff3c332f" minOccurs="0"/>
                <xsd:element ref="ns4:TaxCatchAll" minOccurs="0"/>
                <xsd:element ref="ns2:MediaServiceLocation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35f2b85-71de-43fe-9521-67a01a54a42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_Flow_SignoffStatus" ma:index="19" nillable="true" ma:displayName="Sign-off status" ma:internalName="Sign_x002d_off_x0020_status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33762961-495e-4f26-8edd-cfd6513d30e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4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6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e046fe-f862-4313-9ce1-c9b6d3eed73c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51c287e-43d5-4c03-91e7-eb4bcdc1bd73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86ab03bb-8dad-4ddf-88d8-458aa18288fe}" ma:internalName="TaxCatchAll" ma:showField="CatchAllData" ma:web="751c287e-43d5-4c03-91e7-eb4bcdc1bd7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abe046fe-f862-4313-9ce1-c9b6d3eed73c">
      <UserInfo>
        <DisplayName>McGrath. Oistin (Engineering and Major Projects)</DisplayName>
        <AccountId>45</AccountId>
        <AccountType/>
      </UserInfo>
      <UserInfo>
        <DisplayName>Shepherd. Dave (Engineering and Major Projects)</DisplayName>
        <AccountId>63</AccountId>
        <AccountType/>
      </UserInfo>
      <UserInfo>
        <DisplayName>Thomas Mc Hugh</DisplayName>
        <AccountId>13250</AccountId>
        <AccountType/>
      </UserInfo>
      <UserInfo>
        <DisplayName>Moroney. Sean (Generation and Trading)</DisplayName>
        <AccountId>12168</AccountId>
        <AccountType/>
      </UserInfo>
      <UserInfo>
        <DisplayName>O'Sullivan. Keith (Generation and Trading)</DisplayName>
        <AccountId>14856</AccountId>
        <AccountType/>
      </UserInfo>
      <UserInfo>
        <DisplayName>Hegarty. Brian (Generation and Trading)</DisplayName>
        <AccountId>298</AccountId>
        <AccountType/>
      </UserInfo>
    </SharedWithUsers>
    <lcf76f155ced4ddcb4097134ff3c332f xmlns="335f2b85-71de-43fe-9521-67a01a54a423">
      <Terms xmlns="http://schemas.microsoft.com/office/infopath/2007/PartnerControls"/>
    </lcf76f155ced4ddcb4097134ff3c332f>
    <TaxCatchAll xmlns="751c287e-43d5-4c03-91e7-eb4bcdc1bd73" xsi:nil="true"/>
    <_Flow_SignoffStatus xmlns="335f2b85-71de-43fe-9521-67a01a54a423" xsi:nil="true"/>
    <MediaLengthInSeconds xmlns="335f2b85-71de-43fe-9521-67a01a54a423" xsi:nil="true"/>
  </documentManagement>
</p:properties>
</file>

<file path=customXml/itemProps1.xml><?xml version="1.0" encoding="utf-8"?>
<ds:datastoreItem xmlns:ds="http://schemas.openxmlformats.org/officeDocument/2006/customXml" ds:itemID="{5CC83E4A-01A6-4487-A112-46147AF0585B}">
  <ds:schemaRefs>
    <ds:schemaRef ds:uri="335f2b85-71de-43fe-9521-67a01a54a423"/>
    <ds:schemaRef ds:uri="751c287e-43d5-4c03-91e7-eb4bcdc1bd73"/>
    <ds:schemaRef ds:uri="abe046fe-f862-4313-9ce1-c9b6d3eed73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A8C6EEAE-1C64-4EB2-A081-94B66D86A2E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014160E-31A2-409F-8AF4-201535AAE540}">
  <ds:schemaRefs>
    <ds:schemaRef ds:uri="335f2b85-71de-43fe-9521-67a01a54a423"/>
    <ds:schemaRef ds:uri="751c287e-43d5-4c03-91e7-eb4bcdc1bd73"/>
    <ds:schemaRef ds:uri="abe046fe-f862-4313-9ce1-c9b6d3eed73c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bf4b7b92-9708-4942-8fd7-f99d10f83297}" enabled="1" method="Standard" siteId="{fb01cb1d-bba8-4c1a-94ef-defd79c59a09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ESB_PPT_16-9_2022 Update (002)</Template>
  <TotalTime>62</TotalTime>
  <Words>1499</Words>
  <Application>Microsoft Office PowerPoint</Application>
  <PresentationFormat>Widescreen</PresentationFormat>
  <Paragraphs>286</Paragraphs>
  <Slides>25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5" baseType="lpstr">
      <vt:lpstr>Arial</vt:lpstr>
      <vt:lpstr>Arial,Sans-Serif</vt:lpstr>
      <vt:lpstr>Calibri</vt:lpstr>
      <vt:lpstr>Century Gothic</vt:lpstr>
      <vt:lpstr>Orsted Sans</vt:lpstr>
      <vt:lpstr>Orsted Sans Office</vt:lpstr>
      <vt:lpstr>Segoe UI</vt:lpstr>
      <vt:lpstr>Wingdings</vt:lpstr>
      <vt:lpstr>Office Theme</vt:lpstr>
      <vt:lpstr>think-cell Slide</vt:lpstr>
      <vt:lpstr>Presentation to Southern Regional Assembly – Elected Members</vt:lpstr>
      <vt:lpstr>Introductions </vt:lpstr>
      <vt:lpstr>Agenda</vt:lpstr>
      <vt:lpstr>About ESB</vt:lpstr>
      <vt:lpstr>PowerPoint Presentation</vt:lpstr>
      <vt:lpstr>PowerPoint Presentation</vt:lpstr>
      <vt:lpstr>Our vision Let’s create a world  that runs entirely  on green energy</vt:lpstr>
      <vt:lpstr>Transforming the way we power the world </vt:lpstr>
      <vt:lpstr>PowerPoint Presentation</vt:lpstr>
      <vt:lpstr>PowerPoint Presentation</vt:lpstr>
      <vt:lpstr>We power business </vt:lpstr>
      <vt:lpstr>Offshore Wind in Ireland – Policy Developments</vt:lpstr>
      <vt:lpstr>Recent Policy Developments….</vt:lpstr>
      <vt:lpstr>Phase 1 Projects – The Story So Far</vt:lpstr>
      <vt:lpstr>From this….</vt:lpstr>
      <vt:lpstr>….to South Coast Offshore Renewable Energy Designated Marine Area Plan</vt:lpstr>
      <vt:lpstr>Energy Clusters</vt:lpstr>
      <vt:lpstr>PowerPoint Presentation</vt:lpstr>
      <vt:lpstr>PowerPoint Presentation</vt:lpstr>
      <vt:lpstr>ESB Green Energy @ Cork,   ESB Green Atlantic @ Moneypoint  </vt:lpstr>
      <vt:lpstr>Cork County Development Plan 2022 - 2028</vt:lpstr>
      <vt:lpstr>PowerPoint Presentation</vt:lpstr>
      <vt:lpstr>Green Energy @ Cork</vt:lpstr>
      <vt:lpstr>Offshore Wind Key Messages</vt:lpstr>
      <vt:lpstr>Thank you</vt:lpstr>
    </vt:vector>
  </TitlesOfParts>
  <Company>ESB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ver Title</dc:title>
  <dc:creator>Scully. Maire (Customer Solutions)</dc:creator>
  <cp:lastModifiedBy>Moroney. Sean (Generation and Trading)</cp:lastModifiedBy>
  <cp:revision>6</cp:revision>
  <cp:lastPrinted>2018-02-12T19:46:39Z</cp:lastPrinted>
  <dcterms:created xsi:type="dcterms:W3CDTF">2023-08-11T13:49:52Z</dcterms:created>
  <dcterms:modified xsi:type="dcterms:W3CDTF">2024-04-11T14:33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f4b7b92-9708-4942-8fd7-f99d10f83297_Enabled">
    <vt:lpwstr>true</vt:lpwstr>
  </property>
  <property fmtid="{D5CDD505-2E9C-101B-9397-08002B2CF9AE}" pid="3" name="MSIP_Label_bf4b7b92-9708-4942-8fd7-f99d10f83297_SetDate">
    <vt:lpwstr>2023-08-11T13:50:12Z</vt:lpwstr>
  </property>
  <property fmtid="{D5CDD505-2E9C-101B-9397-08002B2CF9AE}" pid="4" name="MSIP_Label_bf4b7b92-9708-4942-8fd7-f99d10f83297_Method">
    <vt:lpwstr>Standard</vt:lpwstr>
  </property>
  <property fmtid="{D5CDD505-2E9C-101B-9397-08002B2CF9AE}" pid="5" name="MSIP_Label_bf4b7b92-9708-4942-8fd7-f99d10f83297_Name">
    <vt:lpwstr>General</vt:lpwstr>
  </property>
  <property fmtid="{D5CDD505-2E9C-101B-9397-08002B2CF9AE}" pid="6" name="MSIP_Label_bf4b7b92-9708-4942-8fd7-f99d10f83297_SiteId">
    <vt:lpwstr>fb01cb1d-bba8-4c1a-94ef-defd79c59a09</vt:lpwstr>
  </property>
  <property fmtid="{D5CDD505-2E9C-101B-9397-08002B2CF9AE}" pid="7" name="MSIP_Label_bf4b7b92-9708-4942-8fd7-f99d10f83297_ActionId">
    <vt:lpwstr>2af1e273-202d-462e-a8d4-65014b75fcdc</vt:lpwstr>
  </property>
  <property fmtid="{D5CDD505-2E9C-101B-9397-08002B2CF9AE}" pid="8" name="MSIP_Label_bf4b7b92-9708-4942-8fd7-f99d10f83297_ContentBits">
    <vt:lpwstr>0</vt:lpwstr>
  </property>
  <property fmtid="{D5CDD505-2E9C-101B-9397-08002B2CF9AE}" pid="9" name="ContentTypeId">
    <vt:lpwstr>0x0101004338A2B45A691D46B89AF89CFBC4924D</vt:lpwstr>
  </property>
  <property fmtid="{D5CDD505-2E9C-101B-9397-08002B2CF9AE}" pid="10" name="MediaServiceImageTags">
    <vt:lpwstr/>
  </property>
  <property fmtid="{D5CDD505-2E9C-101B-9397-08002B2CF9AE}" pid="11" name="Order">
    <vt:r8>4060300</vt:r8>
  </property>
  <property fmtid="{D5CDD505-2E9C-101B-9397-08002B2CF9AE}" pid="12" name="xd_Signature">
    <vt:bool>false</vt:bool>
  </property>
  <property fmtid="{D5CDD505-2E9C-101B-9397-08002B2CF9AE}" pid="13" name="xd_ProgID">
    <vt:lpwstr/>
  </property>
  <property fmtid="{D5CDD505-2E9C-101B-9397-08002B2CF9AE}" pid="14" name="ComplianceAssetId">
    <vt:lpwstr/>
  </property>
  <property fmtid="{D5CDD505-2E9C-101B-9397-08002B2CF9AE}" pid="15" name="TemplateUrl">
    <vt:lpwstr/>
  </property>
  <property fmtid="{D5CDD505-2E9C-101B-9397-08002B2CF9AE}" pid="16" name="_ExtendedDescription">
    <vt:lpwstr/>
  </property>
  <property fmtid="{D5CDD505-2E9C-101B-9397-08002B2CF9AE}" pid="17" name="TriggerFlowInfo">
    <vt:lpwstr/>
  </property>
  <property fmtid="{D5CDD505-2E9C-101B-9397-08002B2CF9AE}" pid="18" name="SharedWithUsers">
    <vt:lpwstr>45;#McManus. Ciaran (Generation and Trading);#63;#Hegarty. Brian (Generation and Trading)</vt:lpwstr>
  </property>
</Properties>
</file>